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heme/themeOverride2.xml" ContentType="application/vnd.openxmlformats-officedocument.themeOverride+xml"/>
  <Override PartName="/ppt/theme/themeOverride3.xml" ContentType="application/vnd.openxmlformats-officedocument.themeOverride+xml"/>
  <Override PartName="/ppt/notesSlides/notesSlide17.xml" ContentType="application/vnd.openxmlformats-officedocument.presentationml.notesSlide+xml"/>
  <Override PartName="/ppt/theme/themeOverride4.xml" ContentType="application/vnd.openxmlformats-officedocument.themeOverride+xml"/>
  <Override PartName="/ppt/notesSlides/notesSlide18.xml" ContentType="application/vnd.openxmlformats-officedocument.presentationml.notesSlide+xml"/>
  <Override PartName="/ppt/theme/themeOverride5.xml" ContentType="application/vnd.openxmlformats-officedocument.themeOverride+xml"/>
  <Override PartName="/ppt/tags/tag14.xml" ContentType="application/vnd.openxmlformats-officedocument.presentationml.tags+xml"/>
  <Override PartName="/ppt/notesSlides/notesSlide19.xml" ContentType="application/vnd.openxmlformats-officedocument.presentationml.notesSlide+xml"/>
  <Override PartName="/ppt/theme/themeOverride6.xml" ContentType="application/vnd.openxmlformats-officedocument.themeOverr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5063" r:id="rId1"/>
    <p:sldMasterId id="2147485692" r:id="rId2"/>
    <p:sldMasterId id="2147485723" r:id="rId3"/>
    <p:sldMasterId id="2147485742" r:id="rId4"/>
  </p:sldMasterIdLst>
  <p:notesMasterIdLst>
    <p:notesMasterId r:id="rId45"/>
  </p:notesMasterIdLst>
  <p:handoutMasterIdLst>
    <p:handoutMasterId r:id="rId46"/>
  </p:handoutMasterIdLst>
  <p:sldIdLst>
    <p:sldId id="558" r:id="rId5"/>
    <p:sldId id="1119" r:id="rId6"/>
    <p:sldId id="1102" r:id="rId7"/>
    <p:sldId id="1103" r:id="rId8"/>
    <p:sldId id="1104" r:id="rId9"/>
    <p:sldId id="1105" r:id="rId10"/>
    <p:sldId id="1106" r:id="rId11"/>
    <p:sldId id="1107" r:id="rId12"/>
    <p:sldId id="1108" r:id="rId13"/>
    <p:sldId id="1109" r:id="rId14"/>
    <p:sldId id="1110" r:id="rId15"/>
    <p:sldId id="1111" r:id="rId16"/>
    <p:sldId id="1112" r:id="rId17"/>
    <p:sldId id="1113" r:id="rId18"/>
    <p:sldId id="1114" r:id="rId19"/>
    <p:sldId id="1115" r:id="rId20"/>
    <p:sldId id="1116" r:id="rId21"/>
    <p:sldId id="1117" r:id="rId22"/>
    <p:sldId id="1118" r:id="rId23"/>
    <p:sldId id="1120" r:id="rId24"/>
    <p:sldId id="1121" r:id="rId25"/>
    <p:sldId id="1123" r:id="rId26"/>
    <p:sldId id="1122" r:id="rId27"/>
    <p:sldId id="1124" r:id="rId28"/>
    <p:sldId id="1128" r:id="rId29"/>
    <p:sldId id="1129" r:id="rId30"/>
    <p:sldId id="1127" r:id="rId31"/>
    <p:sldId id="1130" r:id="rId32"/>
    <p:sldId id="1097" r:id="rId33"/>
    <p:sldId id="1098" r:id="rId34"/>
    <p:sldId id="1099" r:id="rId35"/>
    <p:sldId id="1100" r:id="rId36"/>
    <p:sldId id="1131" r:id="rId37"/>
    <p:sldId id="1133" r:id="rId38"/>
    <p:sldId id="1134" r:id="rId39"/>
    <p:sldId id="1135" r:id="rId40"/>
    <p:sldId id="1087" r:id="rId41"/>
    <p:sldId id="1083" r:id="rId42"/>
    <p:sldId id="1090" r:id="rId43"/>
    <p:sldId id="1054" r:id="rId44"/>
  </p:sldIdLst>
  <p:sldSz cx="9144000" cy="6858000" type="screen4x3"/>
  <p:notesSz cx="6858000" cy="9945688"/>
  <p:custDataLst>
    <p:tags r:id="rId47"/>
  </p:custDataLst>
  <p:defaultTextStyle>
    <a:defPPr>
      <a:defRPr lang="th-TH"/>
    </a:defPPr>
    <a:lvl1pPr algn="l" rtl="0" fontAlgn="base">
      <a:spcBef>
        <a:spcPct val="0"/>
      </a:spcBef>
      <a:spcAft>
        <a:spcPct val="0"/>
      </a:spcAft>
      <a:defRPr sz="2800" kern="1200">
        <a:solidFill>
          <a:schemeClr val="tx1"/>
        </a:solidFill>
        <a:latin typeface="Arial" pitchFamily="34" charset="0"/>
        <a:ea typeface="+mn-ea"/>
        <a:cs typeface="Angsana New" pitchFamily="18" charset="-34"/>
      </a:defRPr>
    </a:lvl1pPr>
    <a:lvl2pPr marL="457200" algn="l" rtl="0" fontAlgn="base">
      <a:spcBef>
        <a:spcPct val="0"/>
      </a:spcBef>
      <a:spcAft>
        <a:spcPct val="0"/>
      </a:spcAft>
      <a:defRPr sz="2800" kern="1200">
        <a:solidFill>
          <a:schemeClr val="tx1"/>
        </a:solidFill>
        <a:latin typeface="Arial" pitchFamily="34" charset="0"/>
        <a:ea typeface="+mn-ea"/>
        <a:cs typeface="Angsana New" pitchFamily="18" charset="-34"/>
      </a:defRPr>
    </a:lvl2pPr>
    <a:lvl3pPr marL="914400" algn="l" rtl="0" fontAlgn="base">
      <a:spcBef>
        <a:spcPct val="0"/>
      </a:spcBef>
      <a:spcAft>
        <a:spcPct val="0"/>
      </a:spcAft>
      <a:defRPr sz="2800" kern="1200">
        <a:solidFill>
          <a:schemeClr val="tx1"/>
        </a:solidFill>
        <a:latin typeface="Arial" pitchFamily="34" charset="0"/>
        <a:ea typeface="+mn-ea"/>
        <a:cs typeface="Angsana New" pitchFamily="18" charset="-34"/>
      </a:defRPr>
    </a:lvl3pPr>
    <a:lvl4pPr marL="1371600" algn="l" rtl="0" fontAlgn="base">
      <a:spcBef>
        <a:spcPct val="0"/>
      </a:spcBef>
      <a:spcAft>
        <a:spcPct val="0"/>
      </a:spcAft>
      <a:defRPr sz="2800" kern="1200">
        <a:solidFill>
          <a:schemeClr val="tx1"/>
        </a:solidFill>
        <a:latin typeface="Arial" pitchFamily="34" charset="0"/>
        <a:ea typeface="+mn-ea"/>
        <a:cs typeface="Angsana New" pitchFamily="18" charset="-34"/>
      </a:defRPr>
    </a:lvl4pPr>
    <a:lvl5pPr marL="1828800" algn="l" rtl="0" fontAlgn="base">
      <a:spcBef>
        <a:spcPct val="0"/>
      </a:spcBef>
      <a:spcAft>
        <a:spcPct val="0"/>
      </a:spcAft>
      <a:defRPr sz="2800" kern="1200">
        <a:solidFill>
          <a:schemeClr val="tx1"/>
        </a:solidFill>
        <a:latin typeface="Arial" pitchFamily="34" charset="0"/>
        <a:ea typeface="+mn-ea"/>
        <a:cs typeface="Angsana New" pitchFamily="18" charset="-34"/>
      </a:defRPr>
    </a:lvl5pPr>
    <a:lvl6pPr marL="2286000" algn="l" defTabSz="914400" rtl="0" eaLnBrk="1" latinLnBrk="0" hangingPunct="1">
      <a:defRPr sz="2800" kern="1200">
        <a:solidFill>
          <a:schemeClr val="tx1"/>
        </a:solidFill>
        <a:latin typeface="Arial" pitchFamily="34" charset="0"/>
        <a:ea typeface="+mn-ea"/>
        <a:cs typeface="Angsana New" pitchFamily="18" charset="-34"/>
      </a:defRPr>
    </a:lvl6pPr>
    <a:lvl7pPr marL="2743200" algn="l" defTabSz="914400" rtl="0" eaLnBrk="1" latinLnBrk="0" hangingPunct="1">
      <a:defRPr sz="2800" kern="1200">
        <a:solidFill>
          <a:schemeClr val="tx1"/>
        </a:solidFill>
        <a:latin typeface="Arial" pitchFamily="34" charset="0"/>
        <a:ea typeface="+mn-ea"/>
        <a:cs typeface="Angsana New" pitchFamily="18" charset="-34"/>
      </a:defRPr>
    </a:lvl7pPr>
    <a:lvl8pPr marL="3200400" algn="l" defTabSz="914400" rtl="0" eaLnBrk="1" latinLnBrk="0" hangingPunct="1">
      <a:defRPr sz="2800" kern="1200">
        <a:solidFill>
          <a:schemeClr val="tx1"/>
        </a:solidFill>
        <a:latin typeface="Arial" pitchFamily="34" charset="0"/>
        <a:ea typeface="+mn-ea"/>
        <a:cs typeface="Angsana New" pitchFamily="18" charset="-34"/>
      </a:defRPr>
    </a:lvl8pPr>
    <a:lvl9pPr marL="3657600" algn="l" defTabSz="914400" rtl="0" eaLnBrk="1" latinLnBrk="0" hangingPunct="1">
      <a:defRPr sz="2800" kern="1200">
        <a:solidFill>
          <a:schemeClr val="tx1"/>
        </a:solidFill>
        <a:latin typeface="Arial" pitchFamily="34" charset="0"/>
        <a:ea typeface="+mn-ea"/>
        <a:cs typeface="Angsana New" pitchFamily="18" charset="-34"/>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2160">
          <p15:clr>
            <a:srgbClr val="A4A3A4"/>
          </p15:clr>
        </p15:guide>
        <p15:guide id="2" pos="312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4611"/>
    <a:srgbClr val="328CCC"/>
    <a:srgbClr val="F07F09"/>
    <a:srgbClr val="CC0099"/>
    <a:srgbClr val="783F2E"/>
    <a:srgbClr val="797979"/>
    <a:srgbClr val="A1A1A1"/>
    <a:srgbClr val="FFCC66"/>
    <a:srgbClr val="0000CC"/>
    <a:srgbClr val="CC9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220" autoAdjust="0"/>
    <p:restoredTop sz="94434" autoAdjust="0"/>
  </p:normalViewPr>
  <p:slideViewPr>
    <p:cSldViewPr snapToGrid="0" snapToObjects="1">
      <p:cViewPr varScale="1">
        <p:scale>
          <a:sx n="92" d="100"/>
          <a:sy n="92" d="100"/>
        </p:scale>
        <p:origin x="-714" y="-10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napToObjects="1">
      <p:cViewPr varScale="1">
        <p:scale>
          <a:sx n="39" d="100"/>
          <a:sy n="39" d="100"/>
        </p:scale>
        <p:origin x="-1322" y="7"/>
      </p:cViewPr>
      <p:guideLst>
        <p:guide orient="horz" pos="2164"/>
        <p:guide pos="318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874895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hdr" sz="quarter"/>
          </p:nvPr>
        </p:nvSpPr>
        <p:spPr bwMode="auto">
          <a:xfrm>
            <a:off x="-1618" y="-41354"/>
            <a:ext cx="2971962" cy="574188"/>
          </a:xfrm>
          <a:prstGeom prst="rect">
            <a:avLst/>
          </a:prstGeom>
          <a:noFill/>
          <a:ln w="9525">
            <a:noFill/>
            <a:miter lim="800000"/>
            <a:headEnd/>
            <a:tailEnd/>
          </a:ln>
          <a:effectLst/>
        </p:spPr>
        <p:txBody>
          <a:bodyPr vert="horz" wrap="square" lIns="19218" tIns="0" rIns="19218" bIns="0" numCol="1" anchor="t" anchorCtr="0" compatLnSpc="1">
            <a:prstTxWarp prst="textNoShape">
              <a:avLst/>
            </a:prstTxWarp>
          </a:bodyPr>
          <a:lstStyle>
            <a:lvl1pPr eaLnBrk="0" hangingPunct="0">
              <a:defRPr sz="1000" i="1">
                <a:latin typeface="Arial" charset="0"/>
              </a:defRPr>
            </a:lvl1pPr>
          </a:lstStyle>
          <a:p>
            <a:pPr>
              <a:defRPr/>
            </a:pPr>
            <a:endParaRPr lang="th-TH"/>
          </a:p>
        </p:txBody>
      </p:sp>
      <p:sp>
        <p:nvSpPr>
          <p:cNvPr id="2051" name="Rectangle 3"/>
          <p:cNvSpPr>
            <a:spLocks noGrp="1" noChangeArrowheads="1"/>
          </p:cNvSpPr>
          <p:nvPr>
            <p:ph type="dt" idx="1"/>
          </p:nvPr>
        </p:nvSpPr>
        <p:spPr bwMode="auto">
          <a:xfrm>
            <a:off x="3886038" y="-41354"/>
            <a:ext cx="2971962" cy="574188"/>
          </a:xfrm>
          <a:prstGeom prst="rect">
            <a:avLst/>
          </a:prstGeom>
          <a:noFill/>
          <a:ln w="9525">
            <a:noFill/>
            <a:miter lim="800000"/>
            <a:headEnd/>
            <a:tailEnd/>
          </a:ln>
          <a:effectLst/>
        </p:spPr>
        <p:txBody>
          <a:bodyPr vert="horz" wrap="square" lIns="19218" tIns="0" rIns="19218" bIns="0" numCol="1" anchor="t" anchorCtr="0" compatLnSpc="1">
            <a:prstTxWarp prst="textNoShape">
              <a:avLst/>
            </a:prstTxWarp>
          </a:bodyPr>
          <a:lstStyle>
            <a:lvl1pPr algn="r" eaLnBrk="0" hangingPunct="0">
              <a:defRPr sz="1000" i="1">
                <a:latin typeface="Arial" charset="0"/>
              </a:defRPr>
            </a:lvl1pPr>
          </a:lstStyle>
          <a:p>
            <a:pPr>
              <a:defRPr/>
            </a:pPr>
            <a:endParaRPr lang="th-TH"/>
          </a:p>
        </p:txBody>
      </p:sp>
      <p:sp>
        <p:nvSpPr>
          <p:cNvPr id="69636" name="Rectangle 4"/>
          <p:cNvSpPr>
            <a:spLocks noGrp="1" noRot="1" noChangeAspect="1" noChangeArrowheads="1" noTextEdit="1"/>
          </p:cNvSpPr>
          <p:nvPr>
            <p:ph type="sldImg" idx="2"/>
          </p:nvPr>
        </p:nvSpPr>
        <p:spPr bwMode="auto">
          <a:xfrm>
            <a:off x="971550" y="787400"/>
            <a:ext cx="4913313" cy="3684588"/>
          </a:xfrm>
          <a:prstGeom prst="rect">
            <a:avLst/>
          </a:prstGeom>
          <a:noFill/>
          <a:ln w="12700">
            <a:solidFill>
              <a:schemeClr val="tx1"/>
            </a:solidFill>
            <a:miter lim="800000"/>
            <a:headEnd/>
            <a:tailEnd/>
          </a:ln>
        </p:spPr>
      </p:sp>
      <p:sp>
        <p:nvSpPr>
          <p:cNvPr id="2053" name="Rectangle 5"/>
          <p:cNvSpPr>
            <a:spLocks noGrp="1" noChangeArrowheads="1"/>
          </p:cNvSpPr>
          <p:nvPr>
            <p:ph type="body" sz="quarter" idx="3"/>
          </p:nvPr>
        </p:nvSpPr>
        <p:spPr bwMode="auto">
          <a:xfrm>
            <a:off x="914077" y="4725514"/>
            <a:ext cx="5028229" cy="4439215"/>
          </a:xfrm>
          <a:prstGeom prst="rect">
            <a:avLst/>
          </a:prstGeom>
          <a:noFill/>
          <a:ln w="9525">
            <a:noFill/>
            <a:miter lim="800000"/>
            <a:headEnd/>
            <a:tailEnd/>
          </a:ln>
          <a:effectLst/>
        </p:spPr>
        <p:txBody>
          <a:bodyPr vert="horz" wrap="square" lIns="92885" tIns="46443" rIns="92885" bIns="46443" numCol="1" anchor="t" anchorCtr="0" compatLnSpc="1">
            <a:prstTxWarp prst="textNoShape">
              <a:avLst/>
            </a:prstTxWarp>
          </a:bodyPr>
          <a:lstStyle/>
          <a:p>
            <a:pPr lvl="0"/>
            <a:r>
              <a:rPr lang="th-TH" noProof="0" smtClean="0"/>
              <a:t>Click to edit Master text styles</a:t>
            </a:r>
          </a:p>
          <a:p>
            <a:pPr lvl="1"/>
            <a:r>
              <a:rPr lang="th-TH" noProof="0" smtClean="0"/>
              <a:t>Second level</a:t>
            </a:r>
          </a:p>
          <a:p>
            <a:pPr lvl="2"/>
            <a:r>
              <a:rPr lang="th-TH" noProof="0" smtClean="0"/>
              <a:t>Third level</a:t>
            </a:r>
          </a:p>
          <a:p>
            <a:pPr lvl="3"/>
            <a:r>
              <a:rPr lang="th-TH" noProof="0" smtClean="0"/>
              <a:t>Fourth level</a:t>
            </a:r>
          </a:p>
          <a:p>
            <a:pPr lvl="4"/>
            <a:r>
              <a:rPr lang="th-TH" noProof="0" smtClean="0"/>
              <a:t>Fifth level</a:t>
            </a:r>
          </a:p>
        </p:txBody>
      </p:sp>
      <p:sp>
        <p:nvSpPr>
          <p:cNvPr id="2054" name="Rectangle 6"/>
          <p:cNvSpPr>
            <a:spLocks noGrp="1" noChangeArrowheads="1"/>
          </p:cNvSpPr>
          <p:nvPr>
            <p:ph type="ftr" sz="quarter" idx="4"/>
          </p:nvPr>
        </p:nvSpPr>
        <p:spPr bwMode="auto">
          <a:xfrm>
            <a:off x="-1618" y="9411265"/>
            <a:ext cx="2971962" cy="493069"/>
          </a:xfrm>
          <a:prstGeom prst="rect">
            <a:avLst/>
          </a:prstGeom>
          <a:noFill/>
          <a:ln w="9525">
            <a:noFill/>
            <a:miter lim="800000"/>
            <a:headEnd/>
            <a:tailEnd/>
          </a:ln>
          <a:effectLst/>
        </p:spPr>
        <p:txBody>
          <a:bodyPr vert="horz" wrap="square" lIns="19218" tIns="0" rIns="19218" bIns="0" numCol="1" anchor="b" anchorCtr="0" compatLnSpc="1">
            <a:prstTxWarp prst="textNoShape">
              <a:avLst/>
            </a:prstTxWarp>
          </a:bodyPr>
          <a:lstStyle>
            <a:lvl1pPr eaLnBrk="0" hangingPunct="0">
              <a:defRPr sz="1000" i="1">
                <a:latin typeface="Arial" charset="0"/>
              </a:defRPr>
            </a:lvl1pPr>
          </a:lstStyle>
          <a:p>
            <a:pPr>
              <a:defRPr/>
            </a:pPr>
            <a:endParaRPr lang="th-TH"/>
          </a:p>
        </p:txBody>
      </p:sp>
      <p:sp>
        <p:nvSpPr>
          <p:cNvPr id="2055" name="Rectangle 7"/>
          <p:cNvSpPr>
            <a:spLocks noGrp="1" noChangeArrowheads="1"/>
          </p:cNvSpPr>
          <p:nvPr>
            <p:ph type="sldNum" sz="quarter" idx="5"/>
          </p:nvPr>
        </p:nvSpPr>
        <p:spPr bwMode="auto">
          <a:xfrm>
            <a:off x="3886038" y="9411265"/>
            <a:ext cx="2971962" cy="493069"/>
          </a:xfrm>
          <a:prstGeom prst="rect">
            <a:avLst/>
          </a:prstGeom>
          <a:noFill/>
          <a:ln w="9525">
            <a:noFill/>
            <a:miter lim="800000"/>
            <a:headEnd/>
            <a:tailEnd/>
          </a:ln>
          <a:effectLst/>
        </p:spPr>
        <p:txBody>
          <a:bodyPr vert="horz" wrap="square" lIns="19218" tIns="0" rIns="19218" bIns="0" numCol="1" anchor="b" anchorCtr="0" compatLnSpc="1">
            <a:prstTxWarp prst="textNoShape">
              <a:avLst/>
            </a:prstTxWarp>
          </a:bodyPr>
          <a:lstStyle>
            <a:lvl1pPr algn="r" eaLnBrk="0" hangingPunct="0">
              <a:defRPr sz="1000" i="1">
                <a:latin typeface="Arial" charset="0"/>
              </a:defRPr>
            </a:lvl1pPr>
          </a:lstStyle>
          <a:p>
            <a:pPr>
              <a:defRPr/>
            </a:pPr>
            <a:fld id="{7A47FA74-B068-47D8-B91E-0374CC2B6162}" type="slidenum">
              <a:rPr lang="en-US"/>
              <a:pPr>
                <a:defRPr/>
              </a:pPr>
              <a:t>‹#›</a:t>
            </a:fld>
            <a:endParaRPr lang="th-TH"/>
          </a:p>
        </p:txBody>
      </p:sp>
    </p:spTree>
    <p:extLst>
      <p:ext uri="{BB962C8B-B14F-4D97-AF65-F5344CB8AC3E}">
        <p14:creationId xmlns:p14="http://schemas.microsoft.com/office/powerpoint/2010/main" val="389289563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a:spLocks noGrp="1" noChangeArrowheads="1"/>
          </p:cNvSpPr>
          <p:nvPr>
            <p:ph type="sldNum" sz="quarter" idx="5"/>
          </p:nvPr>
        </p:nvSpPr>
        <p:spPr>
          <a:noFill/>
        </p:spPr>
        <p:txBody>
          <a:bodyPr/>
          <a:lstStyle/>
          <a:p>
            <a:fld id="{4787C240-5904-4F4E-9404-E321D332008C}" type="slidenum">
              <a:rPr lang="en-US" smtClean="0">
                <a:latin typeface="Arial" pitchFamily="34" charset="0"/>
              </a:rPr>
              <a:pPr/>
              <a:t>1</a:t>
            </a:fld>
            <a:endParaRPr lang="th-TH" smtClean="0">
              <a:latin typeface="Arial" pitchFamily="34" charset="0"/>
            </a:endParaRPr>
          </a:p>
        </p:txBody>
      </p:sp>
      <p:sp>
        <p:nvSpPr>
          <p:cNvPr id="70659" name="Rectangle 2"/>
          <p:cNvSpPr>
            <a:spLocks noGrp="1" noRot="1" noChangeAspect="1" noChangeArrowheads="1" noTextEdit="1"/>
          </p:cNvSpPr>
          <p:nvPr>
            <p:ph type="sldImg"/>
          </p:nvPr>
        </p:nvSpPr>
        <p:spPr>
          <a:xfrm>
            <a:off x="971550" y="787400"/>
            <a:ext cx="4913313" cy="3684588"/>
          </a:xfrm>
          <a:ln/>
        </p:spPr>
      </p:sp>
      <p:sp>
        <p:nvSpPr>
          <p:cNvPr id="70660" name="Rectangle 3"/>
          <p:cNvSpPr>
            <a:spLocks noGrp="1" noChangeArrowheads="1"/>
          </p:cNvSpPr>
          <p:nvPr>
            <p:ph type="body" idx="1"/>
          </p:nvPr>
        </p:nvSpPr>
        <p:spPr>
          <a:noFill/>
          <a:ln/>
        </p:spPr>
        <p:txBody>
          <a:bodyPr/>
          <a:lstStyle/>
          <a:p>
            <a:endParaRPr lang="en-US" dirty="0" smtClean="0">
              <a:latin typeface="Arial" pitchFamily="34" charset="0"/>
              <a:cs typeface="Cordia New" pitchFamily="34" charset="-34"/>
            </a:endParaRPr>
          </a:p>
        </p:txBody>
      </p:sp>
    </p:spTree>
    <p:extLst>
      <p:ext uri="{BB962C8B-B14F-4D97-AF65-F5344CB8AC3E}">
        <p14:creationId xmlns:p14="http://schemas.microsoft.com/office/powerpoint/2010/main" val="38301562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p:cNvSpPr>
            <a:spLocks noGrp="1" noRot="1" noChangeAspect="1" noTextEdit="1"/>
          </p:cNvSpPr>
          <p:nvPr>
            <p:ph type="sldImg"/>
          </p:nvPr>
        </p:nvSpPr>
        <p:spPr>
          <a:ln/>
        </p:spPr>
      </p:sp>
      <p:sp>
        <p:nvSpPr>
          <p:cNvPr id="82947" name="Notes Placeholder 2"/>
          <p:cNvSpPr>
            <a:spLocks noGrp="1"/>
          </p:cNvSpPr>
          <p:nvPr>
            <p:ph type="body" idx="1"/>
          </p:nvPr>
        </p:nvSpPr>
        <p:spPr>
          <a:noFill/>
          <a:ln/>
        </p:spPr>
        <p:txBody>
          <a:bodyPr/>
          <a:lstStyle/>
          <a:p>
            <a:endParaRPr lang="en-US" dirty="0" smtClean="0">
              <a:latin typeface="Arial" pitchFamily="34" charset="0"/>
              <a:cs typeface="Cordia New" pitchFamily="34" charset="-34"/>
            </a:endParaRPr>
          </a:p>
        </p:txBody>
      </p:sp>
      <p:sp>
        <p:nvSpPr>
          <p:cNvPr id="82948" name="Slide Number Placeholder 3"/>
          <p:cNvSpPr>
            <a:spLocks noGrp="1"/>
          </p:cNvSpPr>
          <p:nvPr>
            <p:ph type="sldNum" sz="quarter" idx="5"/>
          </p:nvPr>
        </p:nvSpPr>
        <p:spPr>
          <a:noFill/>
        </p:spPr>
        <p:txBody>
          <a:bodyPr/>
          <a:lstStyle/>
          <a:p>
            <a:fld id="{F6CD13C5-0C2B-48D3-9F10-154D00AEE89E}" type="slidenum">
              <a:rPr lang="en-US" smtClean="0">
                <a:solidFill>
                  <a:prstClr val="black"/>
                </a:solidFill>
              </a:rPr>
              <a:pPr/>
              <a:t>11</a:t>
            </a:fld>
            <a:endParaRPr lang="th-TH" smtClean="0">
              <a:solidFill>
                <a:prstClr val="black"/>
              </a:solidFill>
            </a:endParaRPr>
          </a:p>
        </p:txBody>
      </p:sp>
    </p:spTree>
    <p:extLst>
      <p:ext uri="{BB962C8B-B14F-4D97-AF65-F5344CB8AC3E}">
        <p14:creationId xmlns:p14="http://schemas.microsoft.com/office/powerpoint/2010/main" val="25829448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Image Placeholder 1"/>
          <p:cNvSpPr>
            <a:spLocks noGrp="1" noRot="1" noChangeAspect="1" noTextEdit="1"/>
          </p:cNvSpPr>
          <p:nvPr>
            <p:ph type="sldImg"/>
          </p:nvPr>
        </p:nvSpPr>
        <p:spPr>
          <a:ln/>
        </p:spPr>
      </p:sp>
      <p:sp>
        <p:nvSpPr>
          <p:cNvPr id="83971" name="Notes Placeholder 2"/>
          <p:cNvSpPr>
            <a:spLocks noGrp="1"/>
          </p:cNvSpPr>
          <p:nvPr>
            <p:ph type="body" idx="1"/>
          </p:nvPr>
        </p:nvSpPr>
        <p:spPr>
          <a:noFill/>
          <a:ln/>
        </p:spPr>
        <p:txBody>
          <a:bodyPr/>
          <a:lstStyle/>
          <a:p>
            <a:endParaRPr lang="en-US" smtClean="0">
              <a:latin typeface="Arial" pitchFamily="34" charset="0"/>
              <a:cs typeface="Cordia New" pitchFamily="34" charset="-34"/>
            </a:endParaRPr>
          </a:p>
        </p:txBody>
      </p:sp>
      <p:sp>
        <p:nvSpPr>
          <p:cNvPr id="83972" name="Slide Number Placeholder 3"/>
          <p:cNvSpPr>
            <a:spLocks noGrp="1"/>
          </p:cNvSpPr>
          <p:nvPr>
            <p:ph type="sldNum" sz="quarter" idx="5"/>
          </p:nvPr>
        </p:nvSpPr>
        <p:spPr>
          <a:noFill/>
        </p:spPr>
        <p:txBody>
          <a:bodyPr/>
          <a:lstStyle/>
          <a:p>
            <a:fld id="{E7548D64-BA58-48AA-A49B-733CCA65BF62}" type="slidenum">
              <a:rPr lang="en-US" smtClean="0">
                <a:solidFill>
                  <a:prstClr val="black"/>
                </a:solidFill>
              </a:rPr>
              <a:pPr/>
              <a:t>12</a:t>
            </a:fld>
            <a:endParaRPr lang="th-TH" smtClean="0">
              <a:solidFill>
                <a:prstClr val="black"/>
              </a:solidFill>
            </a:endParaRPr>
          </a:p>
        </p:txBody>
      </p:sp>
    </p:spTree>
    <p:extLst>
      <p:ext uri="{BB962C8B-B14F-4D97-AF65-F5344CB8AC3E}">
        <p14:creationId xmlns:p14="http://schemas.microsoft.com/office/powerpoint/2010/main" val="24794724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p:spPr>
      </p:sp>
      <p:sp>
        <p:nvSpPr>
          <p:cNvPr id="56323" name="Notes Placeholder 2"/>
          <p:cNvSpPr>
            <a:spLocks noGrp="1"/>
          </p:cNvSpPr>
          <p:nvPr>
            <p:ph type="body" idx="1"/>
          </p:nvPr>
        </p:nvSpPr>
        <p:spPr bwMode="auto">
          <a:noFill/>
        </p:spPr>
        <p:txBody>
          <a:bodyPr/>
          <a:lstStyle/>
          <a:p>
            <a:pPr eaLnBrk="1" hangingPunct="1">
              <a:spcBef>
                <a:spcPct val="0"/>
              </a:spcBef>
            </a:pPr>
            <a:endParaRPr lang="en-US" smtClean="0">
              <a:latin typeface="Arial" pitchFamily="34" charset="0"/>
              <a:cs typeface="Cordia New" pitchFamily="34" charset="-34"/>
            </a:endParaRPr>
          </a:p>
        </p:txBody>
      </p:sp>
      <p:sp>
        <p:nvSpPr>
          <p:cNvPr id="56324" name="Slide Number Placeholder 3"/>
          <p:cNvSpPr>
            <a:spLocks noGrp="1"/>
          </p:cNvSpPr>
          <p:nvPr>
            <p:ph type="sldNum" sz="quarter" idx="5"/>
          </p:nvPr>
        </p:nvSpPr>
        <p:spPr bwMode="auto">
          <a:noFill/>
          <a:ln>
            <a:miter lim="800000"/>
            <a:headEnd/>
            <a:tailEnd/>
          </a:ln>
        </p:spPr>
        <p:txBody>
          <a:bodyPr/>
          <a:lstStyle/>
          <a:p>
            <a:fld id="{A6E1FEEC-91B9-4512-8C24-692AA2D40746}" type="slidenum">
              <a:rPr lang="en-US" smtClean="0">
                <a:solidFill>
                  <a:srgbClr val="000000"/>
                </a:solidFill>
                <a:latin typeface="Arial" pitchFamily="34" charset="0"/>
                <a:cs typeface="Angsana New" pitchFamily="18" charset="-34"/>
              </a:rPr>
              <a:pPr/>
              <a:t>13</a:t>
            </a:fld>
            <a:endParaRPr lang="th-TH" smtClean="0">
              <a:solidFill>
                <a:srgbClr val="000000"/>
              </a:solidFill>
              <a:latin typeface="Arial" pitchFamily="34" charset="0"/>
              <a:cs typeface="Angsana New" pitchFamily="18" charset="-34"/>
            </a:endParaRPr>
          </a:p>
        </p:txBody>
      </p:sp>
    </p:spTree>
    <p:extLst>
      <p:ext uri="{BB962C8B-B14F-4D97-AF65-F5344CB8AC3E}">
        <p14:creationId xmlns:p14="http://schemas.microsoft.com/office/powerpoint/2010/main" val="919795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p:spPr>
      </p:sp>
      <p:sp>
        <p:nvSpPr>
          <p:cNvPr id="56323" name="Notes Placeholder 2"/>
          <p:cNvSpPr>
            <a:spLocks noGrp="1"/>
          </p:cNvSpPr>
          <p:nvPr>
            <p:ph type="body" idx="1"/>
          </p:nvPr>
        </p:nvSpPr>
        <p:spPr bwMode="auto">
          <a:noFill/>
        </p:spPr>
        <p:txBody>
          <a:bodyPr/>
          <a:lstStyle/>
          <a:p>
            <a:pPr eaLnBrk="1" hangingPunct="1">
              <a:spcBef>
                <a:spcPct val="0"/>
              </a:spcBef>
            </a:pPr>
            <a:endParaRPr lang="en-US" smtClean="0">
              <a:latin typeface="Arial" pitchFamily="34" charset="0"/>
              <a:cs typeface="Cordia New" pitchFamily="34" charset="-34"/>
            </a:endParaRPr>
          </a:p>
        </p:txBody>
      </p:sp>
      <p:sp>
        <p:nvSpPr>
          <p:cNvPr id="56324" name="Slide Number Placeholder 3"/>
          <p:cNvSpPr>
            <a:spLocks noGrp="1"/>
          </p:cNvSpPr>
          <p:nvPr>
            <p:ph type="sldNum" sz="quarter" idx="5"/>
          </p:nvPr>
        </p:nvSpPr>
        <p:spPr bwMode="auto">
          <a:noFill/>
          <a:ln>
            <a:miter lim="800000"/>
            <a:headEnd/>
            <a:tailEnd/>
          </a:ln>
        </p:spPr>
        <p:txBody>
          <a:bodyPr/>
          <a:lstStyle/>
          <a:p>
            <a:fld id="{A6E1FEEC-91B9-4512-8C24-692AA2D40746}" type="slidenum">
              <a:rPr lang="en-US" smtClean="0">
                <a:solidFill>
                  <a:srgbClr val="000000"/>
                </a:solidFill>
                <a:latin typeface="Arial" pitchFamily="34" charset="0"/>
                <a:cs typeface="Angsana New" pitchFamily="18" charset="-34"/>
              </a:rPr>
              <a:pPr/>
              <a:t>14</a:t>
            </a:fld>
            <a:endParaRPr lang="th-TH" smtClean="0">
              <a:solidFill>
                <a:srgbClr val="000000"/>
              </a:solidFill>
              <a:latin typeface="Arial" pitchFamily="34" charset="0"/>
              <a:cs typeface="Angsana New" pitchFamily="18" charset="-34"/>
            </a:endParaRPr>
          </a:p>
        </p:txBody>
      </p:sp>
    </p:spTree>
    <p:extLst>
      <p:ext uri="{BB962C8B-B14F-4D97-AF65-F5344CB8AC3E}">
        <p14:creationId xmlns:p14="http://schemas.microsoft.com/office/powerpoint/2010/main" val="2561827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7"/>
          <p:cNvSpPr>
            <a:spLocks noGrp="1" noChangeArrowheads="1"/>
          </p:cNvSpPr>
          <p:nvPr>
            <p:ph type="sldNum" sz="quarter" idx="5"/>
          </p:nvPr>
        </p:nvSpPr>
        <p:spPr>
          <a:noFill/>
        </p:spPr>
        <p:txBody>
          <a:bodyPr/>
          <a:lstStyle/>
          <a:p>
            <a:pPr defTabSz="923949"/>
            <a:fld id="{5F941D48-B701-4F87-B302-BAF6B444A52D}" type="slidenum">
              <a:rPr lang="en-US">
                <a:solidFill>
                  <a:prstClr val="black"/>
                </a:solidFill>
              </a:rPr>
              <a:pPr defTabSz="923949"/>
              <a:t>15</a:t>
            </a:fld>
            <a:endParaRPr lang="th-TH">
              <a:solidFill>
                <a:prstClr val="black"/>
              </a:solidFill>
            </a:endParaRPr>
          </a:p>
        </p:txBody>
      </p:sp>
      <p:sp>
        <p:nvSpPr>
          <p:cNvPr id="83971" name="Rectangle 2"/>
          <p:cNvSpPr>
            <a:spLocks noGrp="1" noRot="1" noChangeAspect="1" noChangeArrowheads="1" noTextEdit="1"/>
          </p:cNvSpPr>
          <p:nvPr>
            <p:ph type="sldImg"/>
          </p:nvPr>
        </p:nvSpPr>
        <p:spPr>
          <a:xfrm>
            <a:off x="947738" y="747713"/>
            <a:ext cx="4968875" cy="3727450"/>
          </a:xfrm>
          <a:ln/>
        </p:spPr>
      </p:sp>
      <p:sp>
        <p:nvSpPr>
          <p:cNvPr id="83972" name="Rectangle 3"/>
          <p:cNvSpPr>
            <a:spLocks noGrp="1" noChangeArrowheads="1"/>
          </p:cNvSpPr>
          <p:nvPr>
            <p:ph type="body" idx="1"/>
          </p:nvPr>
        </p:nvSpPr>
        <p:spPr>
          <a:xfrm>
            <a:off x="685963" y="4727107"/>
            <a:ext cx="5486077" cy="4471027"/>
          </a:xfrm>
          <a:noFill/>
          <a:ln/>
        </p:spPr>
        <p:txBody>
          <a:bodyPr>
            <a:normAutofit/>
          </a:bodyPr>
          <a:lstStyle/>
          <a:p>
            <a:r>
              <a:rPr lang="en-US" dirty="0" smtClean="0">
                <a:latin typeface="Arial" pitchFamily="34" charset="0"/>
                <a:cs typeface="Cordia New" pitchFamily="34" charset="-34"/>
              </a:rPr>
              <a:t>	Thailand has been negotiating Free Trade Areas with its several strategic trading partners to expand and diversify its export markets.  Many of these have already been implemented, such as ASEAN, ASEAN and China Free Trade Area (FTA), Thailand and Australia FTA, Thailand and New Zealand FTA, and Thailand and India FTA (only products in Early Harvest Scheme).  Moreover, many are being finalized such as Thailand and Japan as part of ASEAN-Japan FTA, and some are under negotiation for instance, Thailand and the US FTA, Thailand and Peru FTA, BIMSTEC FTA, Thailand and Bahrain FTA and so on.</a:t>
            </a:r>
          </a:p>
          <a:p>
            <a:r>
              <a:rPr lang="en-US" dirty="0" smtClean="0">
                <a:latin typeface="Arial" pitchFamily="34" charset="0"/>
                <a:cs typeface="Cordia New" pitchFamily="34" charset="-34"/>
              </a:rPr>
              <a:t>	India so far has been negotiating several Free Trade Areas such as South Asia Free Trade Area (SAFTA), ASEAN and India Free Trade Area, India and Singapore Free Trade Area, India and Sri Lanka Free Trade Area and so on.  Its influence can definitely be felt throughout Asia. </a:t>
            </a:r>
            <a:endParaRPr lang="en-GB" dirty="0" smtClean="0">
              <a:latin typeface="Arial" pitchFamily="34" charset="0"/>
              <a:cs typeface="Cordia New" pitchFamily="34" charset="-34"/>
            </a:endParaRPr>
          </a:p>
        </p:txBody>
      </p:sp>
    </p:spTree>
    <p:extLst>
      <p:ext uri="{BB962C8B-B14F-4D97-AF65-F5344CB8AC3E}">
        <p14:creationId xmlns:p14="http://schemas.microsoft.com/office/powerpoint/2010/main" val="42017362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1" name="Notes Placeholder 2"/>
          <p:cNvSpPr>
            <a:spLocks noGrp="1"/>
          </p:cNvSpPr>
          <p:nvPr>
            <p:ph type="body" idx="1"/>
          </p:nvPr>
        </p:nvSpPr>
        <p:spPr>
          <a:ln/>
        </p:spPr>
        <p:txBody>
          <a:bodyPr/>
          <a:lstStyle/>
          <a:p>
            <a:pPr>
              <a:defRPr/>
            </a:pPr>
            <a:endParaRPr lang="th-TH" dirty="0" smtClean="0"/>
          </a:p>
        </p:txBody>
      </p:sp>
      <p:sp>
        <p:nvSpPr>
          <p:cNvPr id="53252" name="Slide Number Placeholder 3"/>
          <p:cNvSpPr>
            <a:spLocks noGrp="1"/>
          </p:cNvSpPr>
          <p:nvPr>
            <p:ph type="sldNum" sz="quarter" idx="5"/>
          </p:nvPr>
        </p:nvSpPr>
        <p:spPr/>
        <p:txBody>
          <a:bodyPr/>
          <a:lstStyle/>
          <a:p>
            <a:pPr>
              <a:defRPr/>
            </a:pPr>
            <a:fld id="{15982724-BC59-4BF1-9FB8-BF12A7BD1CE3}" type="slidenum">
              <a:rPr lang="en-US" smtClean="0">
                <a:solidFill>
                  <a:prstClr val="black"/>
                </a:solidFill>
              </a:rPr>
              <a:pPr>
                <a:defRPr/>
              </a:pPr>
              <a:t>16</a:t>
            </a:fld>
            <a:endParaRPr lang="en-US" smtClean="0">
              <a:solidFill>
                <a:prstClr val="black"/>
              </a:solidFill>
            </a:endParaRPr>
          </a:p>
        </p:txBody>
      </p:sp>
    </p:spTree>
    <p:extLst>
      <p:ext uri="{BB962C8B-B14F-4D97-AF65-F5344CB8AC3E}">
        <p14:creationId xmlns:p14="http://schemas.microsoft.com/office/powerpoint/2010/main" val="5549968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TextEdit="1"/>
          </p:cNvSpPr>
          <p:nvPr>
            <p:ph type="sldImg"/>
          </p:nvPr>
        </p:nvSpPr>
        <p:spPr>
          <a:ln/>
        </p:spPr>
      </p:sp>
      <p:sp>
        <p:nvSpPr>
          <p:cNvPr id="92163" name="Notes Placeholder 2"/>
          <p:cNvSpPr>
            <a:spLocks noGrp="1"/>
          </p:cNvSpPr>
          <p:nvPr>
            <p:ph type="body" idx="1"/>
          </p:nvPr>
        </p:nvSpPr>
        <p:spPr>
          <a:noFill/>
          <a:ln/>
        </p:spPr>
        <p:txBody>
          <a:bodyPr/>
          <a:lstStyle/>
          <a:p>
            <a:endParaRPr lang="en-US" dirty="0" smtClean="0">
              <a:latin typeface="Arial" pitchFamily="34" charset="0"/>
              <a:cs typeface="Cordia New" pitchFamily="34" charset="-34"/>
            </a:endParaRPr>
          </a:p>
        </p:txBody>
      </p:sp>
      <p:sp>
        <p:nvSpPr>
          <p:cNvPr id="92164" name="Slide Number Placeholder 3"/>
          <p:cNvSpPr>
            <a:spLocks noGrp="1"/>
          </p:cNvSpPr>
          <p:nvPr>
            <p:ph type="sldNum" sz="quarter" idx="5"/>
          </p:nvPr>
        </p:nvSpPr>
        <p:spPr>
          <a:noFill/>
        </p:spPr>
        <p:txBody>
          <a:bodyPr/>
          <a:lstStyle/>
          <a:p>
            <a:fld id="{73883EC5-23B7-4C93-95D5-3ACC62FA1776}" type="slidenum">
              <a:rPr lang="en-US" smtClean="0">
                <a:solidFill>
                  <a:srgbClr val="000000"/>
                </a:solidFill>
              </a:rPr>
              <a:pPr/>
              <a:t>18</a:t>
            </a:fld>
            <a:endParaRPr lang="en-US" dirty="0" smtClean="0">
              <a:solidFill>
                <a:srgbClr val="000000"/>
              </a:solidFill>
            </a:endParaRPr>
          </a:p>
        </p:txBody>
      </p:sp>
    </p:spTree>
    <p:extLst>
      <p:ext uri="{BB962C8B-B14F-4D97-AF65-F5344CB8AC3E}">
        <p14:creationId xmlns:p14="http://schemas.microsoft.com/office/powerpoint/2010/main" val="41847588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0FCB873-09A8-4410-A135-75267C756027}" type="slidenum">
              <a:rPr lang="en-US">
                <a:solidFill>
                  <a:srgbClr val="000000"/>
                </a:solidFill>
              </a:rPr>
              <a:pPr/>
              <a:t>22</a:t>
            </a:fld>
            <a:endParaRPr lang="th-TH">
              <a:solidFill>
                <a:srgbClr val="000000"/>
              </a:solidFill>
            </a:endParaRPr>
          </a:p>
        </p:txBody>
      </p:sp>
      <p:sp>
        <p:nvSpPr>
          <p:cNvPr id="1440770" name="Rectangle 2"/>
          <p:cNvSpPr>
            <a:spLocks noGrp="1" noRot="1" noChangeAspect="1" noChangeArrowheads="1" noTextEdit="1"/>
          </p:cNvSpPr>
          <p:nvPr>
            <p:ph type="sldImg"/>
          </p:nvPr>
        </p:nvSpPr>
        <p:spPr>
          <a:xfrm>
            <a:off x="957263" y="747713"/>
            <a:ext cx="4978400" cy="3733800"/>
          </a:xfrm>
          <a:ln/>
        </p:spPr>
      </p:sp>
      <p:sp>
        <p:nvSpPr>
          <p:cNvPr id="1440771" name="Rectangle 3"/>
          <p:cNvSpPr>
            <a:spLocks noGrp="1" noChangeArrowheads="1"/>
          </p:cNvSpPr>
          <p:nvPr>
            <p:ph type="body" idx="1"/>
          </p:nvPr>
        </p:nvSpPr>
        <p:spPr>
          <a:xfrm>
            <a:off x="688706" y="4731873"/>
            <a:ext cx="5512946" cy="4482951"/>
          </a:xfrm>
        </p:spPr>
        <p:txBody>
          <a:bodyPr/>
          <a:lstStyle/>
          <a:p>
            <a:endParaRPr lang="th-TH" dirty="0"/>
          </a:p>
        </p:txBody>
      </p:sp>
    </p:spTree>
    <p:extLst>
      <p:ext uri="{BB962C8B-B14F-4D97-AF65-F5344CB8AC3E}">
        <p14:creationId xmlns:p14="http://schemas.microsoft.com/office/powerpoint/2010/main" val="938174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th-TH" dirty="0"/>
              <a:t>เมื่อวันที่ 21 สิงหาคม 2548 นายลี เซียน ลุงได้กล่าวถ้อยแถลงต่อประชาชนในโอกาสวันชาติสิงคโปร์ (</a:t>
            </a:r>
            <a:r>
              <a:rPr lang="en-US" dirty="0"/>
              <a:t>National Day Rally Speech) </a:t>
            </a:r>
            <a:r>
              <a:rPr lang="th-TH" dirty="0"/>
              <a:t>โดยได้ระบุถึงทิศทางในการพัฒนาประเทศและการดำเนินนโยบายต่างประเทศ โดยในด้านการต่างประเทศนั้น สิงคโปร์จะให้ความสำคัญในการส่งเสริมความสัมพันธ์กับประเทศอาเซียน (โดยเฉพาะมาเลเซียและอินโดนีเซีย) รวมทั้งกับประเทศมหาอำนาจสำคัญๆ ได้แก่ สหรัฐฯ จีน ญี่ปุ่น อินเดีย สหภาพยุโรปและออสเตรเลีย นอกจากนั้น จะให้ความสำคัญกับการรวมตัวทางเศรษฐกิจของอาเซียน และการแก้ไขปัญหาการก่อการร้าย สำหรับนโยบายภายในประเทศ สิงคโปร์จะมุ่งเน้นเรื่องการปรับตัวทางเศรษฐกิจเพื่อให้ทันต่อการเปลี่ยนแปลงของโลก (</a:t>
            </a:r>
            <a:r>
              <a:rPr lang="en-US" dirty="0"/>
              <a:t>remake Singapore) </a:t>
            </a:r>
            <a:r>
              <a:rPr lang="th-TH" dirty="0"/>
              <a:t>โดยให้ความสำคัญกับการส่งเสริมนวัตกรรม การประกอบการ การวิจัยและการพัฒนา (</a:t>
            </a:r>
            <a:r>
              <a:rPr lang="en-US" dirty="0"/>
              <a:t>innovation, enterprise and R&amp;D) </a:t>
            </a:r>
            <a:r>
              <a:rPr lang="th-TH" dirty="0"/>
              <a:t>สำหรับด้านสังคม จะให้ความสำคัญกับการขยายโอกาสทางการศึกษาให้กับประชาชน การดูแลคนชราและผู้ที่มีรายได้ต่ำ รวมทั้งการส่งเสริมวัฒนธรรมด้านบริการเพื่อให้สิงคโปร์มีลักษณะของเมืองที่มีความเป็นสากล</a:t>
            </a:r>
            <a:endParaRPr lang="th-TH" dirty="0"/>
          </a:p>
        </p:txBody>
      </p:sp>
      <p:sp>
        <p:nvSpPr>
          <p:cNvPr id="4" name="Slide Number Placeholder 3"/>
          <p:cNvSpPr>
            <a:spLocks noGrp="1"/>
          </p:cNvSpPr>
          <p:nvPr>
            <p:ph type="sldNum" sz="quarter" idx="10"/>
          </p:nvPr>
        </p:nvSpPr>
        <p:spPr/>
        <p:txBody>
          <a:bodyPr/>
          <a:lstStyle/>
          <a:p>
            <a:pPr defTabSz="922447">
              <a:defRPr/>
            </a:pPr>
            <a:fld id="{7A47FA74-B068-47D8-B91E-0374CC2B6162}" type="slidenum">
              <a:rPr lang="en-US">
                <a:solidFill>
                  <a:srgbClr val="000000"/>
                </a:solidFill>
              </a:rPr>
              <a:pPr defTabSz="922447">
                <a:defRPr/>
              </a:pPr>
              <a:t>23</a:t>
            </a:fld>
            <a:endParaRPr lang="th-TH">
              <a:solidFill>
                <a:srgbClr val="000000"/>
              </a:solidFill>
            </a:endParaRPr>
          </a:p>
        </p:txBody>
      </p:sp>
    </p:spTree>
    <p:extLst>
      <p:ext uri="{BB962C8B-B14F-4D97-AF65-F5344CB8AC3E}">
        <p14:creationId xmlns:p14="http://schemas.microsoft.com/office/powerpoint/2010/main" val="27326563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7"/>
          <p:cNvSpPr>
            <a:spLocks noGrp="1" noChangeArrowheads="1"/>
          </p:cNvSpPr>
          <p:nvPr>
            <p:ph type="sldNum" sz="quarter" idx="5"/>
          </p:nvPr>
        </p:nvSpPr>
        <p:spPr>
          <a:noFill/>
        </p:spPr>
        <p:txBody>
          <a:bodyPr/>
          <a:lstStyle/>
          <a:p>
            <a:pPr defTabSz="922447">
              <a:defRPr/>
            </a:pPr>
            <a:fld id="{2CFC577B-6467-485B-B40F-DC2FE04E74C0}" type="slidenum">
              <a:rPr lang="en-US">
                <a:solidFill>
                  <a:srgbClr val="000000"/>
                </a:solidFill>
              </a:rPr>
              <a:pPr defTabSz="922447">
                <a:defRPr/>
              </a:pPr>
              <a:t>24</a:t>
            </a:fld>
            <a:endParaRPr lang="en-US">
              <a:solidFill>
                <a:srgbClr val="000000"/>
              </a:solidFill>
            </a:endParaRPr>
          </a:p>
        </p:txBody>
      </p:sp>
      <p:sp>
        <p:nvSpPr>
          <p:cNvPr id="110595" name="Rectangle 2"/>
          <p:cNvSpPr>
            <a:spLocks noGrp="1" noRot="1" noChangeAspect="1" noChangeArrowheads="1" noTextEdit="1"/>
          </p:cNvSpPr>
          <p:nvPr>
            <p:ph type="sldImg"/>
          </p:nvPr>
        </p:nvSpPr>
        <p:spPr>
          <a:ln/>
        </p:spPr>
      </p:sp>
      <p:sp>
        <p:nvSpPr>
          <p:cNvPr id="110596" name="Rectangle 3"/>
          <p:cNvSpPr>
            <a:spLocks noGrp="1" noChangeArrowheads="1"/>
          </p:cNvSpPr>
          <p:nvPr>
            <p:ph type="body" idx="1"/>
          </p:nvPr>
        </p:nvSpPr>
        <p:spPr>
          <a:noFill/>
          <a:ln/>
        </p:spPr>
        <p:txBody>
          <a:bodyPr/>
          <a:lstStyle/>
          <a:p>
            <a:pPr eaLnBrk="1" hangingPunct="1"/>
            <a:endParaRPr lang="en-US" smtClean="0">
              <a:latin typeface="Arial" pitchFamily="34" charset="0"/>
              <a:cs typeface="Cordia New" pitchFamily="34" charset="-34"/>
            </a:endParaRPr>
          </a:p>
        </p:txBody>
      </p:sp>
    </p:spTree>
    <p:extLst>
      <p:ext uri="{BB962C8B-B14F-4D97-AF65-F5344CB8AC3E}">
        <p14:creationId xmlns:p14="http://schemas.microsoft.com/office/powerpoint/2010/main" val="31068599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txBox="1">
            <a:spLocks noGrp="1" noChangeArrowheads="1"/>
          </p:cNvSpPr>
          <p:nvPr/>
        </p:nvSpPr>
        <p:spPr bwMode="auto">
          <a:xfrm>
            <a:off x="3904043" y="9464641"/>
            <a:ext cx="2986314" cy="496954"/>
          </a:xfrm>
          <a:prstGeom prst="rect">
            <a:avLst/>
          </a:prstGeom>
          <a:noFill/>
          <a:ln w="9525">
            <a:noFill/>
            <a:miter lim="800000"/>
            <a:headEnd/>
            <a:tailEnd/>
          </a:ln>
        </p:spPr>
        <p:txBody>
          <a:bodyPr lIns="94379" tIns="47191" rIns="94379" bIns="47191" anchor="b"/>
          <a:lstStyle/>
          <a:p>
            <a:pPr algn="r" defTabSz="935523" eaLnBrk="0" hangingPunct="0">
              <a:defRPr/>
            </a:pPr>
            <a:fld id="{27ACAAAD-F4CE-4B3A-ABF7-FEEF8EBEDFEF}" type="slidenum">
              <a:rPr lang="en-US" sz="1800">
                <a:solidFill>
                  <a:prstClr val="black"/>
                </a:solidFill>
              </a:rPr>
              <a:pPr algn="r" defTabSz="935523" eaLnBrk="0" hangingPunct="0">
                <a:defRPr/>
              </a:pPr>
              <a:t>2</a:t>
            </a:fld>
            <a:endParaRPr lang="th-TH" sz="1800" dirty="0">
              <a:solidFill>
                <a:prstClr val="black"/>
              </a:solidFill>
            </a:endParaRPr>
          </a:p>
        </p:txBody>
      </p:sp>
      <p:sp>
        <p:nvSpPr>
          <p:cNvPr id="55299" name="Rectangle 2"/>
          <p:cNvSpPr>
            <a:spLocks noGrp="1" noRot="1" noChangeAspect="1" noChangeArrowheads="1" noTextEdit="1"/>
          </p:cNvSpPr>
          <p:nvPr>
            <p:ph type="sldImg"/>
          </p:nvPr>
        </p:nvSpPr>
        <p:spPr bwMode="auto">
          <a:xfrm>
            <a:off x="957263" y="749300"/>
            <a:ext cx="4978400" cy="3733800"/>
          </a:xfrm>
          <a:noFill/>
          <a:ln>
            <a:solidFill>
              <a:srgbClr val="000000"/>
            </a:solidFill>
            <a:miter lim="800000"/>
            <a:headEnd/>
            <a:tailEnd/>
          </a:ln>
        </p:spPr>
      </p:sp>
      <p:sp>
        <p:nvSpPr>
          <p:cNvPr id="55300" name="Rectangle 3"/>
          <p:cNvSpPr>
            <a:spLocks noGrp="1" noChangeArrowheads="1"/>
          </p:cNvSpPr>
          <p:nvPr>
            <p:ph type="body" idx="1"/>
          </p:nvPr>
        </p:nvSpPr>
        <p:spPr bwMode="auto">
          <a:xfrm>
            <a:off x="917730" y="4733126"/>
            <a:ext cx="5054897" cy="4482234"/>
          </a:xfrm>
          <a:noFill/>
        </p:spPr>
        <p:txBody>
          <a:bodyPr lIns="94379" tIns="47191" rIns="94379" bIns="47191"/>
          <a:lstStyle/>
          <a:p>
            <a:endParaRPr lang="th-TH" sz="2700" dirty="0"/>
          </a:p>
        </p:txBody>
      </p:sp>
    </p:spTree>
    <p:extLst>
      <p:ext uri="{BB962C8B-B14F-4D97-AF65-F5344CB8AC3E}">
        <p14:creationId xmlns:p14="http://schemas.microsoft.com/office/powerpoint/2010/main" val="24013651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a:spLocks noGrp="1" noChangeArrowheads="1"/>
          </p:cNvSpPr>
          <p:nvPr>
            <p:ph type="sldNum" sz="quarter" idx="5"/>
          </p:nvPr>
        </p:nvSpPr>
        <p:spPr>
          <a:noFill/>
        </p:spPr>
        <p:txBody>
          <a:bodyPr/>
          <a:lstStyle/>
          <a:p>
            <a:pPr defTabSz="926540">
              <a:defRPr/>
            </a:pPr>
            <a:fld id="{4E544B57-206E-40C8-BD73-17AE08CB5301}" type="slidenum">
              <a:rPr lang="en-US">
                <a:solidFill>
                  <a:prstClr val="black"/>
                </a:solidFill>
              </a:rPr>
              <a:pPr defTabSz="926540">
                <a:defRPr/>
              </a:pPr>
              <a:t>27</a:t>
            </a:fld>
            <a:endParaRPr lang="th-TH" dirty="0">
              <a:solidFill>
                <a:prstClr val="black"/>
              </a:solidFill>
            </a:endParaRPr>
          </a:p>
        </p:txBody>
      </p:sp>
      <p:sp>
        <p:nvSpPr>
          <p:cNvPr id="66563" name="Rectangle 2"/>
          <p:cNvSpPr>
            <a:spLocks noGrp="1" noRot="1" noChangeAspect="1" noChangeArrowheads="1" noTextEdit="1"/>
          </p:cNvSpPr>
          <p:nvPr>
            <p:ph type="sldImg"/>
          </p:nvPr>
        </p:nvSpPr>
        <p:spPr>
          <a:xfrm>
            <a:off x="969963" y="752475"/>
            <a:ext cx="4968875" cy="3727450"/>
          </a:xfrm>
          <a:ln/>
        </p:spPr>
      </p:sp>
      <p:sp>
        <p:nvSpPr>
          <p:cNvPr id="66564" name="Rectangle 3"/>
          <p:cNvSpPr>
            <a:spLocks noGrp="1" noChangeArrowheads="1"/>
          </p:cNvSpPr>
          <p:nvPr>
            <p:ph type="body" idx="1"/>
          </p:nvPr>
        </p:nvSpPr>
        <p:spPr>
          <a:xfrm>
            <a:off x="918391" y="4734664"/>
            <a:ext cx="5055204" cy="4479770"/>
          </a:xfrm>
          <a:noFill/>
          <a:ln/>
        </p:spPr>
        <p:txBody>
          <a:bodyPr/>
          <a:lstStyle/>
          <a:p>
            <a:endParaRPr lang="en-US" smtClean="0">
              <a:latin typeface="Arial" pitchFamily="34" charset="0"/>
              <a:cs typeface="Cordia New" pitchFamily="34" charset="-34"/>
            </a:endParaRPr>
          </a:p>
        </p:txBody>
      </p:sp>
    </p:spTree>
    <p:extLst>
      <p:ext uri="{BB962C8B-B14F-4D97-AF65-F5344CB8AC3E}">
        <p14:creationId xmlns:p14="http://schemas.microsoft.com/office/powerpoint/2010/main" val="21661007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a:spLocks noGrp="1" noChangeArrowheads="1"/>
          </p:cNvSpPr>
          <p:nvPr>
            <p:ph type="sldNum" sz="quarter" idx="5"/>
          </p:nvPr>
        </p:nvSpPr>
        <p:spPr>
          <a:noFill/>
        </p:spPr>
        <p:txBody>
          <a:bodyPr/>
          <a:lstStyle/>
          <a:p>
            <a:fld id="{4787C240-5904-4F4E-9404-E321D332008C}" type="slidenum">
              <a:rPr lang="en-US" smtClean="0">
                <a:latin typeface="Arial" pitchFamily="34" charset="0"/>
              </a:rPr>
              <a:pPr/>
              <a:t>28</a:t>
            </a:fld>
            <a:endParaRPr lang="th-TH" smtClean="0">
              <a:latin typeface="Arial" pitchFamily="34" charset="0"/>
            </a:endParaRPr>
          </a:p>
        </p:txBody>
      </p:sp>
      <p:sp>
        <p:nvSpPr>
          <p:cNvPr id="70659" name="Rectangle 2"/>
          <p:cNvSpPr>
            <a:spLocks noGrp="1" noRot="1" noChangeAspect="1" noChangeArrowheads="1" noTextEdit="1"/>
          </p:cNvSpPr>
          <p:nvPr>
            <p:ph type="sldImg"/>
          </p:nvPr>
        </p:nvSpPr>
        <p:spPr>
          <a:xfrm>
            <a:off x="971550" y="787400"/>
            <a:ext cx="4913313" cy="3684588"/>
          </a:xfrm>
          <a:ln/>
        </p:spPr>
      </p:sp>
      <p:sp>
        <p:nvSpPr>
          <p:cNvPr id="70660" name="Rectangle 3"/>
          <p:cNvSpPr>
            <a:spLocks noGrp="1" noChangeArrowheads="1"/>
          </p:cNvSpPr>
          <p:nvPr>
            <p:ph type="body" idx="1"/>
          </p:nvPr>
        </p:nvSpPr>
        <p:spPr>
          <a:noFill/>
          <a:ln/>
        </p:spPr>
        <p:txBody>
          <a:bodyPr/>
          <a:lstStyle/>
          <a:p>
            <a:endParaRPr lang="en-US" dirty="0" smtClean="0">
              <a:latin typeface="Arial" pitchFamily="34" charset="0"/>
              <a:cs typeface="Cordia New" pitchFamily="34" charset="-34"/>
            </a:endParaRPr>
          </a:p>
        </p:txBody>
      </p:sp>
    </p:spTree>
    <p:extLst>
      <p:ext uri="{BB962C8B-B14F-4D97-AF65-F5344CB8AC3E}">
        <p14:creationId xmlns:p14="http://schemas.microsoft.com/office/powerpoint/2010/main" val="3232334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txBox="1">
            <a:spLocks noGrp="1" noChangeArrowheads="1"/>
          </p:cNvSpPr>
          <p:nvPr/>
        </p:nvSpPr>
        <p:spPr bwMode="auto">
          <a:xfrm>
            <a:off x="3885710" y="9449529"/>
            <a:ext cx="2972290" cy="496160"/>
          </a:xfrm>
          <a:prstGeom prst="rect">
            <a:avLst/>
          </a:prstGeom>
          <a:noFill/>
          <a:ln w="9525">
            <a:noFill/>
            <a:miter lim="800000"/>
            <a:headEnd/>
            <a:tailEnd/>
          </a:ln>
        </p:spPr>
        <p:txBody>
          <a:bodyPr lIns="94126" tIns="47064" rIns="94126" bIns="47064" anchor="b"/>
          <a:lstStyle/>
          <a:p>
            <a:pPr algn="r" defTabSz="933012" eaLnBrk="0" hangingPunct="0">
              <a:defRPr/>
            </a:pPr>
            <a:fld id="{27ACAAAD-F4CE-4B3A-ABF7-FEEF8EBEDFEF}" type="slidenum">
              <a:rPr lang="en-US" sz="1800" b="1">
                <a:solidFill>
                  <a:srgbClr val="FFFF00"/>
                </a:solidFill>
                <a:latin typeface="AngsanaUPC" pitchFamily="18" charset="-34"/>
                <a:cs typeface="AngsanaUPC" pitchFamily="18" charset="-34"/>
              </a:rPr>
              <a:pPr algn="r" defTabSz="933012" eaLnBrk="0" hangingPunct="0">
                <a:defRPr/>
              </a:pPr>
              <a:t>29</a:t>
            </a:fld>
            <a:endParaRPr lang="th-TH" sz="1800" b="1" dirty="0">
              <a:solidFill>
                <a:srgbClr val="FFFF00"/>
              </a:solidFill>
              <a:latin typeface="AngsanaUPC" pitchFamily="18" charset="-34"/>
              <a:cs typeface="AngsanaUPC" pitchFamily="18" charset="-34"/>
            </a:endParaRPr>
          </a:p>
        </p:txBody>
      </p:sp>
      <p:sp>
        <p:nvSpPr>
          <p:cNvPr id="55299" name="Rectangle 2"/>
          <p:cNvSpPr>
            <a:spLocks noGrp="1" noRot="1" noChangeAspect="1" noChangeArrowheads="1" noTextEdit="1"/>
          </p:cNvSpPr>
          <p:nvPr>
            <p:ph type="sldImg"/>
          </p:nvPr>
        </p:nvSpPr>
        <p:spPr bwMode="auto">
          <a:xfrm>
            <a:off x="944563" y="747713"/>
            <a:ext cx="4970462" cy="3727450"/>
          </a:xfrm>
          <a:noFill/>
          <a:ln>
            <a:solidFill>
              <a:srgbClr val="000000"/>
            </a:solidFill>
            <a:miter lim="800000"/>
            <a:headEnd/>
            <a:tailEnd/>
          </a:ln>
        </p:spPr>
      </p:sp>
      <p:sp>
        <p:nvSpPr>
          <p:cNvPr id="55300" name="Rectangle 3"/>
          <p:cNvSpPr>
            <a:spLocks noGrp="1" noChangeArrowheads="1"/>
          </p:cNvSpPr>
          <p:nvPr>
            <p:ph type="body" idx="1"/>
          </p:nvPr>
        </p:nvSpPr>
        <p:spPr bwMode="auto">
          <a:xfrm>
            <a:off x="913421" y="4725567"/>
            <a:ext cx="5031160" cy="4475078"/>
          </a:xfrm>
          <a:noFill/>
        </p:spPr>
        <p:txBody>
          <a:bodyPr lIns="94126" tIns="47064" rIns="94126" bIns="47064"/>
          <a:lstStyle/>
          <a:p>
            <a:endParaRPr lang="th-TH" sz="2700" dirty="0"/>
          </a:p>
        </p:txBody>
      </p:sp>
    </p:spTree>
    <p:extLst>
      <p:ext uri="{BB962C8B-B14F-4D97-AF65-F5344CB8AC3E}">
        <p14:creationId xmlns:p14="http://schemas.microsoft.com/office/powerpoint/2010/main" val="2110589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txBox="1">
            <a:spLocks noGrp="1" noChangeArrowheads="1"/>
          </p:cNvSpPr>
          <p:nvPr/>
        </p:nvSpPr>
        <p:spPr bwMode="auto">
          <a:xfrm>
            <a:off x="3885710" y="9449529"/>
            <a:ext cx="2972290" cy="496160"/>
          </a:xfrm>
          <a:prstGeom prst="rect">
            <a:avLst/>
          </a:prstGeom>
          <a:noFill/>
          <a:ln w="9525">
            <a:noFill/>
            <a:miter lim="800000"/>
            <a:headEnd/>
            <a:tailEnd/>
          </a:ln>
        </p:spPr>
        <p:txBody>
          <a:bodyPr lIns="94126" tIns="47064" rIns="94126" bIns="47064" anchor="b"/>
          <a:lstStyle/>
          <a:p>
            <a:pPr algn="r" defTabSz="933012" eaLnBrk="0" hangingPunct="0"/>
            <a:fld id="{27ACAAAD-F4CE-4B3A-ABF7-FEEF8EBEDFEF}" type="slidenum">
              <a:rPr lang="en-US" sz="1800">
                <a:solidFill>
                  <a:srgbClr val="FFFF00"/>
                </a:solidFill>
                <a:latin typeface="AngsanaUPC" pitchFamily="18" charset="-34"/>
                <a:cs typeface="AngsanaUPC" pitchFamily="18" charset="-34"/>
              </a:rPr>
              <a:pPr algn="r" defTabSz="933012" eaLnBrk="0" hangingPunct="0"/>
              <a:t>30</a:t>
            </a:fld>
            <a:endParaRPr lang="th-TH" sz="1800" dirty="0">
              <a:solidFill>
                <a:srgbClr val="FFFF00"/>
              </a:solidFill>
              <a:latin typeface="AngsanaUPC" pitchFamily="18" charset="-34"/>
              <a:cs typeface="AngsanaUPC" pitchFamily="18" charset="-34"/>
            </a:endParaRPr>
          </a:p>
        </p:txBody>
      </p:sp>
      <p:sp>
        <p:nvSpPr>
          <p:cNvPr id="55299" name="Rectangle 2"/>
          <p:cNvSpPr>
            <a:spLocks noGrp="1" noRot="1" noChangeAspect="1" noChangeArrowheads="1" noTextEdit="1"/>
          </p:cNvSpPr>
          <p:nvPr>
            <p:ph type="sldImg"/>
          </p:nvPr>
        </p:nvSpPr>
        <p:spPr bwMode="auto">
          <a:xfrm>
            <a:off x="944563" y="747713"/>
            <a:ext cx="4970462" cy="3727450"/>
          </a:xfrm>
          <a:noFill/>
          <a:ln>
            <a:solidFill>
              <a:srgbClr val="000000"/>
            </a:solidFill>
            <a:miter lim="800000"/>
            <a:headEnd/>
            <a:tailEnd/>
          </a:ln>
        </p:spPr>
      </p:sp>
      <p:sp>
        <p:nvSpPr>
          <p:cNvPr id="55300" name="Rectangle 3"/>
          <p:cNvSpPr>
            <a:spLocks noGrp="1" noChangeArrowheads="1"/>
          </p:cNvSpPr>
          <p:nvPr>
            <p:ph type="body" idx="1"/>
          </p:nvPr>
        </p:nvSpPr>
        <p:spPr bwMode="auto">
          <a:xfrm>
            <a:off x="913421" y="4725567"/>
            <a:ext cx="5031160" cy="4475078"/>
          </a:xfrm>
          <a:noFill/>
        </p:spPr>
        <p:txBody>
          <a:bodyPr lIns="94126" tIns="47064" rIns="94126" bIns="47064"/>
          <a:lstStyle/>
          <a:p>
            <a:endParaRPr lang="th-TH" sz="2700" dirty="0"/>
          </a:p>
        </p:txBody>
      </p:sp>
    </p:spTree>
    <p:extLst>
      <p:ext uri="{BB962C8B-B14F-4D97-AF65-F5344CB8AC3E}">
        <p14:creationId xmlns:p14="http://schemas.microsoft.com/office/powerpoint/2010/main" val="38471565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txBox="1">
            <a:spLocks noGrp="1" noChangeArrowheads="1"/>
          </p:cNvSpPr>
          <p:nvPr/>
        </p:nvSpPr>
        <p:spPr bwMode="auto">
          <a:xfrm>
            <a:off x="3885710" y="9449529"/>
            <a:ext cx="2972290" cy="496160"/>
          </a:xfrm>
          <a:prstGeom prst="rect">
            <a:avLst/>
          </a:prstGeom>
          <a:noFill/>
          <a:ln w="9525">
            <a:noFill/>
            <a:miter lim="800000"/>
            <a:headEnd/>
            <a:tailEnd/>
          </a:ln>
        </p:spPr>
        <p:txBody>
          <a:bodyPr lIns="94126" tIns="47064" rIns="94126" bIns="47064" anchor="b"/>
          <a:lstStyle/>
          <a:p>
            <a:pPr algn="r" defTabSz="933012" eaLnBrk="0" hangingPunct="0"/>
            <a:fld id="{27ACAAAD-F4CE-4B3A-ABF7-FEEF8EBEDFEF}" type="slidenum">
              <a:rPr lang="en-US" sz="1800">
                <a:solidFill>
                  <a:srgbClr val="FFFF00"/>
                </a:solidFill>
                <a:latin typeface="AngsanaUPC" pitchFamily="18" charset="-34"/>
                <a:cs typeface="AngsanaUPC" pitchFamily="18" charset="-34"/>
              </a:rPr>
              <a:pPr algn="r" defTabSz="933012" eaLnBrk="0" hangingPunct="0"/>
              <a:t>31</a:t>
            </a:fld>
            <a:endParaRPr lang="th-TH" sz="1800" dirty="0">
              <a:solidFill>
                <a:srgbClr val="FFFF00"/>
              </a:solidFill>
              <a:latin typeface="AngsanaUPC" pitchFamily="18" charset="-34"/>
              <a:cs typeface="AngsanaUPC" pitchFamily="18" charset="-34"/>
            </a:endParaRPr>
          </a:p>
        </p:txBody>
      </p:sp>
      <p:sp>
        <p:nvSpPr>
          <p:cNvPr id="55299" name="Rectangle 2"/>
          <p:cNvSpPr>
            <a:spLocks noGrp="1" noRot="1" noChangeAspect="1" noChangeArrowheads="1" noTextEdit="1"/>
          </p:cNvSpPr>
          <p:nvPr>
            <p:ph type="sldImg"/>
          </p:nvPr>
        </p:nvSpPr>
        <p:spPr bwMode="auto">
          <a:xfrm>
            <a:off x="944563" y="747713"/>
            <a:ext cx="4970462" cy="3727450"/>
          </a:xfrm>
          <a:noFill/>
          <a:ln>
            <a:solidFill>
              <a:srgbClr val="000000"/>
            </a:solidFill>
            <a:miter lim="800000"/>
            <a:headEnd/>
            <a:tailEnd/>
          </a:ln>
        </p:spPr>
      </p:sp>
      <p:sp>
        <p:nvSpPr>
          <p:cNvPr id="55300" name="Rectangle 3"/>
          <p:cNvSpPr>
            <a:spLocks noGrp="1" noChangeArrowheads="1"/>
          </p:cNvSpPr>
          <p:nvPr>
            <p:ph type="body" idx="1"/>
          </p:nvPr>
        </p:nvSpPr>
        <p:spPr bwMode="auto">
          <a:xfrm>
            <a:off x="913421" y="4725567"/>
            <a:ext cx="5031160" cy="4475078"/>
          </a:xfrm>
          <a:noFill/>
        </p:spPr>
        <p:txBody>
          <a:bodyPr lIns="94126" tIns="47064" rIns="94126" bIns="47064"/>
          <a:lstStyle/>
          <a:p>
            <a:endParaRPr lang="th-TH" sz="2700" dirty="0"/>
          </a:p>
        </p:txBody>
      </p:sp>
    </p:spTree>
    <p:extLst>
      <p:ext uri="{BB962C8B-B14F-4D97-AF65-F5344CB8AC3E}">
        <p14:creationId xmlns:p14="http://schemas.microsoft.com/office/powerpoint/2010/main" val="23185966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txBox="1">
            <a:spLocks noGrp="1" noChangeArrowheads="1"/>
          </p:cNvSpPr>
          <p:nvPr/>
        </p:nvSpPr>
        <p:spPr bwMode="auto">
          <a:xfrm>
            <a:off x="3885710" y="9449529"/>
            <a:ext cx="2972290" cy="496160"/>
          </a:xfrm>
          <a:prstGeom prst="rect">
            <a:avLst/>
          </a:prstGeom>
          <a:noFill/>
          <a:ln w="9525">
            <a:noFill/>
            <a:miter lim="800000"/>
            <a:headEnd/>
            <a:tailEnd/>
          </a:ln>
        </p:spPr>
        <p:txBody>
          <a:bodyPr lIns="94126" tIns="47064" rIns="94126" bIns="47064" anchor="b"/>
          <a:lstStyle/>
          <a:p>
            <a:pPr algn="r" defTabSz="933012" eaLnBrk="0" hangingPunct="0"/>
            <a:fld id="{27ACAAAD-F4CE-4B3A-ABF7-FEEF8EBEDFEF}" type="slidenum">
              <a:rPr lang="en-US" sz="1800">
                <a:solidFill>
                  <a:srgbClr val="FFFF00"/>
                </a:solidFill>
                <a:latin typeface="AngsanaUPC" pitchFamily="18" charset="-34"/>
                <a:cs typeface="AngsanaUPC" pitchFamily="18" charset="-34"/>
              </a:rPr>
              <a:pPr algn="r" defTabSz="933012" eaLnBrk="0" hangingPunct="0"/>
              <a:t>32</a:t>
            </a:fld>
            <a:endParaRPr lang="th-TH" sz="1800" dirty="0">
              <a:solidFill>
                <a:srgbClr val="FFFF00"/>
              </a:solidFill>
              <a:latin typeface="AngsanaUPC" pitchFamily="18" charset="-34"/>
              <a:cs typeface="AngsanaUPC" pitchFamily="18" charset="-34"/>
            </a:endParaRPr>
          </a:p>
        </p:txBody>
      </p:sp>
      <p:sp>
        <p:nvSpPr>
          <p:cNvPr id="55299" name="Rectangle 2"/>
          <p:cNvSpPr>
            <a:spLocks noGrp="1" noRot="1" noChangeAspect="1" noChangeArrowheads="1" noTextEdit="1"/>
          </p:cNvSpPr>
          <p:nvPr>
            <p:ph type="sldImg"/>
          </p:nvPr>
        </p:nvSpPr>
        <p:spPr bwMode="auto">
          <a:xfrm>
            <a:off x="944563" y="747713"/>
            <a:ext cx="4970462" cy="3727450"/>
          </a:xfrm>
          <a:noFill/>
          <a:ln>
            <a:solidFill>
              <a:srgbClr val="000000"/>
            </a:solidFill>
            <a:miter lim="800000"/>
            <a:headEnd/>
            <a:tailEnd/>
          </a:ln>
        </p:spPr>
      </p:sp>
      <p:sp>
        <p:nvSpPr>
          <p:cNvPr id="55300" name="Rectangle 3"/>
          <p:cNvSpPr>
            <a:spLocks noGrp="1" noChangeArrowheads="1"/>
          </p:cNvSpPr>
          <p:nvPr>
            <p:ph type="body" idx="1"/>
          </p:nvPr>
        </p:nvSpPr>
        <p:spPr bwMode="auto">
          <a:xfrm>
            <a:off x="913421" y="4725567"/>
            <a:ext cx="5031160" cy="4475078"/>
          </a:xfrm>
          <a:noFill/>
        </p:spPr>
        <p:txBody>
          <a:bodyPr lIns="94126" tIns="47064" rIns="94126" bIns="47064"/>
          <a:lstStyle/>
          <a:p>
            <a:endParaRPr lang="th-TH" sz="2700" dirty="0"/>
          </a:p>
        </p:txBody>
      </p:sp>
    </p:spTree>
    <p:extLst>
      <p:ext uri="{BB962C8B-B14F-4D97-AF65-F5344CB8AC3E}">
        <p14:creationId xmlns:p14="http://schemas.microsoft.com/office/powerpoint/2010/main" val="39438036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txBox="1">
            <a:spLocks noGrp="1" noChangeArrowheads="1"/>
          </p:cNvSpPr>
          <p:nvPr/>
        </p:nvSpPr>
        <p:spPr bwMode="auto">
          <a:xfrm>
            <a:off x="3925126" y="9449529"/>
            <a:ext cx="3002441" cy="496160"/>
          </a:xfrm>
          <a:prstGeom prst="rect">
            <a:avLst/>
          </a:prstGeom>
          <a:noFill/>
          <a:ln w="9525">
            <a:noFill/>
            <a:miter lim="800000"/>
            <a:headEnd/>
            <a:tailEnd/>
          </a:ln>
        </p:spPr>
        <p:txBody>
          <a:bodyPr lIns="94126" tIns="47064" rIns="94126" bIns="47064" anchor="b"/>
          <a:lstStyle/>
          <a:p>
            <a:pPr algn="r" defTabSz="933012" eaLnBrk="0" hangingPunct="0"/>
            <a:fld id="{27ACAAAD-F4CE-4B3A-ABF7-FEEF8EBEDFEF}" type="slidenum">
              <a:rPr lang="en-US" sz="1800">
                <a:solidFill>
                  <a:srgbClr val="FFFF00"/>
                </a:solidFill>
                <a:latin typeface="AngsanaUPC" pitchFamily="18" charset="-34"/>
                <a:cs typeface="AngsanaUPC" pitchFamily="18" charset="-34"/>
              </a:rPr>
              <a:pPr algn="r" defTabSz="933012" eaLnBrk="0" hangingPunct="0"/>
              <a:t>37</a:t>
            </a:fld>
            <a:endParaRPr lang="th-TH" sz="1800" dirty="0">
              <a:solidFill>
                <a:srgbClr val="FFFF00"/>
              </a:solidFill>
              <a:latin typeface="AngsanaUPC" pitchFamily="18" charset="-34"/>
              <a:cs typeface="AngsanaUPC" pitchFamily="18" charset="-34"/>
            </a:endParaRPr>
          </a:p>
        </p:txBody>
      </p:sp>
      <p:sp>
        <p:nvSpPr>
          <p:cNvPr id="55299" name="Rectangle 2"/>
          <p:cNvSpPr>
            <a:spLocks noGrp="1" noRot="1" noChangeAspect="1" noChangeArrowheads="1" noTextEdit="1"/>
          </p:cNvSpPr>
          <p:nvPr>
            <p:ph type="sldImg"/>
          </p:nvPr>
        </p:nvSpPr>
        <p:spPr bwMode="auto">
          <a:xfrm>
            <a:off x="979488" y="747713"/>
            <a:ext cx="4970462" cy="3727450"/>
          </a:xfrm>
          <a:noFill/>
          <a:ln>
            <a:solidFill>
              <a:srgbClr val="000000"/>
            </a:solidFill>
            <a:miter lim="800000"/>
            <a:headEnd/>
            <a:tailEnd/>
          </a:ln>
        </p:spPr>
      </p:sp>
      <p:sp>
        <p:nvSpPr>
          <p:cNvPr id="55300" name="Rectangle 3"/>
          <p:cNvSpPr>
            <a:spLocks noGrp="1" noChangeArrowheads="1"/>
          </p:cNvSpPr>
          <p:nvPr>
            <p:ph type="body" idx="1"/>
          </p:nvPr>
        </p:nvSpPr>
        <p:spPr bwMode="auto">
          <a:xfrm>
            <a:off x="922686" y="4725567"/>
            <a:ext cx="5082195" cy="4475078"/>
          </a:xfrm>
          <a:noFill/>
        </p:spPr>
        <p:txBody>
          <a:bodyPr lIns="94126" tIns="47064" rIns="94126" bIns="47064"/>
          <a:lstStyle/>
          <a:p>
            <a:endParaRPr lang="th-TH" sz="2700" dirty="0"/>
          </a:p>
        </p:txBody>
      </p:sp>
    </p:spTree>
    <p:extLst>
      <p:ext uri="{BB962C8B-B14F-4D97-AF65-F5344CB8AC3E}">
        <p14:creationId xmlns:p14="http://schemas.microsoft.com/office/powerpoint/2010/main" val="21163281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1" name="Notes Placeholder 2"/>
          <p:cNvSpPr>
            <a:spLocks noGrp="1"/>
          </p:cNvSpPr>
          <p:nvPr>
            <p:ph type="body" idx="1"/>
          </p:nvPr>
        </p:nvSpPr>
        <p:spPr>
          <a:ln/>
        </p:spPr>
        <p:txBody>
          <a:bodyPr/>
          <a:lstStyle/>
          <a:p>
            <a:pPr>
              <a:defRPr/>
            </a:pPr>
            <a:endParaRPr lang="th-TH" dirty="0" smtClean="0"/>
          </a:p>
        </p:txBody>
      </p:sp>
      <p:sp>
        <p:nvSpPr>
          <p:cNvPr id="53252" name="Slide Number Placeholder 3"/>
          <p:cNvSpPr>
            <a:spLocks noGrp="1"/>
          </p:cNvSpPr>
          <p:nvPr>
            <p:ph type="sldNum" sz="quarter" idx="5"/>
          </p:nvPr>
        </p:nvSpPr>
        <p:spPr/>
        <p:txBody>
          <a:bodyPr/>
          <a:lstStyle/>
          <a:p>
            <a:pPr>
              <a:defRPr/>
            </a:pPr>
            <a:fld id="{15982724-BC59-4BF1-9FB8-BF12A7BD1CE3}" type="slidenum">
              <a:rPr lang="en-US" smtClean="0">
                <a:solidFill>
                  <a:prstClr val="black"/>
                </a:solidFill>
              </a:rPr>
              <a:pPr>
                <a:defRPr/>
              </a:pPr>
              <a:t>38</a:t>
            </a:fld>
            <a:endParaRPr lang="en-US" smtClean="0">
              <a:solidFill>
                <a:prstClr val="black"/>
              </a:solidFill>
            </a:endParaRPr>
          </a:p>
        </p:txBody>
      </p:sp>
    </p:spTree>
    <p:extLst>
      <p:ext uri="{BB962C8B-B14F-4D97-AF65-F5344CB8AC3E}">
        <p14:creationId xmlns:p14="http://schemas.microsoft.com/office/powerpoint/2010/main" val="32683438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Rectangle 7"/>
          <p:cNvSpPr>
            <a:spLocks noGrp="1" noChangeArrowheads="1"/>
          </p:cNvSpPr>
          <p:nvPr>
            <p:ph type="sldNum" sz="quarter" idx="5"/>
          </p:nvPr>
        </p:nvSpPr>
        <p:spPr>
          <a:noFill/>
        </p:spPr>
        <p:txBody>
          <a:bodyPr/>
          <a:lstStyle/>
          <a:p>
            <a:fld id="{AD8DD731-3373-4C9E-9E98-28CB9C91A04D}" type="slidenum">
              <a:rPr lang="en-US" smtClean="0">
                <a:solidFill>
                  <a:srgbClr val="000000"/>
                </a:solidFill>
              </a:rPr>
              <a:pPr/>
              <a:t>39</a:t>
            </a:fld>
            <a:endParaRPr lang="en-US" smtClean="0">
              <a:solidFill>
                <a:srgbClr val="000000"/>
              </a:solidFill>
            </a:endParaRPr>
          </a:p>
        </p:txBody>
      </p:sp>
      <p:sp>
        <p:nvSpPr>
          <p:cNvPr id="129027" name="Rectangle 2"/>
          <p:cNvSpPr>
            <a:spLocks noGrp="1" noRot="1" noChangeAspect="1" noChangeArrowheads="1" noTextEdit="1"/>
          </p:cNvSpPr>
          <p:nvPr>
            <p:ph type="sldImg"/>
          </p:nvPr>
        </p:nvSpPr>
        <p:spPr>
          <a:ln/>
        </p:spPr>
      </p:sp>
      <p:sp>
        <p:nvSpPr>
          <p:cNvPr id="129028" name="Rectangle 3"/>
          <p:cNvSpPr>
            <a:spLocks noGrp="1" noChangeArrowheads="1"/>
          </p:cNvSpPr>
          <p:nvPr>
            <p:ph type="body" idx="1"/>
          </p:nvPr>
        </p:nvSpPr>
        <p:spPr>
          <a:noFill/>
          <a:ln/>
        </p:spPr>
        <p:txBody>
          <a:bodyPr/>
          <a:lstStyle/>
          <a:p>
            <a:pPr eaLnBrk="1" hangingPunct="1"/>
            <a:endParaRPr lang="th-TH" smtClean="0">
              <a:latin typeface="Arial" pitchFamily="34" charset="0"/>
            </a:endParaRPr>
          </a:p>
        </p:txBody>
      </p:sp>
    </p:spTree>
    <p:extLst>
      <p:ext uri="{BB962C8B-B14F-4D97-AF65-F5344CB8AC3E}">
        <p14:creationId xmlns:p14="http://schemas.microsoft.com/office/powerpoint/2010/main" val="38923866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7"/>
          <p:cNvSpPr>
            <a:spLocks noGrp="1" noChangeArrowheads="1"/>
          </p:cNvSpPr>
          <p:nvPr>
            <p:ph type="sldNum" sz="quarter" idx="5"/>
          </p:nvPr>
        </p:nvSpPr>
        <p:spPr>
          <a:noFill/>
        </p:spPr>
        <p:txBody>
          <a:bodyPr/>
          <a:lstStyle/>
          <a:p>
            <a:fld id="{CA03442B-B175-4331-AB8B-6CDA4B9BA57A}" type="slidenum">
              <a:rPr lang="en-US" smtClean="0">
                <a:solidFill>
                  <a:srgbClr val="000000"/>
                </a:solidFill>
                <a:latin typeface="Arial" pitchFamily="34" charset="0"/>
              </a:rPr>
              <a:pPr/>
              <a:t>40</a:t>
            </a:fld>
            <a:endParaRPr lang="th-TH" smtClean="0">
              <a:solidFill>
                <a:srgbClr val="000000"/>
              </a:solidFill>
              <a:latin typeface="Arial" pitchFamily="34" charset="0"/>
            </a:endParaRPr>
          </a:p>
        </p:txBody>
      </p:sp>
      <p:sp>
        <p:nvSpPr>
          <p:cNvPr id="130051" name="Rectangle 7"/>
          <p:cNvSpPr txBox="1">
            <a:spLocks noGrp="1" noChangeArrowheads="1"/>
          </p:cNvSpPr>
          <p:nvPr/>
        </p:nvSpPr>
        <p:spPr bwMode="auto">
          <a:xfrm>
            <a:off x="3886041" y="9447848"/>
            <a:ext cx="2971962" cy="497842"/>
          </a:xfrm>
          <a:prstGeom prst="rect">
            <a:avLst/>
          </a:prstGeom>
          <a:noFill/>
          <a:ln w="9525">
            <a:noFill/>
            <a:miter lim="800000"/>
            <a:headEnd/>
            <a:tailEnd/>
          </a:ln>
        </p:spPr>
        <p:txBody>
          <a:bodyPr lIns="92816" tIns="46409" rIns="92816" bIns="46409" anchor="b"/>
          <a:lstStyle/>
          <a:p>
            <a:pPr algn="r" eaLnBrk="0" hangingPunct="0"/>
            <a:fld id="{2F8853E3-610C-412C-89DE-43A0E126599C}" type="slidenum">
              <a:rPr lang="en-US" sz="1800">
                <a:solidFill>
                  <a:srgbClr val="000000"/>
                </a:solidFill>
              </a:rPr>
              <a:pPr algn="r" eaLnBrk="0" hangingPunct="0"/>
              <a:t>40</a:t>
            </a:fld>
            <a:endParaRPr lang="en-US" sz="1800">
              <a:solidFill>
                <a:srgbClr val="000000"/>
              </a:solidFill>
            </a:endParaRPr>
          </a:p>
        </p:txBody>
      </p:sp>
      <p:sp>
        <p:nvSpPr>
          <p:cNvPr id="130052" name="Rectangle 2"/>
          <p:cNvSpPr>
            <a:spLocks noGrp="1" noRot="1" noChangeAspect="1" noChangeArrowheads="1" noTextEdit="1"/>
          </p:cNvSpPr>
          <p:nvPr>
            <p:ph type="sldImg"/>
          </p:nvPr>
        </p:nvSpPr>
        <p:spPr>
          <a:xfrm>
            <a:off x="954088" y="750888"/>
            <a:ext cx="4964112" cy="3722687"/>
          </a:xfrm>
          <a:ln/>
        </p:spPr>
      </p:sp>
      <p:sp>
        <p:nvSpPr>
          <p:cNvPr id="130053" name="Rectangle 3"/>
          <p:cNvSpPr>
            <a:spLocks noGrp="1" noChangeArrowheads="1"/>
          </p:cNvSpPr>
          <p:nvPr>
            <p:ph type="body" idx="1"/>
          </p:nvPr>
        </p:nvSpPr>
        <p:spPr>
          <a:xfrm>
            <a:off x="912461" y="4727106"/>
            <a:ext cx="5034700" cy="4472617"/>
          </a:xfrm>
          <a:noFill/>
          <a:ln/>
        </p:spPr>
        <p:txBody>
          <a:bodyPr lIns="92816" tIns="46409" rIns="92816" bIns="46409"/>
          <a:lstStyle/>
          <a:p>
            <a:endParaRPr lang="en-US" smtClean="0">
              <a:latin typeface="Arial" pitchFamily="34" charset="0"/>
              <a:cs typeface="Cordia New" pitchFamily="34" charset="-34"/>
            </a:endParaRPr>
          </a:p>
        </p:txBody>
      </p:sp>
    </p:spTree>
    <p:extLst>
      <p:ext uri="{BB962C8B-B14F-4D97-AF65-F5344CB8AC3E}">
        <p14:creationId xmlns:p14="http://schemas.microsoft.com/office/powerpoint/2010/main" val="32027399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a:spLocks noGrp="1" noChangeArrowheads="1"/>
          </p:cNvSpPr>
          <p:nvPr>
            <p:ph type="sldNum" sz="quarter" idx="5"/>
          </p:nvPr>
        </p:nvSpPr>
        <p:spPr>
          <a:noFill/>
        </p:spPr>
        <p:txBody>
          <a:bodyPr/>
          <a:lstStyle/>
          <a:p>
            <a:pPr defTabSz="923949"/>
            <a:fld id="{160CB185-4491-47D7-9861-066E33041300}" type="slidenum">
              <a:rPr lang="en-US" smtClean="0">
                <a:solidFill>
                  <a:prstClr val="black"/>
                </a:solidFill>
              </a:rPr>
              <a:pPr defTabSz="923949"/>
              <a:t>3</a:t>
            </a:fld>
            <a:endParaRPr lang="th-TH" smtClean="0">
              <a:solidFill>
                <a:prstClr val="black"/>
              </a:solidFill>
            </a:endParaRPr>
          </a:p>
        </p:txBody>
      </p:sp>
      <p:sp>
        <p:nvSpPr>
          <p:cNvPr id="75779" name="Rectangle 2"/>
          <p:cNvSpPr>
            <a:spLocks noGrp="1" noRot="1" noChangeAspect="1" noChangeArrowheads="1" noTextEdit="1"/>
          </p:cNvSpPr>
          <p:nvPr>
            <p:ph type="sldImg"/>
          </p:nvPr>
        </p:nvSpPr>
        <p:spPr>
          <a:xfrm>
            <a:off x="955675" y="750888"/>
            <a:ext cx="4962525" cy="3722687"/>
          </a:xfrm>
          <a:ln/>
        </p:spPr>
      </p:sp>
      <p:sp>
        <p:nvSpPr>
          <p:cNvPr id="75780" name="Rectangle 3"/>
          <p:cNvSpPr>
            <a:spLocks noGrp="1" noChangeArrowheads="1"/>
          </p:cNvSpPr>
          <p:nvPr>
            <p:ph type="body" idx="1"/>
          </p:nvPr>
        </p:nvSpPr>
        <p:spPr>
          <a:xfrm>
            <a:off x="914079" y="4727106"/>
            <a:ext cx="5031464" cy="4472616"/>
          </a:xfrm>
          <a:noFill/>
          <a:ln/>
        </p:spPr>
        <p:txBody>
          <a:bodyPr/>
          <a:lstStyle/>
          <a:p>
            <a:endParaRPr lang="en-US" smtClean="0">
              <a:latin typeface="Arial" pitchFamily="34" charset="0"/>
              <a:cs typeface="Cordia New" pitchFamily="34" charset="-34"/>
            </a:endParaRPr>
          </a:p>
        </p:txBody>
      </p:sp>
    </p:spTree>
    <p:extLst>
      <p:ext uri="{BB962C8B-B14F-4D97-AF65-F5344CB8AC3E}">
        <p14:creationId xmlns:p14="http://schemas.microsoft.com/office/powerpoint/2010/main" val="41356382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TextEdit="1"/>
          </p:cNvSpPr>
          <p:nvPr>
            <p:ph type="sldImg"/>
          </p:nvPr>
        </p:nvSpPr>
        <p:spPr>
          <a:ln/>
        </p:spPr>
      </p:sp>
      <p:sp>
        <p:nvSpPr>
          <p:cNvPr id="92163" name="Notes Placeholder 2"/>
          <p:cNvSpPr>
            <a:spLocks noGrp="1"/>
          </p:cNvSpPr>
          <p:nvPr>
            <p:ph type="body" idx="1"/>
          </p:nvPr>
        </p:nvSpPr>
        <p:spPr>
          <a:noFill/>
          <a:ln/>
        </p:spPr>
        <p:txBody>
          <a:bodyPr/>
          <a:lstStyle/>
          <a:p>
            <a:endParaRPr lang="en-US" smtClean="0">
              <a:latin typeface="Arial" pitchFamily="34" charset="0"/>
              <a:cs typeface="Cordia New" pitchFamily="34" charset="-34"/>
            </a:endParaRPr>
          </a:p>
        </p:txBody>
      </p:sp>
      <p:sp>
        <p:nvSpPr>
          <p:cNvPr id="92164" name="Slide Number Placeholder 3"/>
          <p:cNvSpPr>
            <a:spLocks noGrp="1"/>
          </p:cNvSpPr>
          <p:nvPr>
            <p:ph type="sldNum" sz="quarter" idx="5"/>
          </p:nvPr>
        </p:nvSpPr>
        <p:spPr>
          <a:noFill/>
        </p:spPr>
        <p:txBody>
          <a:bodyPr/>
          <a:lstStyle/>
          <a:p>
            <a:fld id="{73883EC5-23B7-4C93-95D5-3ACC62FA1776}" type="slidenum">
              <a:rPr lang="en-US" smtClean="0">
                <a:solidFill>
                  <a:srgbClr val="000000"/>
                </a:solidFill>
              </a:rPr>
              <a:pPr/>
              <a:t>4</a:t>
            </a:fld>
            <a:endParaRPr lang="en-US" smtClean="0">
              <a:solidFill>
                <a:srgbClr val="000000"/>
              </a:solidFill>
            </a:endParaRPr>
          </a:p>
        </p:txBody>
      </p:sp>
    </p:spTree>
    <p:extLst>
      <p:ext uri="{BB962C8B-B14F-4D97-AF65-F5344CB8AC3E}">
        <p14:creationId xmlns:p14="http://schemas.microsoft.com/office/powerpoint/2010/main" val="26514019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TextEdit="1"/>
          </p:cNvSpPr>
          <p:nvPr>
            <p:ph type="sldImg"/>
          </p:nvPr>
        </p:nvSpPr>
        <p:spPr>
          <a:ln/>
        </p:spPr>
      </p:sp>
      <p:sp>
        <p:nvSpPr>
          <p:cNvPr id="92163" name="Notes Placeholder 2"/>
          <p:cNvSpPr>
            <a:spLocks noGrp="1"/>
          </p:cNvSpPr>
          <p:nvPr>
            <p:ph type="body" idx="1"/>
          </p:nvPr>
        </p:nvSpPr>
        <p:spPr>
          <a:noFill/>
          <a:ln/>
        </p:spPr>
        <p:txBody>
          <a:bodyPr/>
          <a:lstStyle/>
          <a:p>
            <a:endParaRPr lang="en-US" dirty="0" smtClean="0">
              <a:latin typeface="Arial" pitchFamily="34" charset="0"/>
              <a:cs typeface="Cordia New" pitchFamily="34" charset="-34"/>
            </a:endParaRPr>
          </a:p>
        </p:txBody>
      </p:sp>
      <p:sp>
        <p:nvSpPr>
          <p:cNvPr id="92164" name="Slide Number Placeholder 3"/>
          <p:cNvSpPr>
            <a:spLocks noGrp="1"/>
          </p:cNvSpPr>
          <p:nvPr>
            <p:ph type="sldNum" sz="quarter" idx="5"/>
          </p:nvPr>
        </p:nvSpPr>
        <p:spPr>
          <a:noFill/>
        </p:spPr>
        <p:txBody>
          <a:bodyPr/>
          <a:lstStyle/>
          <a:p>
            <a:fld id="{73883EC5-23B7-4C93-95D5-3ACC62FA1776}" type="slidenum">
              <a:rPr lang="en-US" smtClean="0">
                <a:solidFill>
                  <a:srgbClr val="000000"/>
                </a:solidFill>
              </a:rPr>
              <a:pPr/>
              <a:t>5</a:t>
            </a:fld>
            <a:endParaRPr lang="en-US" dirty="0" smtClean="0">
              <a:solidFill>
                <a:srgbClr val="000000"/>
              </a:solidFill>
            </a:endParaRPr>
          </a:p>
        </p:txBody>
      </p:sp>
    </p:spTree>
    <p:extLst>
      <p:ext uri="{BB962C8B-B14F-4D97-AF65-F5344CB8AC3E}">
        <p14:creationId xmlns:p14="http://schemas.microsoft.com/office/powerpoint/2010/main" val="11912745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TextEdit="1"/>
          </p:cNvSpPr>
          <p:nvPr>
            <p:ph type="sldImg"/>
          </p:nvPr>
        </p:nvSpPr>
        <p:spPr>
          <a:ln/>
        </p:spPr>
      </p:sp>
      <p:sp>
        <p:nvSpPr>
          <p:cNvPr id="92163" name="Notes Placeholder 2"/>
          <p:cNvSpPr>
            <a:spLocks noGrp="1"/>
          </p:cNvSpPr>
          <p:nvPr>
            <p:ph type="body" idx="1"/>
          </p:nvPr>
        </p:nvSpPr>
        <p:spPr>
          <a:noFill/>
          <a:ln/>
        </p:spPr>
        <p:txBody>
          <a:bodyPr/>
          <a:lstStyle/>
          <a:p>
            <a:endParaRPr lang="en-US" dirty="0" smtClean="0">
              <a:latin typeface="Arial" pitchFamily="34" charset="0"/>
              <a:cs typeface="Cordia New" pitchFamily="34" charset="-34"/>
            </a:endParaRPr>
          </a:p>
        </p:txBody>
      </p:sp>
      <p:sp>
        <p:nvSpPr>
          <p:cNvPr id="92164" name="Slide Number Placeholder 3"/>
          <p:cNvSpPr>
            <a:spLocks noGrp="1"/>
          </p:cNvSpPr>
          <p:nvPr>
            <p:ph type="sldNum" sz="quarter" idx="5"/>
          </p:nvPr>
        </p:nvSpPr>
        <p:spPr>
          <a:noFill/>
        </p:spPr>
        <p:txBody>
          <a:bodyPr/>
          <a:lstStyle/>
          <a:p>
            <a:fld id="{73883EC5-23B7-4C93-95D5-3ACC62FA1776}" type="slidenum">
              <a:rPr lang="en-US" smtClean="0">
                <a:solidFill>
                  <a:srgbClr val="000000"/>
                </a:solidFill>
              </a:rPr>
              <a:pPr/>
              <a:t>6</a:t>
            </a:fld>
            <a:endParaRPr lang="en-US" dirty="0" smtClean="0">
              <a:solidFill>
                <a:srgbClr val="000000"/>
              </a:solidFill>
            </a:endParaRPr>
          </a:p>
        </p:txBody>
      </p:sp>
    </p:spTree>
    <p:extLst>
      <p:ext uri="{BB962C8B-B14F-4D97-AF65-F5344CB8AC3E}">
        <p14:creationId xmlns:p14="http://schemas.microsoft.com/office/powerpoint/2010/main" val="9093575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p:cNvSpPr>
            <a:spLocks noGrp="1" noRot="1" noChangeAspect="1" noTextEdit="1"/>
          </p:cNvSpPr>
          <p:nvPr>
            <p:ph type="sldImg"/>
          </p:nvPr>
        </p:nvSpPr>
        <p:spPr>
          <a:ln/>
        </p:spPr>
      </p:sp>
      <p:sp>
        <p:nvSpPr>
          <p:cNvPr id="79875" name="Notes Placeholder 2"/>
          <p:cNvSpPr>
            <a:spLocks noGrp="1"/>
          </p:cNvSpPr>
          <p:nvPr>
            <p:ph type="body" idx="1"/>
          </p:nvPr>
        </p:nvSpPr>
        <p:spPr>
          <a:noFill/>
          <a:ln/>
        </p:spPr>
        <p:txBody>
          <a:bodyPr/>
          <a:lstStyle/>
          <a:p>
            <a:endParaRPr lang="th-TH" smtClean="0">
              <a:latin typeface="Arial" pitchFamily="34" charset="0"/>
            </a:endParaRPr>
          </a:p>
        </p:txBody>
      </p:sp>
      <p:sp>
        <p:nvSpPr>
          <p:cNvPr id="48132" name="Slide Number Placeholder 3"/>
          <p:cNvSpPr>
            <a:spLocks noGrp="1"/>
          </p:cNvSpPr>
          <p:nvPr>
            <p:ph type="sldNum" sz="quarter" idx="5"/>
          </p:nvPr>
        </p:nvSpPr>
        <p:spPr/>
        <p:txBody>
          <a:bodyPr/>
          <a:lstStyle/>
          <a:p>
            <a:pPr defTabSz="938461">
              <a:defRPr/>
            </a:pPr>
            <a:fld id="{786D24A9-A478-4189-89AC-72B0EB2A5D76}" type="slidenum">
              <a:rPr lang="en-US">
                <a:solidFill>
                  <a:srgbClr val="FFFF00"/>
                </a:solidFill>
                <a:latin typeface="AngsanaUPC" pitchFamily="18" charset="-34"/>
              </a:rPr>
              <a:pPr defTabSz="938461">
                <a:defRPr/>
              </a:pPr>
              <a:t>7</a:t>
            </a:fld>
            <a:endParaRPr lang="en-US">
              <a:solidFill>
                <a:srgbClr val="FFFF00"/>
              </a:solidFill>
              <a:latin typeface="AngsanaUPC" pitchFamily="18" charset="-34"/>
            </a:endParaRPr>
          </a:p>
        </p:txBody>
      </p:sp>
    </p:spTree>
    <p:extLst>
      <p:ext uri="{BB962C8B-B14F-4D97-AF65-F5344CB8AC3E}">
        <p14:creationId xmlns:p14="http://schemas.microsoft.com/office/powerpoint/2010/main" val="14447357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p:cNvSpPr>
            <a:spLocks noGrp="1" noRot="1" noChangeAspect="1" noTextEdit="1"/>
          </p:cNvSpPr>
          <p:nvPr>
            <p:ph type="sldImg"/>
          </p:nvPr>
        </p:nvSpPr>
        <p:spPr>
          <a:ln/>
        </p:spPr>
      </p:sp>
      <p:sp>
        <p:nvSpPr>
          <p:cNvPr id="79875" name="Notes Placeholder 2"/>
          <p:cNvSpPr>
            <a:spLocks noGrp="1"/>
          </p:cNvSpPr>
          <p:nvPr>
            <p:ph type="body" idx="1"/>
          </p:nvPr>
        </p:nvSpPr>
        <p:spPr>
          <a:noFill/>
          <a:ln/>
        </p:spPr>
        <p:txBody>
          <a:bodyPr/>
          <a:lstStyle/>
          <a:p>
            <a:endParaRPr lang="th-TH" smtClean="0">
              <a:latin typeface="Arial" pitchFamily="34" charset="0"/>
            </a:endParaRPr>
          </a:p>
        </p:txBody>
      </p:sp>
      <p:sp>
        <p:nvSpPr>
          <p:cNvPr id="48132" name="Slide Number Placeholder 3"/>
          <p:cNvSpPr>
            <a:spLocks noGrp="1"/>
          </p:cNvSpPr>
          <p:nvPr>
            <p:ph type="sldNum" sz="quarter" idx="5"/>
          </p:nvPr>
        </p:nvSpPr>
        <p:spPr/>
        <p:txBody>
          <a:bodyPr/>
          <a:lstStyle/>
          <a:p>
            <a:pPr defTabSz="938461">
              <a:defRPr/>
            </a:pPr>
            <a:fld id="{786D24A9-A478-4189-89AC-72B0EB2A5D76}" type="slidenum">
              <a:rPr lang="en-US">
                <a:solidFill>
                  <a:srgbClr val="FFFF00"/>
                </a:solidFill>
                <a:latin typeface="AngsanaUPC" pitchFamily="18" charset="-34"/>
              </a:rPr>
              <a:pPr defTabSz="938461">
                <a:defRPr/>
              </a:pPr>
              <a:t>8</a:t>
            </a:fld>
            <a:endParaRPr lang="en-US">
              <a:solidFill>
                <a:srgbClr val="FFFF00"/>
              </a:solidFill>
              <a:latin typeface="AngsanaUPC" pitchFamily="18" charset="-34"/>
            </a:endParaRPr>
          </a:p>
        </p:txBody>
      </p:sp>
    </p:spTree>
    <p:extLst>
      <p:ext uri="{BB962C8B-B14F-4D97-AF65-F5344CB8AC3E}">
        <p14:creationId xmlns:p14="http://schemas.microsoft.com/office/powerpoint/2010/main" val="3616250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a:spLocks noGrp="1" noChangeArrowheads="1"/>
          </p:cNvSpPr>
          <p:nvPr>
            <p:ph type="sldNum" sz="quarter" idx="5"/>
          </p:nvPr>
        </p:nvSpPr>
        <p:spPr>
          <a:noFill/>
        </p:spPr>
        <p:txBody>
          <a:bodyPr/>
          <a:lstStyle/>
          <a:p>
            <a:fld id="{54E6D9C3-A21C-4DB2-93AD-1CA485A68722}" type="slidenum">
              <a:rPr lang="en-US" smtClean="0">
                <a:solidFill>
                  <a:prstClr val="black"/>
                </a:solidFill>
              </a:rPr>
              <a:pPr/>
              <a:t>9</a:t>
            </a:fld>
            <a:endParaRPr lang="th-TH" smtClean="0">
              <a:solidFill>
                <a:prstClr val="black"/>
              </a:solidFill>
            </a:endParaRPr>
          </a:p>
        </p:txBody>
      </p:sp>
      <p:sp>
        <p:nvSpPr>
          <p:cNvPr id="81923" name="Rectangle 2"/>
          <p:cNvSpPr>
            <a:spLocks noGrp="1" noRot="1" noChangeAspect="1" noChangeArrowheads="1" noTextEdit="1"/>
          </p:cNvSpPr>
          <p:nvPr>
            <p:ph type="sldImg"/>
          </p:nvPr>
        </p:nvSpPr>
        <p:spPr>
          <a:xfrm>
            <a:off x="1252538" y="700088"/>
            <a:ext cx="4662487" cy="3497262"/>
          </a:xfrm>
          <a:ln/>
        </p:spPr>
      </p:sp>
      <p:sp>
        <p:nvSpPr>
          <p:cNvPr id="81924" name="Rectangle 3"/>
          <p:cNvSpPr>
            <a:spLocks noGrp="1" noChangeArrowheads="1"/>
          </p:cNvSpPr>
          <p:nvPr>
            <p:ph type="body" idx="1"/>
          </p:nvPr>
        </p:nvSpPr>
        <p:spPr>
          <a:xfrm>
            <a:off x="715900" y="4433030"/>
            <a:ext cx="5725502" cy="4194375"/>
          </a:xfrm>
          <a:noFill/>
          <a:ln/>
        </p:spPr>
        <p:txBody>
          <a:bodyPr/>
          <a:lstStyle/>
          <a:p>
            <a:endParaRPr lang="en-US" smtClean="0">
              <a:latin typeface="Arial" pitchFamily="34" charset="0"/>
              <a:cs typeface="Cordia New" pitchFamily="34" charset="-34"/>
            </a:endParaRPr>
          </a:p>
        </p:txBody>
      </p:sp>
    </p:spTree>
    <p:extLst>
      <p:ext uri="{BB962C8B-B14F-4D97-AF65-F5344CB8AC3E}">
        <p14:creationId xmlns:p14="http://schemas.microsoft.com/office/powerpoint/2010/main" val="31264363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3.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h-TH"/>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h-TH"/>
          </a:p>
        </p:txBody>
      </p:sp>
      <p:sp>
        <p:nvSpPr>
          <p:cNvPr id="4" name="Rectangle 4"/>
          <p:cNvSpPr>
            <a:spLocks noGrp="1" noChangeArrowheads="1"/>
          </p:cNvSpPr>
          <p:nvPr>
            <p:ph type="dt" sz="half" idx="10"/>
          </p:nvPr>
        </p:nvSpPr>
        <p:spPr/>
        <p:txBody>
          <a:bodyPr/>
          <a:lstStyle>
            <a:lvl1pPr>
              <a:defRPr sz="2600"/>
            </a:lvl1pPr>
          </a:lstStyle>
          <a:p>
            <a:pPr>
              <a:defRPr/>
            </a:pPr>
            <a:endParaRPr lang="en-US"/>
          </a:p>
        </p:txBody>
      </p:sp>
      <p:sp>
        <p:nvSpPr>
          <p:cNvPr id="5" name="Rectangle 5"/>
          <p:cNvSpPr>
            <a:spLocks noGrp="1" noChangeArrowheads="1"/>
          </p:cNvSpPr>
          <p:nvPr>
            <p:ph type="ftr" sz="quarter" idx="11"/>
          </p:nvPr>
        </p:nvSpPr>
        <p:spPr/>
        <p:txBody>
          <a:bodyPr/>
          <a:lstStyle>
            <a:lvl1pPr>
              <a:defRPr sz="2600"/>
            </a:lvl1pPr>
          </a:lstStyle>
          <a:p>
            <a:pPr>
              <a:defRPr/>
            </a:pPr>
            <a:endParaRPr lang="en-US"/>
          </a:p>
        </p:txBody>
      </p:sp>
      <p:sp>
        <p:nvSpPr>
          <p:cNvPr id="6" name="Rectangle 6"/>
          <p:cNvSpPr>
            <a:spLocks noGrp="1" noChangeArrowheads="1"/>
          </p:cNvSpPr>
          <p:nvPr>
            <p:ph type="sldNum" sz="quarter" idx="12"/>
          </p:nvPr>
        </p:nvSpPr>
        <p:spPr/>
        <p:txBody>
          <a:bodyPr/>
          <a:lstStyle>
            <a:lvl1pPr>
              <a:defRPr sz="2400" i="1">
                <a:solidFill>
                  <a:schemeClr val="bg1"/>
                </a:solidFill>
                <a:effectDag name="">
                  <a:cont type="tree" name="">
                    <a:effect ref="fillLine"/>
                    <a:outerShdw dist="38100" dir="13500000" algn="br">
                      <a:srgbClr val="FF92E9"/>
                    </a:outerShdw>
                  </a:cont>
                  <a:cont type="tree" name="">
                    <a:effect ref="fillLine"/>
                    <a:outerShdw dist="38100" dir="2700000" algn="tl">
                      <a:srgbClr val="6A255C"/>
                    </a:outerShdw>
                  </a:cont>
                  <a:effect ref="fillLine"/>
                </a:effectDag>
                <a:latin typeface="BrowalliaUPC" pitchFamily="34" charset="-34"/>
              </a:defRPr>
            </a:lvl1pPr>
          </a:lstStyle>
          <a:p>
            <a:pPr>
              <a:defRPr/>
            </a:pPr>
            <a:fld id="{A7AFCC2A-1341-444A-81AF-6B85692A4536}" type="slidenum">
              <a:rPr lang="en-US">
                <a:solidFill>
                  <a:srgbClr val="B13F9A"/>
                </a:solidFill>
              </a:rPr>
              <a:pPr>
                <a:defRPr/>
              </a:pPr>
              <a:t>‹#›</a:t>
            </a:fld>
            <a:endParaRPr lang="th-TH">
              <a:solidFill>
                <a:srgbClr val="B13F9A"/>
              </a:solidFill>
            </a:endParaRPr>
          </a:p>
        </p:txBody>
      </p:sp>
    </p:spTree>
    <p:extLst>
      <p:ext uri="{BB962C8B-B14F-4D97-AF65-F5344CB8AC3E}">
        <p14:creationId xmlns:p14="http://schemas.microsoft.com/office/powerpoint/2010/main" val="31322897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43725" y="404813"/>
            <a:ext cx="2124075" cy="5386387"/>
          </a:xfrm>
        </p:spPr>
        <p:txBody>
          <a:bodyPr vert="eaVert"/>
          <a:lstStyle/>
          <a:p>
            <a:r>
              <a:rPr lang="en-US" smtClean="0"/>
              <a:t>Click to edit Master title style</a:t>
            </a:r>
            <a:endParaRPr lang="th-TH"/>
          </a:p>
        </p:txBody>
      </p:sp>
      <p:sp>
        <p:nvSpPr>
          <p:cNvPr id="3" name="Vertical Text Placeholder 2"/>
          <p:cNvSpPr>
            <a:spLocks noGrp="1"/>
          </p:cNvSpPr>
          <p:nvPr>
            <p:ph type="body" orient="vert" idx="1"/>
          </p:nvPr>
        </p:nvSpPr>
        <p:spPr>
          <a:xfrm>
            <a:off x="569913" y="404813"/>
            <a:ext cx="6221412" cy="53863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h-TH"/>
          </a:p>
        </p:txBody>
      </p:sp>
      <p:sp>
        <p:nvSpPr>
          <p:cNvPr id="4" name="Rectangle 4"/>
          <p:cNvSpPr>
            <a:spLocks noGrp="1" noChangeArrowheads="1"/>
          </p:cNvSpPr>
          <p:nvPr>
            <p:ph type="dt" sz="half" idx="10"/>
          </p:nvPr>
        </p:nvSpPr>
        <p:spPr/>
        <p:txBody>
          <a:bodyPr/>
          <a:lstStyle>
            <a:lvl1pPr>
              <a:defRPr sz="2600"/>
            </a:lvl1pPr>
          </a:lstStyle>
          <a:p>
            <a:pPr>
              <a:defRPr/>
            </a:pPr>
            <a:endParaRPr lang="en-US"/>
          </a:p>
        </p:txBody>
      </p:sp>
      <p:sp>
        <p:nvSpPr>
          <p:cNvPr id="5" name="Rectangle 5"/>
          <p:cNvSpPr>
            <a:spLocks noGrp="1" noChangeArrowheads="1"/>
          </p:cNvSpPr>
          <p:nvPr>
            <p:ph type="ftr" sz="quarter" idx="11"/>
          </p:nvPr>
        </p:nvSpPr>
        <p:spPr/>
        <p:txBody>
          <a:bodyPr/>
          <a:lstStyle>
            <a:lvl1pPr>
              <a:defRPr sz="2600"/>
            </a:lvl1pPr>
          </a:lstStyle>
          <a:p>
            <a:pPr>
              <a:defRPr/>
            </a:pPr>
            <a:endParaRPr lang="en-US"/>
          </a:p>
        </p:txBody>
      </p:sp>
      <p:sp>
        <p:nvSpPr>
          <p:cNvPr id="6" name="Rectangle 6"/>
          <p:cNvSpPr>
            <a:spLocks noGrp="1" noChangeArrowheads="1"/>
          </p:cNvSpPr>
          <p:nvPr>
            <p:ph type="sldNum" sz="quarter" idx="12"/>
          </p:nvPr>
        </p:nvSpPr>
        <p:spPr/>
        <p:txBody>
          <a:bodyPr/>
          <a:lstStyle>
            <a:lvl1pPr>
              <a:defRPr sz="2400" i="1">
                <a:solidFill>
                  <a:schemeClr val="bg1"/>
                </a:solidFill>
                <a:effectDag name="">
                  <a:cont type="tree" name="">
                    <a:effect ref="fillLine"/>
                    <a:outerShdw dist="38100" dir="13500000" algn="br">
                      <a:srgbClr val="FF92E9"/>
                    </a:outerShdw>
                  </a:cont>
                  <a:cont type="tree" name="">
                    <a:effect ref="fillLine"/>
                    <a:outerShdw dist="38100" dir="2700000" algn="tl">
                      <a:srgbClr val="6A255C"/>
                    </a:outerShdw>
                  </a:cont>
                  <a:effect ref="fillLine"/>
                </a:effectDag>
                <a:latin typeface="BrowalliaUPC" pitchFamily="34" charset="-34"/>
              </a:defRPr>
            </a:lvl1pPr>
          </a:lstStyle>
          <a:p>
            <a:pPr>
              <a:defRPr/>
            </a:pPr>
            <a:fld id="{155AE892-6983-4FF8-8F93-9139F8D4F016}" type="slidenum">
              <a:rPr lang="en-US">
                <a:solidFill>
                  <a:srgbClr val="B13F9A"/>
                </a:solidFill>
              </a:rPr>
              <a:pPr>
                <a:defRPr/>
              </a:pPr>
              <a:t>‹#›</a:t>
            </a:fld>
            <a:endParaRPr lang="th-TH">
              <a:solidFill>
                <a:srgbClr val="B13F9A"/>
              </a:solidFill>
            </a:endParaRPr>
          </a:p>
        </p:txBody>
      </p:sp>
    </p:spTree>
    <p:extLst>
      <p:ext uri="{BB962C8B-B14F-4D97-AF65-F5344CB8AC3E}">
        <p14:creationId xmlns:p14="http://schemas.microsoft.com/office/powerpoint/2010/main" val="250904562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705985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0921763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19232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971550" y="404813"/>
            <a:ext cx="7754938" cy="606425"/>
          </a:xfrm>
        </p:spPr>
        <p:txBody>
          <a:bodyPr/>
          <a:lstStyle/>
          <a:p>
            <a:r>
              <a:rPr lang="en-US" smtClean="0"/>
              <a:t>Click to edit Master title style</a:t>
            </a:r>
            <a:endParaRPr lang="th-TH"/>
          </a:p>
        </p:txBody>
      </p:sp>
      <p:sp>
        <p:nvSpPr>
          <p:cNvPr id="3" name="SmartArt Placeholder 2"/>
          <p:cNvSpPr>
            <a:spLocks noGrp="1"/>
          </p:cNvSpPr>
          <p:nvPr>
            <p:ph type="dgm" idx="1"/>
          </p:nvPr>
        </p:nvSpPr>
        <p:spPr>
          <a:xfrm>
            <a:off x="569913" y="1676400"/>
            <a:ext cx="8497887" cy="4114800"/>
          </a:xfrm>
        </p:spPr>
        <p:txBody>
          <a:bodyPr/>
          <a:lstStyle/>
          <a:p>
            <a:pPr lvl="0"/>
            <a:r>
              <a:rPr lang="en-US" noProof="0" smtClean="0"/>
              <a:t>Click icon to add SmartArt graphic</a:t>
            </a:r>
            <a:endParaRPr lang="th-TH"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1D836AEB-4F0F-4E95-8D54-5EA79FF18420}" type="slidenum">
              <a:rPr lang="en-US"/>
              <a:pPr>
                <a:defRPr/>
              </a:pPr>
              <a:t>‹#›</a:t>
            </a:fld>
            <a:endParaRPr lang="th-TH" sz="1800"/>
          </a:p>
        </p:txBody>
      </p:sp>
    </p:spTree>
    <p:extLst>
      <p:ext uri="{BB962C8B-B14F-4D97-AF65-F5344CB8AC3E}">
        <p14:creationId xmlns:p14="http://schemas.microsoft.com/office/powerpoint/2010/main" val="511586241"/>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Header">
    <p:spTree>
      <p:nvGrpSpPr>
        <p:cNvPr id="1" name=""/>
        <p:cNvGrpSpPr/>
        <p:nvPr/>
      </p:nvGrpSpPr>
      <p:grpSpPr>
        <a:xfrm>
          <a:off x="0" y="0"/>
          <a:ext cx="0" cy="0"/>
          <a:chOff x="0" y="0"/>
          <a:chExt cx="0" cy="0"/>
        </a:xfrm>
      </p:grpSpPr>
      <p:sp>
        <p:nvSpPr>
          <p:cNvPr id="13" name="Rectangle 12"/>
          <p:cNvSpPr/>
          <p:nvPr/>
        </p:nvSpPr>
        <p:spPr>
          <a:xfrm>
            <a:off x="533399" y="6239849"/>
            <a:ext cx="8251825" cy="437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th-TH" b="0">
              <a:solidFill>
                <a:prstClr val="white"/>
              </a:solidFill>
            </a:endParaRPr>
          </a:p>
        </p:txBody>
      </p:sp>
      <p:sp>
        <p:nvSpPr>
          <p:cNvPr id="4" name="Slide Number Placeholder 5"/>
          <p:cNvSpPr>
            <a:spLocks noGrp="1"/>
          </p:cNvSpPr>
          <p:nvPr>
            <p:ph type="sldNum" sz="quarter" idx="4"/>
          </p:nvPr>
        </p:nvSpPr>
        <p:spPr>
          <a:xfrm>
            <a:off x="8787337" y="4581128"/>
            <a:ext cx="430893" cy="365125"/>
          </a:xfrm>
          <a:prstGeom prst="rect">
            <a:avLst/>
          </a:prstGeom>
        </p:spPr>
        <p:txBody>
          <a:bodyPr vert="horz" lIns="91440" tIns="45720" rIns="91440" bIns="45720" rtlCol="0" anchor="ctr"/>
          <a:lstStyle>
            <a:lvl1pPr algn="r">
              <a:defRPr sz="1600">
                <a:solidFill>
                  <a:schemeClr val="tx1">
                    <a:tint val="75000"/>
                  </a:schemeClr>
                </a:solidFill>
                <a:latin typeface="AngsanaUPC" panose="02020603050405020304" pitchFamily="18" charset="-34"/>
                <a:cs typeface="AngsanaUPC" panose="02020603050405020304" pitchFamily="18" charset="-34"/>
              </a:defRPr>
            </a:lvl1pPr>
          </a:lstStyle>
          <a:p>
            <a:pPr>
              <a:defRPr/>
            </a:pPr>
            <a:fld id="{9DA99F2A-1CA3-4175-8486-CAD88CF786FA}" type="slidenum">
              <a:rPr lang="en-US" smtClean="0"/>
              <a:pPr>
                <a:defRPr/>
              </a:pPr>
              <a:t>‹#›</a:t>
            </a:fld>
            <a:endParaRPr lang="en-US"/>
          </a:p>
        </p:txBody>
      </p:sp>
    </p:spTree>
    <p:extLst>
      <p:ext uri="{BB962C8B-B14F-4D97-AF65-F5344CB8AC3E}">
        <p14:creationId xmlns:p14="http://schemas.microsoft.com/office/powerpoint/2010/main" val="4180830919"/>
      </p:ext>
    </p:extLst>
  </p:cSld>
  <p:clrMapOvr>
    <a:masterClrMapping/>
  </p:clrMapOvr>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a:defRPr/>
            </a:pPr>
            <a:fld id="{9DA99F2A-1CA3-4175-8486-CAD88CF786FA}" type="slidenum">
              <a:rPr lang="en-US" smtClean="0"/>
              <a:pPr>
                <a:defRPr/>
              </a:pPr>
              <a:t>‹#›</a:t>
            </a:fld>
            <a:endParaRPr lang="en-US"/>
          </a:p>
        </p:txBody>
      </p:sp>
    </p:spTree>
    <p:extLst>
      <p:ext uri="{BB962C8B-B14F-4D97-AF65-F5344CB8AC3E}">
        <p14:creationId xmlns:p14="http://schemas.microsoft.com/office/powerpoint/2010/main" val="3144275834"/>
      </p:ext>
    </p:extLst>
  </p:cSld>
  <p:clrMapOvr>
    <a:masterClrMapping/>
  </p:clrMapOvr>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a:defRPr/>
            </a:pPr>
            <a:fld id="{9DA99F2A-1CA3-4175-8486-CAD88CF786FA}" type="slidenum">
              <a:rPr lang="en-US" smtClean="0"/>
              <a:pPr>
                <a:defRPr/>
              </a:pPr>
              <a:t>‹#›</a:t>
            </a:fld>
            <a:endParaRPr lang="en-US"/>
          </a:p>
        </p:txBody>
      </p:sp>
    </p:spTree>
    <p:extLst>
      <p:ext uri="{BB962C8B-B14F-4D97-AF65-F5344CB8AC3E}">
        <p14:creationId xmlns:p14="http://schemas.microsoft.com/office/powerpoint/2010/main" val="3142124575"/>
      </p:ext>
    </p:extLst>
  </p:cSld>
  <p:clrMapOvr>
    <a:masterClrMapping/>
  </p:clrMapOvr>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pPr>
              <a:defRPr/>
            </a:pPr>
            <a:fld id="{9DA99F2A-1CA3-4175-8486-CAD88CF786FA}" type="slidenum">
              <a:rPr lang="en-US" smtClean="0"/>
              <a:pPr>
                <a:defRPr/>
              </a:pPr>
              <a:t>‹#›</a:t>
            </a:fld>
            <a:endParaRPr lang="en-US"/>
          </a:p>
        </p:txBody>
      </p:sp>
    </p:spTree>
    <p:extLst>
      <p:ext uri="{BB962C8B-B14F-4D97-AF65-F5344CB8AC3E}">
        <p14:creationId xmlns:p14="http://schemas.microsoft.com/office/powerpoint/2010/main" val="449280275"/>
      </p:ext>
    </p:extLst>
  </p:cSld>
  <p:clrMapOvr>
    <a:masterClrMapping/>
  </p:clrMapOvr>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9DA99F2A-1CA3-4175-8486-CAD88CF786FA}" type="slidenum">
              <a:rPr lang="en-US" smtClean="0"/>
              <a:pPr>
                <a:defRPr/>
              </a:pPr>
              <a:t>‹#›</a:t>
            </a:fld>
            <a:endParaRPr lang="en-US"/>
          </a:p>
        </p:txBody>
      </p:sp>
      <p:cxnSp>
        <p:nvCxnSpPr>
          <p:cNvPr id="8" name="Straight Connector 7"/>
          <p:cNvCxnSpPr/>
          <p:nvPr/>
        </p:nvCxnSpPr>
        <p:spPr>
          <a:xfrm flipH="1">
            <a:off x="755575" y="296863"/>
            <a:ext cx="1" cy="558543"/>
          </a:xfrm>
          <a:prstGeom prst="line">
            <a:avLst/>
          </a:prstGeom>
          <a:ln w="19050">
            <a:solidFill>
              <a:srgbClr val="FF461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0" y="6019800"/>
            <a:ext cx="9144000" cy="838200"/>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th-TH" sz="2400">
              <a:solidFill>
                <a:prstClr val="black"/>
              </a:solidFill>
            </a:endParaRPr>
          </a:p>
        </p:txBody>
      </p:sp>
      <p:sp>
        <p:nvSpPr>
          <p:cNvPr id="4" name="Rectangle 3"/>
          <p:cNvSpPr/>
          <p:nvPr/>
        </p:nvSpPr>
        <p:spPr>
          <a:xfrm>
            <a:off x="0" y="0"/>
            <a:ext cx="8915400" cy="990600"/>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th-TH" sz="2400">
              <a:solidFill>
                <a:prstClr val="black"/>
              </a:solidFill>
            </a:endParaRPr>
          </a:p>
        </p:txBody>
      </p:sp>
    </p:spTree>
    <p:extLst>
      <p:ext uri="{BB962C8B-B14F-4D97-AF65-F5344CB8AC3E}">
        <p14:creationId xmlns:p14="http://schemas.microsoft.com/office/powerpoint/2010/main" val="2368919904"/>
      </p:ext>
    </p:extLst>
  </p:cSld>
  <p:clrMapOvr>
    <a:masterClrMapping/>
  </p:clrMapOvr>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56D83A46-A5C8-4ADC-A7FC-C178C7711462}" type="slidenum">
              <a:rPr lang="en-US" smtClean="0"/>
              <a:pPr>
                <a:defRPr/>
              </a:pPr>
              <a:t>‹#›</a:t>
            </a:fld>
            <a:endParaRPr lang="en-US"/>
          </a:p>
        </p:txBody>
      </p:sp>
      <p:sp>
        <p:nvSpPr>
          <p:cNvPr id="8" name="Rectangle 7"/>
          <p:cNvSpPr/>
          <p:nvPr/>
        </p:nvSpPr>
        <p:spPr>
          <a:xfrm>
            <a:off x="0" y="6019800"/>
            <a:ext cx="9144000" cy="838200"/>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th-TH" sz="2400">
              <a:solidFill>
                <a:prstClr val="black"/>
              </a:solidFill>
            </a:endParaRPr>
          </a:p>
        </p:txBody>
      </p:sp>
    </p:spTree>
    <p:extLst>
      <p:ext uri="{BB962C8B-B14F-4D97-AF65-F5344CB8AC3E}">
        <p14:creationId xmlns:p14="http://schemas.microsoft.com/office/powerpoint/2010/main" val="229549197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a:defRPr/>
            </a:pPr>
            <a:fld id="{9DA99F2A-1CA3-4175-8486-CAD88CF786FA}" type="slidenum">
              <a:rPr lang="en-US" smtClean="0"/>
              <a:pPr>
                <a:defRPr/>
              </a:pPr>
              <a:t>‹#›</a:t>
            </a:fld>
            <a:endParaRPr lang="en-US"/>
          </a:p>
        </p:txBody>
      </p:sp>
      <p:sp>
        <p:nvSpPr>
          <p:cNvPr id="11" name="Rectangle 10"/>
          <p:cNvSpPr/>
          <p:nvPr/>
        </p:nvSpPr>
        <p:spPr>
          <a:xfrm>
            <a:off x="0" y="6019800"/>
            <a:ext cx="9144000" cy="838200"/>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th-TH" sz="2400">
              <a:solidFill>
                <a:prstClr val="black"/>
              </a:solidFill>
            </a:endParaRPr>
          </a:p>
        </p:txBody>
      </p:sp>
    </p:spTree>
    <p:extLst>
      <p:ext uri="{BB962C8B-B14F-4D97-AF65-F5344CB8AC3E}">
        <p14:creationId xmlns:p14="http://schemas.microsoft.com/office/powerpoint/2010/main" val="327838519"/>
      </p:ext>
    </p:extLst>
  </p:cSld>
  <p:clrMapOvr>
    <a:masterClrMapping/>
  </p:clrMapOvr>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a:defRPr/>
            </a:pPr>
            <a:fld id="{9DA99F2A-1CA3-4175-8486-CAD88CF786FA}" type="slidenum">
              <a:rPr lang="en-US" smtClean="0"/>
              <a:pPr>
                <a:defRPr/>
              </a:pPr>
              <a:t>‹#›</a:t>
            </a:fld>
            <a:endParaRPr lang="en-US"/>
          </a:p>
        </p:txBody>
      </p:sp>
      <p:sp>
        <p:nvSpPr>
          <p:cNvPr id="11" name="Rectangle 10"/>
          <p:cNvSpPr/>
          <p:nvPr/>
        </p:nvSpPr>
        <p:spPr>
          <a:xfrm>
            <a:off x="0" y="6019800"/>
            <a:ext cx="9144000" cy="838200"/>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th-TH" sz="2400">
              <a:solidFill>
                <a:prstClr val="black"/>
              </a:solidFill>
            </a:endParaRPr>
          </a:p>
        </p:txBody>
      </p:sp>
    </p:spTree>
    <p:extLst>
      <p:ext uri="{BB962C8B-B14F-4D97-AF65-F5344CB8AC3E}">
        <p14:creationId xmlns:p14="http://schemas.microsoft.com/office/powerpoint/2010/main" val="3878094868"/>
      </p:ext>
    </p:extLst>
  </p:cSld>
  <p:clrMapOvr>
    <a:masterClrMapping/>
  </p:clrMapOvr>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th-TH"/>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p:txBody>
          <a:bodyPr/>
          <a:lstStyle>
            <a:lvl1pPr>
              <a:defRPr sz="2600"/>
            </a:lvl1pPr>
          </a:lstStyle>
          <a:p>
            <a:pPr>
              <a:defRPr/>
            </a:pPr>
            <a:endParaRPr lang="en-US"/>
          </a:p>
        </p:txBody>
      </p:sp>
      <p:sp>
        <p:nvSpPr>
          <p:cNvPr id="5" name="Rectangle 5"/>
          <p:cNvSpPr>
            <a:spLocks noGrp="1" noChangeArrowheads="1"/>
          </p:cNvSpPr>
          <p:nvPr>
            <p:ph type="ftr" sz="quarter" idx="11"/>
          </p:nvPr>
        </p:nvSpPr>
        <p:spPr/>
        <p:txBody>
          <a:bodyPr/>
          <a:lstStyle>
            <a:lvl1pPr>
              <a:defRPr sz="2600"/>
            </a:lvl1pPr>
          </a:lstStyle>
          <a:p>
            <a:pPr>
              <a:defRPr/>
            </a:pPr>
            <a:endParaRPr lang="en-US"/>
          </a:p>
        </p:txBody>
      </p:sp>
      <p:sp>
        <p:nvSpPr>
          <p:cNvPr id="6" name="Rectangle 6"/>
          <p:cNvSpPr>
            <a:spLocks noGrp="1" noChangeArrowheads="1"/>
          </p:cNvSpPr>
          <p:nvPr>
            <p:ph type="sldNum" sz="quarter" idx="12"/>
          </p:nvPr>
        </p:nvSpPr>
        <p:spPr/>
        <p:txBody>
          <a:bodyPr/>
          <a:lstStyle>
            <a:lvl1pPr>
              <a:defRPr sz="2400" i="1">
                <a:solidFill>
                  <a:schemeClr val="bg1"/>
                </a:solidFill>
                <a:effectDag name="">
                  <a:cont type="tree" name="">
                    <a:effect ref="fillLine"/>
                    <a:outerShdw dist="38100" dir="13500000" algn="br">
                      <a:srgbClr val="FF92E9"/>
                    </a:outerShdw>
                  </a:cont>
                  <a:cont type="tree" name="">
                    <a:effect ref="fillLine"/>
                    <a:outerShdw dist="38100" dir="2700000" algn="tl">
                      <a:srgbClr val="6A255C"/>
                    </a:outerShdw>
                  </a:cont>
                  <a:effect ref="fillLine"/>
                </a:effectDag>
                <a:latin typeface="BrowalliaUPC" pitchFamily="34" charset="-34"/>
              </a:defRPr>
            </a:lvl1pPr>
          </a:lstStyle>
          <a:p>
            <a:pPr>
              <a:defRPr/>
            </a:pPr>
            <a:fld id="{68477770-F636-4693-8CCE-18D840B54585}" type="slidenum">
              <a:rPr lang="en-US">
                <a:solidFill>
                  <a:srgbClr val="B13F9A"/>
                </a:solidFill>
              </a:rPr>
              <a:pPr>
                <a:defRPr/>
              </a:pPr>
              <a:t>‹#›</a:t>
            </a:fld>
            <a:endParaRPr lang="th-TH">
              <a:solidFill>
                <a:srgbClr val="B13F9A"/>
              </a:solidFill>
            </a:endParaRPr>
          </a:p>
        </p:txBody>
      </p:sp>
    </p:spTree>
    <p:extLst>
      <p:ext uri="{BB962C8B-B14F-4D97-AF65-F5344CB8AC3E}">
        <p14:creationId xmlns:p14="http://schemas.microsoft.com/office/powerpoint/2010/main" val="24131954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a:defRPr/>
            </a:pPr>
            <a:fld id="{9DA99F2A-1CA3-4175-8486-CAD88CF786FA}" type="slidenum">
              <a:rPr lang="en-US" smtClean="0"/>
              <a:pPr>
                <a:defRPr/>
              </a:pPr>
              <a:t>‹#›</a:t>
            </a:fld>
            <a:endParaRPr lang="en-US"/>
          </a:p>
        </p:txBody>
      </p:sp>
      <p:sp>
        <p:nvSpPr>
          <p:cNvPr id="10" name="Rectangle 9"/>
          <p:cNvSpPr/>
          <p:nvPr/>
        </p:nvSpPr>
        <p:spPr>
          <a:xfrm>
            <a:off x="0" y="6019800"/>
            <a:ext cx="9144000" cy="838200"/>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th-TH" sz="2400">
              <a:solidFill>
                <a:prstClr val="black"/>
              </a:solidFill>
            </a:endParaRPr>
          </a:p>
        </p:txBody>
      </p:sp>
    </p:spTree>
    <p:extLst>
      <p:ext uri="{BB962C8B-B14F-4D97-AF65-F5344CB8AC3E}">
        <p14:creationId xmlns:p14="http://schemas.microsoft.com/office/powerpoint/2010/main" val="4224735125"/>
      </p:ext>
    </p:extLst>
  </p:cSld>
  <p:clrMapOvr>
    <a:masterClrMapping/>
  </p:clrMapOvr>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Vertical Title and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a:defRPr/>
            </a:pPr>
            <a:fld id="{9DA99F2A-1CA3-4175-8486-CAD88CF786FA}" type="slidenum">
              <a:rPr lang="en-US" smtClean="0"/>
              <a:pPr>
                <a:defRPr/>
              </a:pPr>
              <a:t>‹#›</a:t>
            </a:fld>
            <a:endParaRPr lang="en-US"/>
          </a:p>
        </p:txBody>
      </p:sp>
      <p:sp>
        <p:nvSpPr>
          <p:cNvPr id="10" name="Rectangle 9"/>
          <p:cNvSpPr/>
          <p:nvPr/>
        </p:nvSpPr>
        <p:spPr>
          <a:xfrm>
            <a:off x="0" y="6019800"/>
            <a:ext cx="9144000" cy="838200"/>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th-TH" sz="2400">
              <a:solidFill>
                <a:prstClr val="black"/>
              </a:solidFill>
            </a:endParaRPr>
          </a:p>
        </p:txBody>
      </p:sp>
    </p:spTree>
    <p:extLst>
      <p:ext uri="{BB962C8B-B14F-4D97-AF65-F5344CB8AC3E}">
        <p14:creationId xmlns:p14="http://schemas.microsoft.com/office/powerpoint/2010/main" val="3390060440"/>
      </p:ext>
    </p:extLst>
  </p:cSld>
  <p:clrMapOvr>
    <a:masterClrMapping/>
  </p:clrMapOvr>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xmlns="" id="{62BD92BF-F03A-4A0A-A7B9-61662E8E30C8}"/>
              </a:ext>
            </a:extLst>
          </p:cNvPr>
          <p:cNvSpPr>
            <a:spLocks noGrp="1"/>
          </p:cNvSpPr>
          <p:nvPr>
            <p:ph type="dt" sz="half" idx="10"/>
          </p:nvPr>
        </p:nvSpPr>
        <p:spPr>
          <a:xfrm>
            <a:off x="457200" y="6356350"/>
            <a:ext cx="2133600" cy="365125"/>
          </a:xfrm>
          <a:prstGeom prst="rect">
            <a:avLst/>
          </a:prstGeom>
        </p:spPr>
        <p:txBody>
          <a:bodyPr/>
          <a:lstStyle>
            <a:lvl1pPr fontAlgn="base">
              <a:spcBef>
                <a:spcPct val="0"/>
              </a:spcBef>
              <a:spcAft>
                <a:spcPct val="0"/>
              </a:spcAft>
              <a:defRPr>
                <a:latin typeface="Arial" pitchFamily="34" charset="0"/>
                <a:cs typeface="Arial" pitchFamily="34" charset="0"/>
              </a:defRPr>
            </a:lvl1pPr>
          </a:lstStyle>
          <a:p>
            <a:pPr>
              <a:defRPr/>
            </a:pPr>
            <a:fld id="{D25332B7-E96F-40AF-987A-21A9BD140C81}" type="datetime1">
              <a:rPr lang="th-TH" smtClean="0"/>
              <a:pPr>
                <a:defRPr/>
              </a:pPr>
              <a:t>21/02/62</a:t>
            </a:fld>
            <a:endParaRPr lang="en-US"/>
          </a:p>
        </p:txBody>
      </p:sp>
      <p:sp>
        <p:nvSpPr>
          <p:cNvPr id="5" name="Footer Placeholder 4">
            <a:extLst>
              <a:ext uri="{FF2B5EF4-FFF2-40B4-BE49-F238E27FC236}">
                <a16:creationId xmlns:a16="http://schemas.microsoft.com/office/drawing/2014/main" xmlns="" id="{C084E0ED-4589-4656-82CE-1A4A4ADEE6E7}"/>
              </a:ext>
            </a:extLst>
          </p:cNvPr>
          <p:cNvSpPr>
            <a:spLocks noGrp="1"/>
          </p:cNvSpPr>
          <p:nvPr>
            <p:ph type="ftr" sz="quarter" idx="11"/>
          </p:nvPr>
        </p:nvSpPr>
        <p:spPr>
          <a:xfrm>
            <a:off x="3124200" y="6356350"/>
            <a:ext cx="2895600" cy="365125"/>
          </a:xfrm>
          <a:prstGeom prst="rect">
            <a:avLst/>
          </a:prstGeom>
        </p:spPr>
        <p:txBody>
          <a:bodyPr/>
          <a:lstStyle>
            <a:lvl1pPr fontAlgn="base">
              <a:spcBef>
                <a:spcPct val="0"/>
              </a:spcBef>
              <a:spcAft>
                <a:spcPct val="0"/>
              </a:spcAft>
              <a:defRPr>
                <a:latin typeface="Arial" pitchFamily="34" charset="0"/>
                <a:cs typeface="Arial" pitchFamily="34" charset="0"/>
              </a:defRPr>
            </a:lvl1pPr>
          </a:lstStyle>
          <a:p>
            <a:pPr>
              <a:defRPr/>
            </a:pPr>
            <a:endParaRPr lang="en-US"/>
          </a:p>
        </p:txBody>
      </p:sp>
      <p:sp>
        <p:nvSpPr>
          <p:cNvPr id="7" name="Slide Number Placeholder 5"/>
          <p:cNvSpPr>
            <a:spLocks noGrp="1"/>
          </p:cNvSpPr>
          <p:nvPr>
            <p:ph type="sldNum" sz="quarter" idx="4"/>
          </p:nvPr>
        </p:nvSpPr>
        <p:spPr>
          <a:xfrm>
            <a:off x="8787337" y="4581128"/>
            <a:ext cx="430893" cy="365125"/>
          </a:xfrm>
          <a:prstGeom prst="rect">
            <a:avLst/>
          </a:prstGeom>
        </p:spPr>
        <p:txBody>
          <a:bodyPr vert="horz" lIns="91440" tIns="45720" rIns="91440" bIns="45720" rtlCol="0" anchor="ctr"/>
          <a:lstStyle>
            <a:lvl1pPr algn="r">
              <a:defRPr sz="1600">
                <a:solidFill>
                  <a:schemeClr val="tx1">
                    <a:tint val="75000"/>
                  </a:schemeClr>
                </a:solidFill>
                <a:latin typeface="AngsanaUPC" panose="02020603050405020304" pitchFamily="18" charset="-34"/>
                <a:cs typeface="AngsanaUPC" panose="02020603050405020304" pitchFamily="18" charset="-34"/>
              </a:defRPr>
            </a:lvl1pPr>
          </a:lstStyle>
          <a:p>
            <a:pPr>
              <a:defRPr/>
            </a:pPr>
            <a:fld id="{9DA99F2A-1CA3-4175-8486-CAD88CF786FA}" type="slidenum">
              <a:rPr lang="en-US" smtClean="0"/>
              <a:pPr>
                <a:defRPr/>
              </a:pPr>
              <a:t>‹#›</a:t>
            </a:fld>
            <a:endParaRPr lang="en-US"/>
          </a:p>
        </p:txBody>
      </p:sp>
    </p:spTree>
    <p:extLst>
      <p:ext uri="{BB962C8B-B14F-4D97-AF65-F5344CB8AC3E}">
        <p14:creationId xmlns:p14="http://schemas.microsoft.com/office/powerpoint/2010/main" val="2168117146"/>
      </p:ext>
    </p:extLst>
  </p:cSld>
  <p:clrMapOvr>
    <a:masterClrMapping/>
  </p:clrMapOvr>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a:defRPr/>
            </a:pPr>
            <a:fld id="{9DA99F2A-1CA3-4175-8486-CAD88CF786FA}" type="slidenum">
              <a:rPr lang="en-US" smtClean="0"/>
              <a:pPr>
                <a:defRPr/>
              </a:pPr>
              <a:t>‹#›</a:t>
            </a:fld>
            <a:endParaRPr lang="en-US"/>
          </a:p>
        </p:txBody>
      </p:sp>
    </p:spTree>
    <p:extLst>
      <p:ext uri="{BB962C8B-B14F-4D97-AF65-F5344CB8AC3E}">
        <p14:creationId xmlns:p14="http://schemas.microsoft.com/office/powerpoint/2010/main" val="202162589"/>
      </p:ext>
    </p:extLst>
  </p:cSld>
  <p:clrMapOvr>
    <a:masterClrMapping/>
  </p:clrMapOvr>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a:defRPr/>
            </a:pPr>
            <a:fld id="{9DA99F2A-1CA3-4175-8486-CAD88CF786FA}" type="slidenum">
              <a:rPr lang="en-US" smtClean="0"/>
              <a:pPr>
                <a:defRPr/>
              </a:pPr>
              <a:t>‹#›</a:t>
            </a:fld>
            <a:endParaRPr lang="en-US"/>
          </a:p>
        </p:txBody>
      </p:sp>
    </p:spTree>
    <p:extLst>
      <p:ext uri="{BB962C8B-B14F-4D97-AF65-F5344CB8AC3E}">
        <p14:creationId xmlns:p14="http://schemas.microsoft.com/office/powerpoint/2010/main" val="2448398421"/>
      </p:ext>
    </p:extLst>
  </p:cSld>
  <p:clrMapOvr>
    <a:masterClrMapping/>
  </p:clrMapOvr>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a:defRPr/>
            </a:pPr>
            <a:fld id="{9DA99F2A-1CA3-4175-8486-CAD88CF786FA}" type="slidenum">
              <a:rPr lang="en-US" smtClean="0"/>
              <a:pPr>
                <a:defRPr/>
              </a:pPr>
              <a:t>‹#›</a:t>
            </a:fld>
            <a:endParaRPr lang="en-US"/>
          </a:p>
        </p:txBody>
      </p:sp>
    </p:spTree>
    <p:extLst>
      <p:ext uri="{BB962C8B-B14F-4D97-AF65-F5344CB8AC3E}">
        <p14:creationId xmlns:p14="http://schemas.microsoft.com/office/powerpoint/2010/main" val="1199919443"/>
      </p:ext>
    </p:extLst>
  </p:cSld>
  <p:clrMapOvr>
    <a:masterClrMapping/>
  </p:clrMapOvr>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a:defRPr/>
            </a:pPr>
            <a:fld id="{9DA99F2A-1CA3-4175-8486-CAD88CF786FA}" type="slidenum">
              <a:rPr lang="en-US" smtClean="0"/>
              <a:pPr>
                <a:defRPr/>
              </a:pPr>
              <a:t>‹#›</a:t>
            </a:fld>
            <a:endParaRPr lang="en-US"/>
          </a:p>
        </p:txBody>
      </p:sp>
    </p:spTree>
    <p:extLst>
      <p:ext uri="{BB962C8B-B14F-4D97-AF65-F5344CB8AC3E}">
        <p14:creationId xmlns:p14="http://schemas.microsoft.com/office/powerpoint/2010/main" val="3453319614"/>
      </p:ext>
    </p:extLst>
  </p:cSld>
  <p:clrMapOvr>
    <a:masterClrMapping/>
  </p:clrMapOvr>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6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a:defRPr/>
            </a:pPr>
            <a:fld id="{9DA99F2A-1CA3-4175-8486-CAD88CF786FA}" type="slidenum">
              <a:rPr lang="en-US" smtClean="0"/>
              <a:pPr>
                <a:defRPr/>
              </a:pPr>
              <a:t>‹#›</a:t>
            </a:fld>
            <a:endParaRPr lang="en-US"/>
          </a:p>
        </p:txBody>
      </p:sp>
    </p:spTree>
    <p:extLst>
      <p:ext uri="{BB962C8B-B14F-4D97-AF65-F5344CB8AC3E}">
        <p14:creationId xmlns:p14="http://schemas.microsoft.com/office/powerpoint/2010/main" val="3800152966"/>
      </p:ext>
    </p:extLst>
  </p:cSld>
  <p:clrMapOvr>
    <a:masterClrMapping/>
  </p:clrMapOvr>
  <p:timing>
    <p:tnLst>
      <p:par>
        <p:cTn id="1" dur="indefinite" restart="never" nodeType="tmRoot"/>
      </p:par>
    </p:tnLst>
  </p:timing>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a:defRPr/>
            </a:pPr>
            <a:fld id="{9DA99F2A-1CA3-4175-8486-CAD88CF786FA}" type="slidenum">
              <a:rPr lang="en-US" smtClean="0"/>
              <a:pPr>
                <a:defRPr/>
              </a:pPr>
              <a:t>‹#›</a:t>
            </a:fld>
            <a:endParaRPr lang="en-US"/>
          </a:p>
        </p:txBody>
      </p:sp>
    </p:spTree>
    <p:extLst>
      <p:ext uri="{BB962C8B-B14F-4D97-AF65-F5344CB8AC3E}">
        <p14:creationId xmlns:p14="http://schemas.microsoft.com/office/powerpoint/2010/main" val="1130266267"/>
      </p:ext>
    </p:extLst>
  </p:cSld>
  <p:clrMapOvr>
    <a:masterClrMapping/>
  </p:clrMapOvr>
  <p:timing>
    <p:tnLst>
      <p:par>
        <p:cTn id="1" dur="indefinite" restart="never" nodeType="tmRoot"/>
      </p:par>
    </p:tnLst>
  </p:timing>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8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a:defRPr/>
            </a:pPr>
            <a:fld id="{9DA99F2A-1CA3-4175-8486-CAD88CF786FA}" type="slidenum">
              <a:rPr lang="en-US" smtClean="0"/>
              <a:pPr>
                <a:defRPr/>
              </a:pPr>
              <a:t>‹#›</a:t>
            </a:fld>
            <a:endParaRPr lang="en-US"/>
          </a:p>
        </p:txBody>
      </p:sp>
    </p:spTree>
    <p:extLst>
      <p:ext uri="{BB962C8B-B14F-4D97-AF65-F5344CB8AC3E}">
        <p14:creationId xmlns:p14="http://schemas.microsoft.com/office/powerpoint/2010/main" val="264927479"/>
      </p:ext>
    </p:extLst>
  </p:cSld>
  <p:clrMapOvr>
    <a:masterClrMapping/>
  </p:clrMapOvr>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h-TH"/>
          </a:p>
        </p:txBody>
      </p:sp>
      <p:sp>
        <p:nvSpPr>
          <p:cNvPr id="3" name="Content Placeholder 2"/>
          <p:cNvSpPr>
            <a:spLocks noGrp="1"/>
          </p:cNvSpPr>
          <p:nvPr>
            <p:ph sz="half" idx="1"/>
          </p:nvPr>
        </p:nvSpPr>
        <p:spPr>
          <a:xfrm>
            <a:off x="569913" y="1676400"/>
            <a:ext cx="417195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h-TH"/>
          </a:p>
        </p:txBody>
      </p:sp>
      <p:sp>
        <p:nvSpPr>
          <p:cNvPr id="4" name="Content Placeholder 3"/>
          <p:cNvSpPr>
            <a:spLocks noGrp="1"/>
          </p:cNvSpPr>
          <p:nvPr>
            <p:ph sz="half" idx="2"/>
          </p:nvPr>
        </p:nvSpPr>
        <p:spPr>
          <a:xfrm>
            <a:off x="4894263" y="1676400"/>
            <a:ext cx="4173537"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h-TH"/>
          </a:p>
        </p:txBody>
      </p:sp>
      <p:sp>
        <p:nvSpPr>
          <p:cNvPr id="5" name="Rectangle 4"/>
          <p:cNvSpPr>
            <a:spLocks noGrp="1" noChangeArrowheads="1"/>
          </p:cNvSpPr>
          <p:nvPr>
            <p:ph type="dt" sz="half" idx="10"/>
          </p:nvPr>
        </p:nvSpPr>
        <p:spPr/>
        <p:txBody>
          <a:bodyPr/>
          <a:lstStyle>
            <a:lvl1pPr>
              <a:defRPr sz="2600"/>
            </a:lvl1pPr>
          </a:lstStyle>
          <a:p>
            <a:pPr>
              <a:defRPr/>
            </a:pPr>
            <a:endParaRPr lang="en-US"/>
          </a:p>
        </p:txBody>
      </p:sp>
      <p:sp>
        <p:nvSpPr>
          <p:cNvPr id="6" name="Rectangle 5"/>
          <p:cNvSpPr>
            <a:spLocks noGrp="1" noChangeArrowheads="1"/>
          </p:cNvSpPr>
          <p:nvPr>
            <p:ph type="ftr" sz="quarter" idx="11"/>
          </p:nvPr>
        </p:nvSpPr>
        <p:spPr/>
        <p:txBody>
          <a:bodyPr/>
          <a:lstStyle>
            <a:lvl1pPr>
              <a:defRPr sz="2600"/>
            </a:lvl1pPr>
          </a:lstStyle>
          <a:p>
            <a:pPr>
              <a:defRPr/>
            </a:pPr>
            <a:endParaRPr lang="en-US"/>
          </a:p>
        </p:txBody>
      </p:sp>
      <p:sp>
        <p:nvSpPr>
          <p:cNvPr id="7" name="Rectangle 6"/>
          <p:cNvSpPr>
            <a:spLocks noGrp="1" noChangeArrowheads="1"/>
          </p:cNvSpPr>
          <p:nvPr>
            <p:ph type="sldNum" sz="quarter" idx="12"/>
          </p:nvPr>
        </p:nvSpPr>
        <p:spPr/>
        <p:txBody>
          <a:bodyPr/>
          <a:lstStyle>
            <a:lvl1pPr>
              <a:defRPr sz="2400" i="1">
                <a:solidFill>
                  <a:schemeClr val="bg1"/>
                </a:solidFill>
                <a:effectDag name="">
                  <a:cont type="tree" name="">
                    <a:effect ref="fillLine"/>
                    <a:outerShdw dist="38100" dir="13500000" algn="br">
                      <a:srgbClr val="FF92E9"/>
                    </a:outerShdw>
                  </a:cont>
                  <a:cont type="tree" name="">
                    <a:effect ref="fillLine"/>
                    <a:outerShdw dist="38100" dir="2700000" algn="tl">
                      <a:srgbClr val="6A255C"/>
                    </a:outerShdw>
                  </a:cont>
                  <a:effect ref="fillLine"/>
                </a:effectDag>
                <a:latin typeface="BrowalliaUPC" pitchFamily="34" charset="-34"/>
              </a:defRPr>
            </a:lvl1pPr>
          </a:lstStyle>
          <a:p>
            <a:pPr>
              <a:defRPr/>
            </a:pPr>
            <a:fld id="{617B60E9-931B-429C-87DE-E18144EA5C3A}" type="slidenum">
              <a:rPr lang="en-US">
                <a:solidFill>
                  <a:srgbClr val="B13F9A"/>
                </a:solidFill>
              </a:rPr>
              <a:pPr>
                <a:defRPr/>
              </a:pPr>
              <a:t>‹#›</a:t>
            </a:fld>
            <a:endParaRPr lang="th-TH">
              <a:solidFill>
                <a:srgbClr val="B13F9A"/>
              </a:solidFill>
            </a:endParaRPr>
          </a:p>
        </p:txBody>
      </p:sp>
    </p:spTree>
    <p:extLst>
      <p:ext uri="{BB962C8B-B14F-4D97-AF65-F5344CB8AC3E}">
        <p14:creationId xmlns:p14="http://schemas.microsoft.com/office/powerpoint/2010/main" val="21113652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9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a:defRPr/>
            </a:pPr>
            <a:fld id="{9DA99F2A-1CA3-4175-8486-CAD88CF786FA}" type="slidenum">
              <a:rPr lang="en-US" smtClean="0"/>
              <a:pPr>
                <a:defRPr/>
              </a:pPr>
              <a:t>‹#›</a:t>
            </a:fld>
            <a:endParaRPr lang="en-US"/>
          </a:p>
        </p:txBody>
      </p:sp>
    </p:spTree>
    <p:extLst>
      <p:ext uri="{BB962C8B-B14F-4D97-AF65-F5344CB8AC3E}">
        <p14:creationId xmlns:p14="http://schemas.microsoft.com/office/powerpoint/2010/main" val="3591975593"/>
      </p:ext>
    </p:extLst>
  </p:cSld>
  <p:clrMapOvr>
    <a:masterClrMapping/>
  </p:clrMapOvr>
  <p:timing>
    <p:tnLst>
      <p:par>
        <p:cTn id="1" dur="indefinite" restart="never" nodeType="tmRoot"/>
      </p:par>
    </p:tnLst>
  </p:timing>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10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a:defRPr/>
            </a:pPr>
            <a:fld id="{9DA99F2A-1CA3-4175-8486-CAD88CF786FA}" type="slidenum">
              <a:rPr lang="en-US" smtClean="0"/>
              <a:pPr>
                <a:defRPr/>
              </a:pPr>
              <a:t>‹#›</a:t>
            </a:fld>
            <a:endParaRPr lang="en-US"/>
          </a:p>
        </p:txBody>
      </p:sp>
    </p:spTree>
    <p:extLst>
      <p:ext uri="{BB962C8B-B14F-4D97-AF65-F5344CB8AC3E}">
        <p14:creationId xmlns:p14="http://schemas.microsoft.com/office/powerpoint/2010/main" val="1704693031"/>
      </p:ext>
    </p:extLst>
  </p:cSld>
  <p:clrMapOvr>
    <a:masterClrMapping/>
  </p:clrMapOvr>
  <p:timing>
    <p:tnLst>
      <p:par>
        <p:cTn id="1" dur="indefinite" restart="never" nodeType="tmRoot"/>
      </p:par>
    </p:tnLst>
  </p:timing>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11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a:defRPr/>
            </a:pPr>
            <a:fld id="{9DA99F2A-1CA3-4175-8486-CAD88CF786FA}" type="slidenum">
              <a:rPr lang="en-US" smtClean="0"/>
              <a:pPr>
                <a:defRPr/>
              </a:pPr>
              <a:t>‹#›</a:t>
            </a:fld>
            <a:endParaRPr lang="en-US"/>
          </a:p>
        </p:txBody>
      </p:sp>
    </p:spTree>
    <p:extLst>
      <p:ext uri="{BB962C8B-B14F-4D97-AF65-F5344CB8AC3E}">
        <p14:creationId xmlns:p14="http://schemas.microsoft.com/office/powerpoint/2010/main" val="899347521"/>
      </p:ext>
    </p:extLst>
  </p:cSld>
  <p:clrMapOvr>
    <a:masterClrMapping/>
  </p:clrMapOvr>
  <p:timing>
    <p:tnLst>
      <p:par>
        <p:cTn id="1" dur="indefinite" restart="never" nodeType="tmRoot"/>
      </p:par>
    </p:tnLst>
  </p:timing>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12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a:defRPr/>
            </a:pPr>
            <a:fld id="{9DA99F2A-1CA3-4175-8486-CAD88CF786FA}" type="slidenum">
              <a:rPr lang="en-US" smtClean="0"/>
              <a:pPr>
                <a:defRPr/>
              </a:pPr>
              <a:t>‹#›</a:t>
            </a:fld>
            <a:endParaRPr lang="en-US"/>
          </a:p>
        </p:txBody>
      </p:sp>
    </p:spTree>
    <p:extLst>
      <p:ext uri="{BB962C8B-B14F-4D97-AF65-F5344CB8AC3E}">
        <p14:creationId xmlns:p14="http://schemas.microsoft.com/office/powerpoint/2010/main" val="248531323"/>
      </p:ext>
    </p:extLst>
  </p:cSld>
  <p:clrMapOvr>
    <a:masterClrMapping/>
  </p:clrMapOvr>
  <p:timing>
    <p:tnLst>
      <p:par>
        <p:cTn id="1" dur="indefinite" restart="never" nodeType="tmRoot"/>
      </p:par>
    </p:tnLst>
  </p:timing>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13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a:defRPr/>
            </a:pPr>
            <a:fld id="{9DA99F2A-1CA3-4175-8486-CAD88CF786FA}" type="slidenum">
              <a:rPr lang="en-US" smtClean="0"/>
              <a:pPr>
                <a:defRPr/>
              </a:pPr>
              <a:t>‹#›</a:t>
            </a:fld>
            <a:endParaRPr lang="en-US"/>
          </a:p>
        </p:txBody>
      </p:sp>
    </p:spTree>
    <p:extLst>
      <p:ext uri="{BB962C8B-B14F-4D97-AF65-F5344CB8AC3E}">
        <p14:creationId xmlns:p14="http://schemas.microsoft.com/office/powerpoint/2010/main" val="648029978"/>
      </p:ext>
    </p:extLst>
  </p:cSld>
  <p:clrMapOvr>
    <a:masterClrMapping/>
  </p:clrMapOvr>
  <p:timing>
    <p:tnLst>
      <p:par>
        <p:cTn id="1" dur="indefinite" restart="never" nodeType="tmRoot"/>
      </p:par>
    </p:tnLst>
  </p:timing>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14_Title and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custDataLst>
              <p:tags r:id="rId3"/>
            </p:custDataLst>
          </p:nvPr>
        </p:nvSpPr>
        <p:spPr>
          <a:xfrm>
            <a:off x="457200" y="1600200"/>
            <a:ext cx="8229600" cy="4525963"/>
          </a:xfrm>
          <a:prstGeom prst="rect">
            <a:avLst/>
          </a:prstGeom>
        </p:spPr>
        <p:txBody>
          <a:bodyPr/>
          <a:lstStyle>
            <a:lvl1pPr>
              <a:defRPr>
                <a:latin typeface="TH SarabunPSK" panose="020B0500040200020003" pitchFamily="34" charset="-34"/>
                <a:cs typeface="TH SarabunPSK" panose="020B0500040200020003" pitchFamily="34" charset="-34"/>
              </a:defRPr>
            </a:lvl1pPr>
            <a:lvl2pPr>
              <a:defRPr>
                <a:latin typeface="TH SarabunPSK" panose="020B0500040200020003" pitchFamily="34" charset="-34"/>
                <a:cs typeface="TH SarabunPSK" panose="020B0500040200020003" pitchFamily="34" charset="-34"/>
              </a:defRPr>
            </a:lvl2pPr>
            <a:lvl3pPr>
              <a:defRPr>
                <a:latin typeface="TH SarabunPSK" panose="020B0500040200020003" pitchFamily="34" charset="-34"/>
                <a:cs typeface="TH SarabunPSK" panose="020B0500040200020003" pitchFamily="34" charset="-34"/>
              </a:defRPr>
            </a:lvl3pPr>
            <a:lvl4pPr>
              <a:defRPr>
                <a:latin typeface="TH SarabunPSK" panose="020B0500040200020003" pitchFamily="34" charset="-34"/>
                <a:cs typeface="TH SarabunPSK" panose="020B0500040200020003" pitchFamily="34" charset="-34"/>
              </a:defRPr>
            </a:lvl4pPr>
            <a:lvl5pPr>
              <a:defRPr>
                <a:latin typeface="TH SarabunPSK" panose="020B0500040200020003" pitchFamily="34" charset="-34"/>
                <a:cs typeface="TH SarabunPSK" panose="020B0500040200020003" pitchFamily="34" charset="-34"/>
              </a:defRPr>
            </a:lvl5pPr>
          </a:lstStyle>
          <a:p>
            <a:pPr lvl="0"/>
            <a:r>
              <a:rPr lang="da-DK" dirty="0" smtClean="0"/>
              <a:t>Click to edit Master text styles</a:t>
            </a:r>
          </a:p>
          <a:p>
            <a:pPr lvl="1"/>
            <a:r>
              <a:rPr lang="da-DK" dirty="0" smtClean="0"/>
              <a:t>Second level</a:t>
            </a:r>
          </a:p>
          <a:p>
            <a:pPr lvl="2"/>
            <a:r>
              <a:rPr lang="da-DK" dirty="0" smtClean="0"/>
              <a:t>Third level</a:t>
            </a:r>
          </a:p>
          <a:p>
            <a:pPr lvl="3"/>
            <a:r>
              <a:rPr lang="da-DK" dirty="0" smtClean="0"/>
              <a:t>Fourth level</a:t>
            </a:r>
          </a:p>
          <a:p>
            <a:pPr lvl="4"/>
            <a:r>
              <a:rPr lang="da-DK" dirty="0" smtClean="0"/>
              <a:t>Fifth level</a:t>
            </a:r>
            <a:endParaRPr lang="en-US" dirty="0"/>
          </a:p>
        </p:txBody>
      </p:sp>
      <p:pic>
        <p:nvPicPr>
          <p:cNvPr id="15" name="Picture 94"/>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8662862" y="6624981"/>
            <a:ext cx="180000" cy="1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4" name="Group 33"/>
          <p:cNvGrpSpPr/>
          <p:nvPr/>
        </p:nvGrpSpPr>
        <p:grpSpPr>
          <a:xfrm>
            <a:off x="3175" y="0"/>
            <a:ext cx="9153827" cy="900000"/>
            <a:chOff x="3175" y="0"/>
            <a:chExt cx="9153827" cy="900000"/>
          </a:xfrm>
        </p:grpSpPr>
        <p:sp>
          <p:nvSpPr>
            <p:cNvPr id="25" name="Rectangle 24"/>
            <p:cNvSpPr/>
            <p:nvPr userDrawn="1"/>
          </p:nvSpPr>
          <p:spPr>
            <a:xfrm>
              <a:off x="3175" y="0"/>
              <a:ext cx="9139919" cy="900000"/>
            </a:xfrm>
            <a:prstGeom prst="rect">
              <a:avLst/>
            </a:prstGeom>
            <a:gradFill>
              <a:gsLst>
                <a:gs pos="100000">
                  <a:schemeClr val="accent1">
                    <a:lumMod val="75000"/>
                  </a:schemeClr>
                </a:gs>
                <a:gs pos="0">
                  <a:schemeClr val="accent1">
                    <a:lumMod val="75000"/>
                  </a:schemeClr>
                </a:gs>
              </a:gsLst>
              <a:path path="circle">
                <a:fillToRect l="50000" t="50000" r="50000" b="50000"/>
              </a:path>
            </a:gradFill>
            <a:ln w="3175">
              <a:noFill/>
            </a:ln>
            <a:effectLst>
              <a:outerShdw blurRad="38100" dist="12700" dir="5400000" algn="t" rotWithShape="0">
                <a:prstClr val="black">
                  <a:alpha val="3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b="0">
                <a:solidFill>
                  <a:prstClr val="white"/>
                </a:solidFill>
              </a:endParaRPr>
            </a:p>
          </p:txBody>
        </p:sp>
        <p:cxnSp>
          <p:nvCxnSpPr>
            <p:cNvPr id="26" name="Straight Connector 25"/>
            <p:cNvCxnSpPr/>
            <p:nvPr userDrawn="1"/>
          </p:nvCxnSpPr>
          <p:spPr>
            <a:xfrm>
              <a:off x="13002" y="757309"/>
              <a:ext cx="9144000" cy="0"/>
            </a:xfrm>
            <a:prstGeom prst="line">
              <a:avLst/>
            </a:prstGeom>
            <a:ln w="6350">
              <a:solidFill>
                <a:schemeClr val="bg1">
                  <a:lumMod val="75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3002" y="180742"/>
              <a:ext cx="9144000" cy="0"/>
            </a:xfrm>
            <a:prstGeom prst="line">
              <a:avLst/>
            </a:prstGeom>
            <a:ln w="6350">
              <a:solidFill>
                <a:schemeClr val="bg1">
                  <a:lumMod val="75000"/>
                </a:schemeClr>
              </a:solidFill>
              <a:prstDash val="dash"/>
            </a:ln>
          </p:spPr>
          <p:style>
            <a:lnRef idx="2">
              <a:schemeClr val="accent1"/>
            </a:lnRef>
            <a:fillRef idx="0">
              <a:schemeClr val="accent1"/>
            </a:fillRef>
            <a:effectRef idx="1">
              <a:schemeClr val="accent1"/>
            </a:effectRef>
            <a:fontRef idx="minor">
              <a:schemeClr val="tx1"/>
            </a:fontRef>
          </p:style>
        </p:cxnSp>
      </p:grpSp>
      <p:sp>
        <p:nvSpPr>
          <p:cNvPr id="10" name="Slide Number Placeholder 5"/>
          <p:cNvSpPr>
            <a:spLocks noGrp="1"/>
          </p:cNvSpPr>
          <p:nvPr>
            <p:ph type="sldNum" sz="quarter" idx="4"/>
          </p:nvPr>
        </p:nvSpPr>
        <p:spPr>
          <a:xfrm>
            <a:off x="8787337" y="4581128"/>
            <a:ext cx="430893" cy="365125"/>
          </a:xfrm>
          <a:prstGeom prst="rect">
            <a:avLst/>
          </a:prstGeom>
        </p:spPr>
        <p:txBody>
          <a:bodyPr vert="horz" lIns="91440" tIns="45720" rIns="91440" bIns="45720" rtlCol="0" anchor="ctr"/>
          <a:lstStyle>
            <a:lvl1pPr algn="r">
              <a:defRPr sz="1600">
                <a:solidFill>
                  <a:schemeClr val="tx1">
                    <a:tint val="75000"/>
                  </a:schemeClr>
                </a:solidFill>
                <a:latin typeface="AngsanaUPC" panose="02020603050405020304" pitchFamily="18" charset="-34"/>
                <a:cs typeface="AngsanaUPC" panose="02020603050405020304" pitchFamily="18" charset="-34"/>
              </a:defRPr>
            </a:lvl1pPr>
          </a:lstStyle>
          <a:p>
            <a:pPr>
              <a:defRPr/>
            </a:pPr>
            <a:fld id="{9DA99F2A-1CA3-4175-8486-CAD88CF786FA}" type="slidenum">
              <a:rPr lang="en-US" smtClean="0"/>
              <a:pPr>
                <a:defRPr/>
              </a:pPr>
              <a:t>‹#›</a:t>
            </a:fld>
            <a:endParaRPr lang="en-US"/>
          </a:p>
        </p:txBody>
      </p:sp>
    </p:spTree>
    <p:extLst>
      <p:ext uri="{BB962C8B-B14F-4D97-AF65-F5344CB8AC3E}">
        <p14:creationId xmlns:p14="http://schemas.microsoft.com/office/powerpoint/2010/main" val="1854119286"/>
      </p:ext>
    </p:extLst>
  </p:cSld>
  <p:clrMapOvr>
    <a:masterClrMapping/>
  </p:clrMapOvr>
  <p:timing>
    <p:tnLst>
      <p:par>
        <p:cTn id="1" dur="indefinite" restart="never" nodeType="tmRoot"/>
      </p:par>
    </p:tnLst>
  </p:timing>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15_Title and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custDataLst>
              <p:tags r:id="rId3"/>
            </p:custDataLst>
          </p:nvPr>
        </p:nvSpPr>
        <p:spPr>
          <a:xfrm>
            <a:off x="457200" y="1600200"/>
            <a:ext cx="8229600" cy="4525963"/>
          </a:xfrm>
          <a:prstGeom prst="rect">
            <a:avLst/>
          </a:prstGeom>
        </p:spPr>
        <p:txBody>
          <a:bodyPr/>
          <a:lstStyle>
            <a:lvl1pPr>
              <a:defRPr>
                <a:latin typeface="TH SarabunPSK" panose="020B0500040200020003" pitchFamily="34" charset="-34"/>
                <a:cs typeface="TH SarabunPSK" panose="020B0500040200020003" pitchFamily="34" charset="-34"/>
              </a:defRPr>
            </a:lvl1pPr>
            <a:lvl2pPr>
              <a:defRPr>
                <a:latin typeface="TH SarabunPSK" panose="020B0500040200020003" pitchFamily="34" charset="-34"/>
                <a:cs typeface="TH SarabunPSK" panose="020B0500040200020003" pitchFamily="34" charset="-34"/>
              </a:defRPr>
            </a:lvl2pPr>
            <a:lvl3pPr>
              <a:defRPr>
                <a:latin typeface="TH SarabunPSK" panose="020B0500040200020003" pitchFamily="34" charset="-34"/>
                <a:cs typeface="TH SarabunPSK" panose="020B0500040200020003" pitchFamily="34" charset="-34"/>
              </a:defRPr>
            </a:lvl3pPr>
            <a:lvl4pPr>
              <a:defRPr>
                <a:latin typeface="TH SarabunPSK" panose="020B0500040200020003" pitchFamily="34" charset="-34"/>
                <a:cs typeface="TH SarabunPSK" panose="020B0500040200020003" pitchFamily="34" charset="-34"/>
              </a:defRPr>
            </a:lvl4pPr>
            <a:lvl5pPr>
              <a:defRPr>
                <a:latin typeface="TH SarabunPSK" panose="020B0500040200020003" pitchFamily="34" charset="-34"/>
                <a:cs typeface="TH SarabunPSK" panose="020B0500040200020003" pitchFamily="34" charset="-34"/>
              </a:defRPr>
            </a:lvl5pPr>
          </a:lstStyle>
          <a:p>
            <a:pPr lvl="0"/>
            <a:r>
              <a:rPr lang="da-DK" dirty="0" smtClean="0"/>
              <a:t>Click to edit Master text styles</a:t>
            </a:r>
          </a:p>
          <a:p>
            <a:pPr lvl="1"/>
            <a:r>
              <a:rPr lang="da-DK" dirty="0" smtClean="0"/>
              <a:t>Second level</a:t>
            </a:r>
          </a:p>
          <a:p>
            <a:pPr lvl="2"/>
            <a:r>
              <a:rPr lang="da-DK" dirty="0" smtClean="0"/>
              <a:t>Third level</a:t>
            </a:r>
          </a:p>
          <a:p>
            <a:pPr lvl="3"/>
            <a:r>
              <a:rPr lang="da-DK" dirty="0" smtClean="0"/>
              <a:t>Fourth level</a:t>
            </a:r>
          </a:p>
          <a:p>
            <a:pPr lvl="4"/>
            <a:r>
              <a:rPr lang="da-DK" dirty="0" smtClean="0"/>
              <a:t>Fifth level</a:t>
            </a:r>
            <a:endParaRPr lang="en-US" dirty="0"/>
          </a:p>
        </p:txBody>
      </p:sp>
      <p:pic>
        <p:nvPicPr>
          <p:cNvPr id="15" name="Picture 94"/>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8662862" y="6624981"/>
            <a:ext cx="180000" cy="1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4" name="Group 33"/>
          <p:cNvGrpSpPr/>
          <p:nvPr/>
        </p:nvGrpSpPr>
        <p:grpSpPr>
          <a:xfrm>
            <a:off x="3175" y="0"/>
            <a:ext cx="9153827" cy="900000"/>
            <a:chOff x="3175" y="0"/>
            <a:chExt cx="9153827" cy="900000"/>
          </a:xfrm>
        </p:grpSpPr>
        <p:sp>
          <p:nvSpPr>
            <p:cNvPr id="25" name="Rectangle 24"/>
            <p:cNvSpPr/>
            <p:nvPr userDrawn="1"/>
          </p:nvSpPr>
          <p:spPr>
            <a:xfrm>
              <a:off x="3175" y="0"/>
              <a:ext cx="9139919" cy="900000"/>
            </a:xfrm>
            <a:prstGeom prst="rect">
              <a:avLst/>
            </a:prstGeom>
            <a:gradFill>
              <a:gsLst>
                <a:gs pos="100000">
                  <a:schemeClr val="accent1">
                    <a:lumMod val="75000"/>
                  </a:schemeClr>
                </a:gs>
                <a:gs pos="0">
                  <a:schemeClr val="accent1">
                    <a:lumMod val="75000"/>
                  </a:schemeClr>
                </a:gs>
              </a:gsLst>
              <a:path path="circle">
                <a:fillToRect l="50000" t="50000" r="50000" b="50000"/>
              </a:path>
            </a:gradFill>
            <a:ln w="3175">
              <a:noFill/>
            </a:ln>
            <a:effectLst>
              <a:outerShdw blurRad="38100" dist="12700" dir="5400000" algn="t" rotWithShape="0">
                <a:prstClr val="black">
                  <a:alpha val="3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b="0">
                <a:solidFill>
                  <a:prstClr val="white"/>
                </a:solidFill>
              </a:endParaRPr>
            </a:p>
          </p:txBody>
        </p:sp>
        <p:cxnSp>
          <p:nvCxnSpPr>
            <p:cNvPr id="26" name="Straight Connector 25"/>
            <p:cNvCxnSpPr/>
            <p:nvPr userDrawn="1"/>
          </p:nvCxnSpPr>
          <p:spPr>
            <a:xfrm>
              <a:off x="13002" y="757309"/>
              <a:ext cx="9144000" cy="0"/>
            </a:xfrm>
            <a:prstGeom prst="line">
              <a:avLst/>
            </a:prstGeom>
            <a:ln w="6350">
              <a:solidFill>
                <a:schemeClr val="bg1">
                  <a:lumMod val="75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3002" y="180742"/>
              <a:ext cx="9144000" cy="0"/>
            </a:xfrm>
            <a:prstGeom prst="line">
              <a:avLst/>
            </a:prstGeom>
            <a:ln w="6350">
              <a:solidFill>
                <a:schemeClr val="bg1">
                  <a:lumMod val="75000"/>
                </a:schemeClr>
              </a:solidFill>
              <a:prstDash val="dash"/>
            </a:ln>
          </p:spPr>
          <p:style>
            <a:lnRef idx="2">
              <a:schemeClr val="accent1"/>
            </a:lnRef>
            <a:fillRef idx="0">
              <a:schemeClr val="accent1"/>
            </a:fillRef>
            <a:effectRef idx="1">
              <a:schemeClr val="accent1"/>
            </a:effectRef>
            <a:fontRef idx="minor">
              <a:schemeClr val="tx1"/>
            </a:fontRef>
          </p:style>
        </p:cxnSp>
      </p:grpSp>
      <p:sp>
        <p:nvSpPr>
          <p:cNvPr id="10" name="Slide Number Placeholder 5"/>
          <p:cNvSpPr>
            <a:spLocks noGrp="1"/>
          </p:cNvSpPr>
          <p:nvPr>
            <p:ph type="sldNum" sz="quarter" idx="4"/>
          </p:nvPr>
        </p:nvSpPr>
        <p:spPr>
          <a:xfrm>
            <a:off x="8787337" y="4581128"/>
            <a:ext cx="430893" cy="365125"/>
          </a:xfrm>
          <a:prstGeom prst="rect">
            <a:avLst/>
          </a:prstGeom>
        </p:spPr>
        <p:txBody>
          <a:bodyPr vert="horz" lIns="91440" tIns="45720" rIns="91440" bIns="45720" rtlCol="0" anchor="ctr"/>
          <a:lstStyle>
            <a:lvl1pPr algn="r">
              <a:defRPr sz="1600">
                <a:solidFill>
                  <a:schemeClr val="tx1">
                    <a:tint val="75000"/>
                  </a:schemeClr>
                </a:solidFill>
                <a:latin typeface="AngsanaUPC" panose="02020603050405020304" pitchFamily="18" charset="-34"/>
                <a:cs typeface="AngsanaUPC" panose="02020603050405020304" pitchFamily="18" charset="-34"/>
              </a:defRPr>
            </a:lvl1pPr>
          </a:lstStyle>
          <a:p>
            <a:pPr>
              <a:defRPr/>
            </a:pPr>
            <a:fld id="{9DA99F2A-1CA3-4175-8486-CAD88CF786FA}" type="slidenum">
              <a:rPr lang="en-US" smtClean="0"/>
              <a:pPr>
                <a:defRPr/>
              </a:pPr>
              <a:t>‹#›</a:t>
            </a:fld>
            <a:endParaRPr lang="en-US"/>
          </a:p>
        </p:txBody>
      </p:sp>
    </p:spTree>
    <p:extLst>
      <p:ext uri="{BB962C8B-B14F-4D97-AF65-F5344CB8AC3E}">
        <p14:creationId xmlns:p14="http://schemas.microsoft.com/office/powerpoint/2010/main" val="459392229"/>
      </p:ext>
    </p:extLst>
  </p:cSld>
  <p:clrMapOvr>
    <a:masterClrMapping/>
  </p:clrMapOvr>
  <p:timing>
    <p:tnLst>
      <p:par>
        <p:cTn id="1" dur="indefinite" restart="never" nodeType="tmRoot"/>
      </p:par>
    </p:tnLst>
  </p:timing>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sp>
        <p:nvSpPr>
          <p:cNvPr id="2" name="Rectangle 6"/>
          <p:cNvSpPr>
            <a:spLocks noGrp="1" noChangeArrowheads="1"/>
          </p:cNvSpPr>
          <p:nvPr>
            <p:ph type="sldNum" sz="quarter" idx="12"/>
          </p:nvPr>
        </p:nvSpPr>
        <p:spPr>
          <a:xfrm>
            <a:off x="8769207" y="4653136"/>
            <a:ext cx="430893" cy="365125"/>
          </a:xfrm>
          <a:ln/>
        </p:spPr>
        <p:txBody>
          <a:bodyPr/>
          <a:lstStyle>
            <a:lvl1pPr>
              <a:defRPr/>
            </a:lvl1pPr>
          </a:lstStyle>
          <a:p>
            <a:pPr>
              <a:defRPr/>
            </a:pPr>
            <a:fld id="{9DA99F2A-1CA3-4175-8486-CAD88CF786FA}" type="slidenum">
              <a:rPr lang="en-US" smtClean="0"/>
              <a:pPr>
                <a:defRPr/>
              </a:pPr>
              <a:t>‹#›</a:t>
            </a:fld>
            <a:endParaRPr lang="en-US"/>
          </a:p>
        </p:txBody>
      </p:sp>
    </p:spTree>
    <p:extLst>
      <p:ext uri="{BB962C8B-B14F-4D97-AF65-F5344CB8AC3E}">
        <p14:creationId xmlns:p14="http://schemas.microsoft.com/office/powerpoint/2010/main" val="778974246"/>
      </p:ext>
    </p:extLst>
  </p:cSld>
  <p:clrMapOvr>
    <a:masterClrMapping/>
  </p:clrMapOvr>
  <p:timing>
    <p:tnLst>
      <p:par>
        <p:cTn id="1" dur="indefinite" restart="never" nodeType="tmRoot"/>
      </p:par>
    </p:tnLst>
  </p:timing>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sp>
        <p:nvSpPr>
          <p:cNvPr id="2" name="Rectangle 6"/>
          <p:cNvSpPr>
            <a:spLocks noGrp="1" noChangeArrowheads="1"/>
          </p:cNvSpPr>
          <p:nvPr>
            <p:ph type="sldNum" sz="quarter" idx="12"/>
          </p:nvPr>
        </p:nvSpPr>
        <p:spPr>
          <a:xfrm>
            <a:off x="8769207" y="4653136"/>
            <a:ext cx="430893" cy="365125"/>
          </a:xfrm>
          <a:ln/>
        </p:spPr>
        <p:txBody>
          <a:bodyPr/>
          <a:lstStyle>
            <a:lvl1pPr>
              <a:defRPr/>
            </a:lvl1pPr>
          </a:lstStyle>
          <a:p>
            <a:pPr>
              <a:defRPr/>
            </a:pPr>
            <a:fld id="{9DA99F2A-1CA3-4175-8486-CAD88CF786FA}" type="slidenum">
              <a:rPr lang="en-US" smtClean="0"/>
              <a:pPr>
                <a:defRPr/>
              </a:pPr>
              <a:t>‹#›</a:t>
            </a:fld>
            <a:endParaRPr lang="en-US"/>
          </a:p>
        </p:txBody>
      </p:sp>
    </p:spTree>
    <p:extLst>
      <p:ext uri="{BB962C8B-B14F-4D97-AF65-F5344CB8AC3E}">
        <p14:creationId xmlns:p14="http://schemas.microsoft.com/office/powerpoint/2010/main" val="622125383"/>
      </p:ext>
    </p:extLst>
  </p:cSld>
  <p:clrMapOvr>
    <a:masterClrMapping/>
  </p:clrMapOvr>
  <p:timing>
    <p:tnLst>
      <p:par>
        <p:cTn id="1" dur="indefinite" restart="never" nodeType="tmRoot"/>
      </p:par>
    </p:tnLst>
  </p:timing>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74638"/>
            <a:ext cx="8229600" cy="585152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h-TH"/>
          </a:p>
        </p:txBody>
      </p:sp>
      <p:sp>
        <p:nvSpPr>
          <p:cNvPr id="3" name="Rectangle 4"/>
          <p:cNvSpPr>
            <a:spLocks noGrp="1" noChangeArrowheads="1"/>
          </p:cNvSpPr>
          <p:nvPr>
            <p:ph type="dt" sz="half" idx="10"/>
          </p:nvPr>
        </p:nvSpPr>
        <p:spPr>
          <a:xfrm>
            <a:off x="457200" y="6421438"/>
            <a:ext cx="2133600" cy="365125"/>
          </a:xfrm>
          <a:prstGeom prst="rect">
            <a:avLst/>
          </a:prstGeom>
          <a:ln/>
        </p:spPr>
        <p:txBody>
          <a:bodyPr/>
          <a:lstStyle>
            <a:lvl1pPr>
              <a:defRPr/>
            </a:lvl1pPr>
          </a:lstStyle>
          <a:p>
            <a:pPr>
              <a:defRPr/>
            </a:pPr>
            <a:endParaRPr lang="th-TH">
              <a:solidFill>
                <a:srgbClr val="000000"/>
              </a:solidFill>
            </a:endParaRPr>
          </a:p>
        </p:txBody>
      </p:sp>
      <p:sp>
        <p:nvSpPr>
          <p:cNvPr id="4" name="Rectangle 5"/>
          <p:cNvSpPr>
            <a:spLocks noGrp="1" noChangeArrowheads="1"/>
          </p:cNvSpPr>
          <p:nvPr>
            <p:ph type="ftr" sz="quarter" idx="11"/>
          </p:nvPr>
        </p:nvSpPr>
        <p:spPr>
          <a:xfrm>
            <a:off x="3124200" y="6421438"/>
            <a:ext cx="2895600" cy="365125"/>
          </a:xfrm>
          <a:prstGeom prst="rect">
            <a:avLst/>
          </a:prstGeom>
          <a:ln/>
        </p:spPr>
        <p:txBody>
          <a:bodyPr/>
          <a:lstStyle>
            <a:lvl1pPr>
              <a:defRPr/>
            </a:lvl1pPr>
          </a:lstStyle>
          <a:p>
            <a:pPr>
              <a:defRPr/>
            </a:pPr>
            <a:endParaRPr lang="th-TH">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CBB82192-A92C-4130-93DB-F9A96142D26E}" type="slidenum">
              <a:rPr lang="en-US" smtClean="0">
                <a:solidFill>
                  <a:srgbClr val="000000"/>
                </a:solidFill>
              </a:rPr>
              <a:pPr>
                <a:defRPr/>
              </a:pPr>
              <a:t>‹#›</a:t>
            </a:fld>
            <a:endParaRPr lang="th-TH">
              <a:solidFill>
                <a:srgbClr val="000000"/>
              </a:solidFill>
            </a:endParaRPr>
          </a:p>
        </p:txBody>
      </p:sp>
    </p:spTree>
    <p:extLst>
      <p:ext uri="{BB962C8B-B14F-4D97-AF65-F5344CB8AC3E}">
        <p14:creationId xmlns:p14="http://schemas.microsoft.com/office/powerpoint/2010/main" val="177110190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th-TH"/>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h-TH"/>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h-TH"/>
          </a:p>
        </p:txBody>
      </p:sp>
      <p:sp>
        <p:nvSpPr>
          <p:cNvPr id="7" name="Rectangle 4"/>
          <p:cNvSpPr>
            <a:spLocks noGrp="1" noChangeArrowheads="1"/>
          </p:cNvSpPr>
          <p:nvPr>
            <p:ph type="dt" sz="half" idx="10"/>
          </p:nvPr>
        </p:nvSpPr>
        <p:spPr/>
        <p:txBody>
          <a:bodyPr/>
          <a:lstStyle>
            <a:lvl1pPr>
              <a:defRPr sz="2600"/>
            </a:lvl1pPr>
          </a:lstStyle>
          <a:p>
            <a:pPr>
              <a:defRPr/>
            </a:pPr>
            <a:endParaRPr lang="en-US"/>
          </a:p>
        </p:txBody>
      </p:sp>
      <p:sp>
        <p:nvSpPr>
          <p:cNvPr id="8" name="Rectangle 5"/>
          <p:cNvSpPr>
            <a:spLocks noGrp="1" noChangeArrowheads="1"/>
          </p:cNvSpPr>
          <p:nvPr>
            <p:ph type="ftr" sz="quarter" idx="11"/>
          </p:nvPr>
        </p:nvSpPr>
        <p:spPr/>
        <p:txBody>
          <a:bodyPr/>
          <a:lstStyle>
            <a:lvl1pPr>
              <a:defRPr sz="2600"/>
            </a:lvl1pPr>
          </a:lstStyle>
          <a:p>
            <a:pPr>
              <a:defRPr/>
            </a:pPr>
            <a:endParaRPr lang="en-US"/>
          </a:p>
        </p:txBody>
      </p:sp>
      <p:sp>
        <p:nvSpPr>
          <p:cNvPr id="9" name="Rectangle 6"/>
          <p:cNvSpPr>
            <a:spLocks noGrp="1" noChangeArrowheads="1"/>
          </p:cNvSpPr>
          <p:nvPr>
            <p:ph type="sldNum" sz="quarter" idx="12"/>
          </p:nvPr>
        </p:nvSpPr>
        <p:spPr/>
        <p:txBody>
          <a:bodyPr/>
          <a:lstStyle>
            <a:lvl1pPr>
              <a:defRPr sz="2400" i="1">
                <a:solidFill>
                  <a:schemeClr val="bg1"/>
                </a:solidFill>
                <a:effectDag name="">
                  <a:cont type="tree" name="">
                    <a:effect ref="fillLine"/>
                    <a:outerShdw dist="38100" dir="13500000" algn="br">
                      <a:srgbClr val="FF92E9"/>
                    </a:outerShdw>
                  </a:cont>
                  <a:cont type="tree" name="">
                    <a:effect ref="fillLine"/>
                    <a:outerShdw dist="38100" dir="2700000" algn="tl">
                      <a:srgbClr val="6A255C"/>
                    </a:outerShdw>
                  </a:cont>
                  <a:effect ref="fillLine"/>
                </a:effectDag>
                <a:latin typeface="BrowalliaUPC" pitchFamily="34" charset="-34"/>
              </a:defRPr>
            </a:lvl1pPr>
          </a:lstStyle>
          <a:p>
            <a:pPr>
              <a:defRPr/>
            </a:pPr>
            <a:fld id="{E55679D0-E666-481F-AACE-57AA1EA216EC}" type="slidenum">
              <a:rPr lang="en-US">
                <a:solidFill>
                  <a:srgbClr val="B13F9A"/>
                </a:solidFill>
              </a:rPr>
              <a:pPr>
                <a:defRPr/>
              </a:pPr>
              <a:t>‹#›</a:t>
            </a:fld>
            <a:endParaRPr lang="th-TH">
              <a:solidFill>
                <a:srgbClr val="B13F9A"/>
              </a:solidFill>
            </a:endParaRPr>
          </a:p>
        </p:txBody>
      </p:sp>
    </p:spTree>
    <p:extLst>
      <p:ext uri="{BB962C8B-B14F-4D97-AF65-F5344CB8AC3E}">
        <p14:creationId xmlns:p14="http://schemas.microsoft.com/office/powerpoint/2010/main" val="26558786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992724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0690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784520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44759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387223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7046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304800"/>
            <a:ext cx="77724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685800" y="1676400"/>
            <a:ext cx="7772400" cy="44196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xfrm>
            <a:off x="685800" y="6248400"/>
            <a:ext cx="1905000" cy="457200"/>
          </a:xfrm>
          <a:prstGeom prst="rect">
            <a:avLst/>
          </a:prstGeom>
          <a:ln/>
        </p:spPr>
        <p:txBody>
          <a:bodyPr/>
          <a:lstStyle>
            <a:lvl1pPr>
              <a:defRPr/>
            </a:lvl1pPr>
          </a:lstStyle>
          <a:p>
            <a:pPr>
              <a:defRPr/>
            </a:pPr>
            <a:fld id="{D25332B7-E96F-40AF-987A-21A9BD140C81}" type="datetime1">
              <a:rPr lang="th-TH" smtClean="0"/>
              <a:pPr>
                <a:defRPr/>
              </a:pPr>
              <a:t>21/02/62</a:t>
            </a:fld>
            <a:endParaRPr lang="en-US"/>
          </a:p>
        </p:txBody>
      </p:sp>
      <p:sp>
        <p:nvSpPr>
          <p:cNvPr id="5" name="Rectangle 5"/>
          <p:cNvSpPr>
            <a:spLocks noGrp="1" noChangeArrowheads="1"/>
          </p:cNvSpPr>
          <p:nvPr>
            <p:ph type="ftr" sz="quarter" idx="11"/>
          </p:nvPr>
        </p:nvSpPr>
        <p:spPr>
          <a:xfrm>
            <a:off x="3124200" y="6248400"/>
            <a:ext cx="2895600" cy="457200"/>
          </a:xfrm>
          <a:prstGeom prst="rect">
            <a:avLst/>
          </a:prstGeom>
          <a:ln/>
        </p:spPr>
        <p:txBody>
          <a:bodyPr/>
          <a:lstStyle>
            <a:lvl1pPr>
              <a:defRPr/>
            </a:lvl1pPr>
          </a:lstStyle>
          <a:p>
            <a:pPr>
              <a:defRPr/>
            </a:pPr>
            <a:endParaRPr lang="en-US"/>
          </a:p>
        </p:txBody>
      </p:sp>
      <p:sp>
        <p:nvSpPr>
          <p:cNvPr id="7" name="Slide Number Placeholder 5"/>
          <p:cNvSpPr>
            <a:spLocks noGrp="1"/>
          </p:cNvSpPr>
          <p:nvPr>
            <p:ph type="sldNum" sz="quarter" idx="4"/>
          </p:nvPr>
        </p:nvSpPr>
        <p:spPr>
          <a:xfrm>
            <a:off x="8787337" y="4581128"/>
            <a:ext cx="430893" cy="365125"/>
          </a:xfrm>
          <a:prstGeom prst="rect">
            <a:avLst/>
          </a:prstGeom>
        </p:spPr>
        <p:txBody>
          <a:bodyPr vert="horz" lIns="91440" tIns="45720" rIns="91440" bIns="45720" rtlCol="0" anchor="ctr"/>
          <a:lstStyle>
            <a:lvl1pPr algn="r">
              <a:defRPr sz="1600">
                <a:solidFill>
                  <a:schemeClr val="tx1">
                    <a:tint val="75000"/>
                  </a:schemeClr>
                </a:solidFill>
                <a:latin typeface="AngsanaUPC" panose="02020603050405020304" pitchFamily="18" charset="-34"/>
                <a:cs typeface="AngsanaUPC" panose="02020603050405020304" pitchFamily="18" charset="-34"/>
              </a:defRPr>
            </a:lvl1pPr>
          </a:lstStyle>
          <a:p>
            <a:pPr>
              <a:defRPr/>
            </a:pPr>
            <a:fld id="{9DA99F2A-1CA3-4175-8486-CAD88CF786FA}" type="slidenum">
              <a:rPr lang="en-US" smtClean="0"/>
              <a:pPr>
                <a:defRPr/>
              </a:pPr>
              <a:t>‹#›</a:t>
            </a:fld>
            <a:endParaRPr lang="en-US"/>
          </a:p>
        </p:txBody>
      </p:sp>
    </p:spTree>
    <p:extLst>
      <p:ext uri="{BB962C8B-B14F-4D97-AF65-F5344CB8AC3E}">
        <p14:creationId xmlns:p14="http://schemas.microsoft.com/office/powerpoint/2010/main" val="1817004853"/>
      </p:ext>
    </p:extLst>
  </p:cSld>
  <p:clrMapOvr>
    <a:masterClrMapping/>
  </p:clrMapOvr>
  <p:transition>
    <p:strips dir="ru"/>
  </p:transition>
  <p:timing>
    <p:tnLst>
      <p:par>
        <p:cTn id="1" dur="indefinite" restart="never" nodeType="tmRoot"/>
      </p:par>
    </p:tnLst>
  </p:timing>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cSld name="ว่างเปล่า">
    <p:spTree>
      <p:nvGrpSpPr>
        <p:cNvPr id="1" name=""/>
        <p:cNvGrpSpPr/>
        <p:nvPr/>
      </p:nvGrpSpPr>
      <p:grpSpPr>
        <a:xfrm>
          <a:off x="0" y="0"/>
          <a:ext cx="0" cy="0"/>
          <a:chOff x="0" y="0"/>
          <a:chExt cx="0" cy="0"/>
        </a:xfrm>
      </p:grpSpPr>
      <p:sp>
        <p:nvSpPr>
          <p:cNvPr id="2" name="ตัวแทนวันที่ 3"/>
          <p:cNvSpPr>
            <a:spLocks noGrp="1"/>
          </p:cNvSpPr>
          <p:nvPr>
            <p:ph type="dt" sz="half" idx="10"/>
          </p:nvPr>
        </p:nvSpPr>
        <p:spPr>
          <a:xfrm>
            <a:off x="457200" y="6356397"/>
            <a:ext cx="2133600" cy="365125"/>
          </a:xfrm>
          <a:prstGeom prst="rect">
            <a:avLst/>
          </a:prstGeom>
        </p:spPr>
        <p:txBody>
          <a:bodyPr/>
          <a:lstStyle>
            <a:lvl1pPr>
              <a:defRPr/>
            </a:lvl1pPr>
          </a:lstStyle>
          <a:p>
            <a:pPr>
              <a:defRPr/>
            </a:pPr>
            <a:fld id="{27FF21C6-1C68-4CA3-ABDD-550F45D0D9AB}" type="datetime1">
              <a:rPr lang="th-TH">
                <a:solidFill>
                  <a:prstClr val="black">
                    <a:tint val="75000"/>
                  </a:prstClr>
                </a:solidFill>
              </a:rPr>
              <a:pPr>
                <a:defRPr/>
              </a:pPr>
              <a:t>21/02/62</a:t>
            </a:fld>
            <a:endParaRPr lang="th-TH">
              <a:solidFill>
                <a:prstClr val="black">
                  <a:tint val="75000"/>
                </a:prstClr>
              </a:solidFill>
            </a:endParaRPr>
          </a:p>
        </p:txBody>
      </p:sp>
      <p:sp>
        <p:nvSpPr>
          <p:cNvPr id="3" name="ตัวแทนท้ายกระดาษ 4"/>
          <p:cNvSpPr>
            <a:spLocks noGrp="1"/>
          </p:cNvSpPr>
          <p:nvPr>
            <p:ph type="ftr" sz="quarter" idx="11"/>
          </p:nvPr>
        </p:nvSpPr>
        <p:spPr>
          <a:xfrm>
            <a:off x="3124200" y="6356397"/>
            <a:ext cx="2895600" cy="365125"/>
          </a:xfrm>
          <a:prstGeom prst="rect">
            <a:avLst/>
          </a:prstGeom>
        </p:spPr>
        <p:txBody>
          <a:bodyPr/>
          <a:lstStyle>
            <a:lvl1pPr>
              <a:defRPr/>
            </a:lvl1pPr>
          </a:lstStyle>
          <a:p>
            <a:pPr>
              <a:defRPr/>
            </a:pPr>
            <a:endParaRPr lang="th-TH">
              <a:solidFill>
                <a:prstClr val="black">
                  <a:tint val="75000"/>
                </a:prstClr>
              </a:solidFill>
            </a:endParaRPr>
          </a:p>
        </p:txBody>
      </p:sp>
      <p:sp>
        <p:nvSpPr>
          <p:cNvPr id="4" name="ตัวแทนหมายเลขภาพนิ่ง 5"/>
          <p:cNvSpPr>
            <a:spLocks noGrp="1"/>
          </p:cNvSpPr>
          <p:nvPr>
            <p:ph type="sldNum" sz="quarter" idx="12"/>
          </p:nvPr>
        </p:nvSpPr>
        <p:spPr/>
        <p:txBody>
          <a:bodyPr/>
          <a:lstStyle>
            <a:lvl1pPr>
              <a:defRPr/>
            </a:lvl1pPr>
          </a:lstStyle>
          <a:p>
            <a:pPr>
              <a:defRPr/>
            </a:pPr>
            <a:fld id="{EBEC4AB7-1BB9-49CE-8842-E2D8182EE8F3}" type="slidenum">
              <a:rPr lang="th-TH">
                <a:solidFill>
                  <a:prstClr val="black">
                    <a:tint val="75000"/>
                  </a:prstClr>
                </a:solidFill>
              </a:rPr>
              <a:pPr>
                <a:defRPr/>
              </a:pPr>
              <a:t>‹#›</a:t>
            </a:fld>
            <a:endParaRPr lang="th-TH">
              <a:solidFill>
                <a:prstClr val="black">
                  <a:tint val="75000"/>
                </a:prstClr>
              </a:solidFill>
            </a:endParaRPr>
          </a:p>
        </p:txBody>
      </p:sp>
    </p:spTree>
    <p:extLst>
      <p:ext uri="{BB962C8B-B14F-4D97-AF65-F5344CB8AC3E}">
        <p14:creationId xmlns:p14="http://schemas.microsoft.com/office/powerpoint/2010/main" val="4235879763"/>
      </p:ext>
    </p:extLst>
  </p:cSld>
  <p:clrMapOvr>
    <a:masterClrMapping/>
  </p:clrMapOvr>
  <p:transition spd="med" advClick="0" advTm="700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Header">
    <p:spTree>
      <p:nvGrpSpPr>
        <p:cNvPr id="1" name=""/>
        <p:cNvGrpSpPr/>
        <p:nvPr/>
      </p:nvGrpSpPr>
      <p:grpSpPr>
        <a:xfrm>
          <a:off x="0" y="0"/>
          <a:ext cx="0" cy="0"/>
          <a:chOff x="0" y="0"/>
          <a:chExt cx="0" cy="0"/>
        </a:xfrm>
      </p:grpSpPr>
      <p:sp>
        <p:nvSpPr>
          <p:cNvPr id="13" name="Rectangle 12"/>
          <p:cNvSpPr/>
          <p:nvPr/>
        </p:nvSpPr>
        <p:spPr>
          <a:xfrm>
            <a:off x="533399" y="6239849"/>
            <a:ext cx="8251825" cy="437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h-TH" sz="2800" b="0" i="0" u="none" strike="noStrike" kern="1200" cap="none" spc="0" normalizeH="0" baseline="0" noProof="0" dirty="0">
              <a:ln>
                <a:noFill/>
              </a:ln>
              <a:solidFill>
                <a:prstClr val="white"/>
              </a:solidFill>
              <a:effectLst/>
              <a:uLnTx/>
              <a:uFillTx/>
              <a:latin typeface="AngsanaUPC" panose="02020603050405020304" pitchFamily="18" charset="-34"/>
              <a:ea typeface="+mn-ea"/>
              <a:cs typeface="TH Sarabun New"/>
            </a:endParaRPr>
          </a:p>
        </p:txBody>
      </p:sp>
      <p:sp>
        <p:nvSpPr>
          <p:cNvPr id="4" name="Slide Number Placeholder 5"/>
          <p:cNvSpPr>
            <a:spLocks noGrp="1"/>
          </p:cNvSpPr>
          <p:nvPr>
            <p:ph type="sldNum" sz="quarter" idx="4"/>
          </p:nvPr>
        </p:nvSpPr>
        <p:spPr>
          <a:xfrm>
            <a:off x="8787337" y="4581128"/>
            <a:ext cx="430893" cy="365125"/>
          </a:xfrm>
          <a:prstGeom prst="rect">
            <a:avLst/>
          </a:prstGeom>
        </p:spPr>
        <p:txBody>
          <a:bodyPr vert="horz" lIns="91440" tIns="45720" rIns="91440" bIns="45720" rtlCol="0" anchor="ctr"/>
          <a:lstStyle>
            <a:lvl1pPr algn="r">
              <a:defRPr sz="1600">
                <a:solidFill>
                  <a:schemeClr val="tx1">
                    <a:tint val="75000"/>
                  </a:schemeClr>
                </a:solidFill>
                <a:latin typeface="AngsanaUPC" panose="02020603050405020304" pitchFamily="18" charset="-34"/>
                <a:cs typeface="AngsanaUPC" panose="02020603050405020304" pitchFamily="18" charset="-34"/>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892B0ED-4054-42B7-A893-2D57CE8DC8A6}" type="slidenum">
              <a:rPr kumimoji="0" lang="th-TH"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th-TH" sz="1600" b="0" i="0" u="none" strike="noStrike" kern="1200" cap="none" spc="0" normalizeH="0" baseline="0" noProof="0" dirty="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199623801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h-TH"/>
          </a:p>
        </p:txBody>
      </p:sp>
      <p:sp>
        <p:nvSpPr>
          <p:cNvPr id="3" name="Rectangle 4"/>
          <p:cNvSpPr>
            <a:spLocks noGrp="1" noChangeArrowheads="1"/>
          </p:cNvSpPr>
          <p:nvPr>
            <p:ph type="dt" sz="half" idx="10"/>
          </p:nvPr>
        </p:nvSpPr>
        <p:spPr/>
        <p:txBody>
          <a:bodyPr/>
          <a:lstStyle>
            <a:lvl1pPr>
              <a:defRPr sz="2600"/>
            </a:lvl1pPr>
          </a:lstStyle>
          <a:p>
            <a:pPr>
              <a:defRPr/>
            </a:pPr>
            <a:endParaRPr lang="en-US"/>
          </a:p>
        </p:txBody>
      </p:sp>
      <p:sp>
        <p:nvSpPr>
          <p:cNvPr id="4" name="Rectangle 5"/>
          <p:cNvSpPr>
            <a:spLocks noGrp="1" noChangeArrowheads="1"/>
          </p:cNvSpPr>
          <p:nvPr>
            <p:ph type="ftr" sz="quarter" idx="11"/>
          </p:nvPr>
        </p:nvSpPr>
        <p:spPr/>
        <p:txBody>
          <a:bodyPr/>
          <a:lstStyle>
            <a:lvl1pPr>
              <a:defRPr sz="2600"/>
            </a:lvl1pPr>
          </a:lstStyle>
          <a:p>
            <a:pPr>
              <a:defRPr/>
            </a:pPr>
            <a:endParaRPr lang="en-US"/>
          </a:p>
        </p:txBody>
      </p:sp>
      <p:sp>
        <p:nvSpPr>
          <p:cNvPr id="5" name="Rectangle 6"/>
          <p:cNvSpPr>
            <a:spLocks noGrp="1" noChangeArrowheads="1"/>
          </p:cNvSpPr>
          <p:nvPr>
            <p:ph type="sldNum" sz="quarter" idx="12"/>
          </p:nvPr>
        </p:nvSpPr>
        <p:spPr/>
        <p:txBody>
          <a:bodyPr/>
          <a:lstStyle>
            <a:lvl1pPr>
              <a:defRPr sz="2400" i="1">
                <a:solidFill>
                  <a:schemeClr val="bg1"/>
                </a:solidFill>
                <a:effectDag name="">
                  <a:cont type="tree" name="">
                    <a:effect ref="fillLine"/>
                    <a:outerShdw dist="38100" dir="13500000" algn="br">
                      <a:srgbClr val="FF92E9"/>
                    </a:outerShdw>
                  </a:cont>
                  <a:cont type="tree" name="">
                    <a:effect ref="fillLine"/>
                    <a:outerShdw dist="38100" dir="2700000" algn="tl">
                      <a:srgbClr val="6A255C"/>
                    </a:outerShdw>
                  </a:cont>
                  <a:effect ref="fillLine"/>
                </a:effectDag>
                <a:latin typeface="BrowalliaUPC" pitchFamily="34" charset="-34"/>
              </a:defRPr>
            </a:lvl1pPr>
          </a:lstStyle>
          <a:p>
            <a:pPr>
              <a:defRPr/>
            </a:pPr>
            <a:fld id="{F0DD4A88-1018-45CC-946A-75514F40A1A3}" type="slidenum">
              <a:rPr lang="en-US">
                <a:solidFill>
                  <a:srgbClr val="B13F9A"/>
                </a:solidFill>
              </a:rPr>
              <a:pPr>
                <a:defRPr/>
              </a:pPr>
              <a:t>‹#›</a:t>
            </a:fld>
            <a:endParaRPr lang="th-TH">
              <a:solidFill>
                <a:srgbClr val="B13F9A"/>
              </a:solidFill>
            </a:endParaRPr>
          </a:p>
        </p:txBody>
      </p:sp>
    </p:spTree>
    <p:extLst>
      <p:ext uri="{BB962C8B-B14F-4D97-AF65-F5344CB8AC3E}">
        <p14:creationId xmlns:p14="http://schemas.microsoft.com/office/powerpoint/2010/main" val="29892137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892B0ED-4054-42B7-A893-2D57CE8DC8A6}" type="slidenum">
              <a:rPr kumimoji="0" lang="th-TH" sz="1600" b="1"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th-TH" sz="1600" b="1"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233976571"/>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892B0ED-4054-42B7-A893-2D57CE8DC8A6}" type="slidenum">
              <a:rPr kumimoji="0" lang="th-TH" sz="1600" b="1"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th-TH" sz="1600" b="1"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3677828539"/>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892B0ED-4054-42B7-A893-2D57CE8DC8A6}" type="slidenum">
              <a:rPr kumimoji="0" lang="th-TH" sz="1600" b="1"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th-TH" sz="1600" b="1"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1832968861"/>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892B0ED-4054-42B7-A893-2D57CE8DC8A6}" type="slidenum">
              <a:rPr kumimoji="0" lang="th-TH" sz="1600" b="1"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th-TH" sz="1600" b="1"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cxnSp>
        <p:nvCxnSpPr>
          <p:cNvPr id="8" name="Straight Connector 7"/>
          <p:cNvCxnSpPr/>
          <p:nvPr/>
        </p:nvCxnSpPr>
        <p:spPr>
          <a:xfrm flipH="1">
            <a:off x="755575" y="296863"/>
            <a:ext cx="1" cy="558543"/>
          </a:xfrm>
          <a:prstGeom prst="line">
            <a:avLst/>
          </a:prstGeom>
          <a:ln w="19050">
            <a:solidFill>
              <a:srgbClr val="FF461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0" y="6019800"/>
            <a:ext cx="9144000" cy="838200"/>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th-TH" sz="2400" b="1" i="0" u="none" strike="noStrike" kern="1200" cap="none" spc="0" normalizeH="0" baseline="0" noProof="0" dirty="0">
              <a:ln>
                <a:noFill/>
              </a:ln>
              <a:solidFill>
                <a:prstClr val="black"/>
              </a:solidFill>
              <a:effectLst/>
              <a:uLnTx/>
              <a:uFillTx/>
              <a:latin typeface="AngsanaUPC" panose="02020603050405020304" pitchFamily="18" charset="-34"/>
              <a:ea typeface="+mn-ea"/>
              <a:cs typeface="TH Sarabun New"/>
            </a:endParaRPr>
          </a:p>
        </p:txBody>
      </p:sp>
      <p:sp>
        <p:nvSpPr>
          <p:cNvPr id="4" name="Rectangle 3"/>
          <p:cNvSpPr/>
          <p:nvPr/>
        </p:nvSpPr>
        <p:spPr>
          <a:xfrm>
            <a:off x="0" y="0"/>
            <a:ext cx="8915400" cy="990600"/>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th-TH" sz="2400" b="1" i="0" u="none" strike="noStrike" kern="1200" cap="none" spc="0" normalizeH="0" baseline="0" noProof="0" dirty="0">
              <a:ln>
                <a:noFill/>
              </a:ln>
              <a:solidFill>
                <a:prstClr val="black"/>
              </a:solidFill>
              <a:effectLst/>
              <a:uLnTx/>
              <a:uFillTx/>
              <a:latin typeface="AngsanaUPC" panose="02020603050405020304" pitchFamily="18" charset="-34"/>
              <a:ea typeface="+mn-ea"/>
              <a:cs typeface="TH Sarabun New"/>
            </a:endParaRPr>
          </a:p>
        </p:txBody>
      </p:sp>
    </p:spTree>
    <p:extLst>
      <p:ext uri="{BB962C8B-B14F-4D97-AF65-F5344CB8AC3E}">
        <p14:creationId xmlns:p14="http://schemas.microsoft.com/office/powerpoint/2010/main" val="639194603"/>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892B0ED-4054-42B7-A893-2D57CE8DC8A6}" type="slidenum">
              <a:rPr kumimoji="0" lang="th-TH" sz="1600" b="1"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th-TH" sz="1600" b="1"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
        <p:nvSpPr>
          <p:cNvPr id="8" name="Rectangle 7"/>
          <p:cNvSpPr/>
          <p:nvPr/>
        </p:nvSpPr>
        <p:spPr>
          <a:xfrm>
            <a:off x="0" y="6019800"/>
            <a:ext cx="9144000" cy="838200"/>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th-TH" sz="2400" b="1" i="0" u="none" strike="noStrike" kern="1200" cap="none" spc="0" normalizeH="0" baseline="0" noProof="0" dirty="0">
              <a:ln>
                <a:noFill/>
              </a:ln>
              <a:solidFill>
                <a:prstClr val="black"/>
              </a:solidFill>
              <a:effectLst/>
              <a:uLnTx/>
              <a:uFillTx/>
              <a:latin typeface="AngsanaUPC" panose="02020603050405020304" pitchFamily="18" charset="-34"/>
              <a:ea typeface="+mn-ea"/>
              <a:cs typeface="TH Sarabun New"/>
            </a:endParaRPr>
          </a:p>
        </p:txBody>
      </p:sp>
    </p:spTree>
    <p:extLst>
      <p:ext uri="{BB962C8B-B14F-4D97-AF65-F5344CB8AC3E}">
        <p14:creationId xmlns:p14="http://schemas.microsoft.com/office/powerpoint/2010/main" val="809884590"/>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892B0ED-4054-42B7-A893-2D57CE8DC8A6}" type="slidenum">
              <a:rPr kumimoji="0" lang="th-TH" sz="1600" b="1"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th-TH" sz="1600" b="1"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
        <p:nvSpPr>
          <p:cNvPr id="11" name="Rectangle 10"/>
          <p:cNvSpPr/>
          <p:nvPr/>
        </p:nvSpPr>
        <p:spPr>
          <a:xfrm>
            <a:off x="0" y="6019800"/>
            <a:ext cx="9144000" cy="838200"/>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th-TH" sz="2400" b="1" i="0" u="none" strike="noStrike" kern="1200" cap="none" spc="0" normalizeH="0" baseline="0" noProof="0" dirty="0">
              <a:ln>
                <a:noFill/>
              </a:ln>
              <a:solidFill>
                <a:prstClr val="black"/>
              </a:solidFill>
              <a:effectLst/>
              <a:uLnTx/>
              <a:uFillTx/>
              <a:latin typeface="AngsanaUPC" panose="02020603050405020304" pitchFamily="18" charset="-34"/>
              <a:ea typeface="+mn-ea"/>
              <a:cs typeface="TH Sarabun New"/>
            </a:endParaRPr>
          </a:p>
        </p:txBody>
      </p:sp>
    </p:spTree>
    <p:extLst>
      <p:ext uri="{BB962C8B-B14F-4D97-AF65-F5344CB8AC3E}">
        <p14:creationId xmlns:p14="http://schemas.microsoft.com/office/powerpoint/2010/main" val="1372118950"/>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892B0ED-4054-42B7-A893-2D57CE8DC8A6}" type="slidenum">
              <a:rPr kumimoji="0" lang="th-TH" sz="1600" b="1"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th-TH" sz="1600" b="1"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
        <p:nvSpPr>
          <p:cNvPr id="11" name="Rectangle 10"/>
          <p:cNvSpPr/>
          <p:nvPr/>
        </p:nvSpPr>
        <p:spPr>
          <a:xfrm>
            <a:off x="0" y="6019800"/>
            <a:ext cx="9144000" cy="838200"/>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th-TH" sz="2400" b="1" i="0" u="none" strike="noStrike" kern="1200" cap="none" spc="0" normalizeH="0" baseline="0" noProof="0" dirty="0">
              <a:ln>
                <a:noFill/>
              </a:ln>
              <a:solidFill>
                <a:prstClr val="black"/>
              </a:solidFill>
              <a:effectLst/>
              <a:uLnTx/>
              <a:uFillTx/>
              <a:latin typeface="AngsanaUPC" panose="02020603050405020304" pitchFamily="18" charset="-34"/>
              <a:ea typeface="+mn-ea"/>
              <a:cs typeface="TH Sarabun New"/>
            </a:endParaRPr>
          </a:p>
        </p:txBody>
      </p:sp>
    </p:spTree>
    <p:extLst>
      <p:ext uri="{BB962C8B-B14F-4D97-AF65-F5344CB8AC3E}">
        <p14:creationId xmlns:p14="http://schemas.microsoft.com/office/powerpoint/2010/main" val="3207069416"/>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892B0ED-4054-42B7-A893-2D57CE8DC8A6}" type="slidenum">
              <a:rPr kumimoji="0" lang="th-TH" sz="1600" b="1"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th-TH" sz="1600" b="1"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
        <p:nvSpPr>
          <p:cNvPr id="10" name="Rectangle 9"/>
          <p:cNvSpPr/>
          <p:nvPr/>
        </p:nvSpPr>
        <p:spPr>
          <a:xfrm>
            <a:off x="0" y="6019800"/>
            <a:ext cx="9144000" cy="838200"/>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th-TH" sz="2400" b="1" i="0" u="none" strike="noStrike" kern="1200" cap="none" spc="0" normalizeH="0" baseline="0" noProof="0" dirty="0">
              <a:ln>
                <a:noFill/>
              </a:ln>
              <a:solidFill>
                <a:prstClr val="black"/>
              </a:solidFill>
              <a:effectLst/>
              <a:uLnTx/>
              <a:uFillTx/>
              <a:latin typeface="AngsanaUPC" panose="02020603050405020304" pitchFamily="18" charset="-34"/>
              <a:ea typeface="+mn-ea"/>
              <a:cs typeface="TH Sarabun New"/>
            </a:endParaRPr>
          </a:p>
        </p:txBody>
      </p:sp>
    </p:spTree>
    <p:extLst>
      <p:ext uri="{BB962C8B-B14F-4D97-AF65-F5344CB8AC3E}">
        <p14:creationId xmlns:p14="http://schemas.microsoft.com/office/powerpoint/2010/main" val="4184579917"/>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Vertical Title and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892B0ED-4054-42B7-A893-2D57CE8DC8A6}" type="slidenum">
              <a:rPr kumimoji="0" lang="th-TH" sz="1600" b="1"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th-TH" sz="1600" b="1"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
        <p:nvSpPr>
          <p:cNvPr id="10" name="Rectangle 9"/>
          <p:cNvSpPr/>
          <p:nvPr/>
        </p:nvSpPr>
        <p:spPr>
          <a:xfrm>
            <a:off x="0" y="6019800"/>
            <a:ext cx="9144000" cy="838200"/>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th-TH" sz="2400" b="1" i="0" u="none" strike="noStrike" kern="1200" cap="none" spc="0" normalizeH="0" baseline="0" noProof="0" dirty="0">
              <a:ln>
                <a:noFill/>
              </a:ln>
              <a:solidFill>
                <a:prstClr val="black"/>
              </a:solidFill>
              <a:effectLst/>
              <a:uLnTx/>
              <a:uFillTx/>
              <a:latin typeface="AngsanaUPC" panose="02020603050405020304" pitchFamily="18" charset="-34"/>
              <a:ea typeface="+mn-ea"/>
              <a:cs typeface="TH Sarabun New"/>
            </a:endParaRPr>
          </a:p>
        </p:txBody>
      </p:sp>
    </p:spTree>
    <p:extLst>
      <p:ext uri="{BB962C8B-B14F-4D97-AF65-F5344CB8AC3E}">
        <p14:creationId xmlns:p14="http://schemas.microsoft.com/office/powerpoint/2010/main" val="10394923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304800"/>
            <a:ext cx="7772400" cy="1143000"/>
          </a:xfrm>
          <a:prstGeom prst="rect">
            <a:avLst/>
          </a:prstGeom>
        </p:spPr>
        <p:txBody>
          <a:bodyPr/>
          <a:lstStyle>
            <a:lvl1pPr>
              <a:defRPr>
                <a:latin typeface="AngsanaUPC" panose="02020603050405020304" pitchFamily="18" charset="-34"/>
                <a:cs typeface="AngsanaUPC" panose="02020603050405020304" pitchFamily="18" charset="-34"/>
              </a:defRPr>
            </a:lvl1pPr>
          </a:lstStyle>
          <a:p>
            <a:r>
              <a:rPr lang="en-US" dirty="0" smtClean="0"/>
              <a:t>Click to edit Master title style</a:t>
            </a:r>
            <a:endParaRPr lang="en-US" dirty="0"/>
          </a:p>
        </p:txBody>
      </p:sp>
      <p:sp>
        <p:nvSpPr>
          <p:cNvPr id="3" name="Content Placeholder 2"/>
          <p:cNvSpPr>
            <a:spLocks noGrp="1"/>
          </p:cNvSpPr>
          <p:nvPr>
            <p:ph idx="1"/>
          </p:nvPr>
        </p:nvSpPr>
        <p:spPr>
          <a:xfrm>
            <a:off x="685800" y="1676400"/>
            <a:ext cx="7772400" cy="4419600"/>
          </a:xfrm>
          <a:prstGeom prst="rect">
            <a:avLst/>
          </a:prstGeom>
        </p:spPr>
        <p:txBody>
          <a:bodyPr/>
          <a:lstStyle>
            <a:lvl1pPr>
              <a:defRPr>
                <a:latin typeface="AngsanaUPC" panose="02020603050405020304" pitchFamily="18" charset="-34"/>
              </a:defRPr>
            </a:lvl1pPr>
            <a:lvl2pPr>
              <a:defRPr>
                <a:latin typeface="AngsanaUPC" panose="02020603050405020304" pitchFamily="18" charset="-34"/>
              </a:defRPr>
            </a:lvl2pPr>
            <a:lvl3pPr>
              <a:defRPr>
                <a:latin typeface="AngsanaUPC" panose="02020603050405020304" pitchFamily="18" charset="-34"/>
              </a:defRPr>
            </a:lvl3pPr>
            <a:lvl4pPr>
              <a:defRPr>
                <a:latin typeface="AngsanaUPC" panose="02020603050405020304" pitchFamily="18" charset="-34"/>
              </a:defRPr>
            </a:lvl4pPr>
            <a:lvl5pPr>
              <a:defRPr>
                <a:latin typeface="AngsanaUPC" panose="02020603050405020304" pitchFamily="18" charset="-34"/>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4"/>
          <p:cNvSpPr>
            <a:spLocks noGrp="1" noChangeArrowheads="1"/>
          </p:cNvSpPr>
          <p:nvPr>
            <p:ph type="dt" sz="half" idx="10"/>
          </p:nvPr>
        </p:nvSpPr>
        <p:spPr>
          <a:xfrm>
            <a:off x="685800" y="6248400"/>
            <a:ext cx="1905000" cy="457200"/>
          </a:xfrm>
          <a:prstGeom prst="rect">
            <a:avLst/>
          </a:prstGeom>
          <a:ln/>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F4732D95-D9A0-4DEC-ABFD-85EA8EBD6498}" type="datetime1">
              <a:rPr kumimoji="0" lang="en-US" sz="2400" b="1" i="0" u="none" strike="noStrike" kern="1200" cap="none" spc="0" normalizeH="0" baseline="0" noProof="0" smtClean="0">
                <a:ln>
                  <a:noFill/>
                </a:ln>
                <a:solidFill>
                  <a:prstClr val="black"/>
                </a:solidFill>
                <a:effectLst/>
                <a:uLnTx/>
                <a:uFillTx/>
                <a:latin typeface="Times New Roman" pitchFamily="18" charset="0"/>
                <a:ea typeface="+mn-ea"/>
                <a:cs typeface="TH Sarabun New"/>
              </a:rPr>
              <a:pPr marL="0" marR="0" lvl="0" indent="0" algn="l" defTabSz="914400" rtl="0" eaLnBrk="1" fontAlgn="base" latinLnBrk="0" hangingPunct="1">
                <a:lnSpc>
                  <a:spcPct val="100000"/>
                </a:lnSpc>
                <a:spcBef>
                  <a:spcPct val="0"/>
                </a:spcBef>
                <a:spcAft>
                  <a:spcPct val="0"/>
                </a:spcAft>
                <a:buClrTx/>
                <a:buSzTx/>
                <a:buFontTx/>
                <a:buNone/>
                <a:tabLst/>
                <a:defRPr/>
              </a:pPr>
              <a:t>2/21/2019</a:t>
            </a:fld>
            <a:endParaRPr kumimoji="0" lang="th-TH" sz="2400" b="1" i="0" u="none" strike="noStrike" kern="1200" cap="none" spc="0" normalizeH="0" baseline="0" noProof="0">
              <a:ln>
                <a:noFill/>
              </a:ln>
              <a:solidFill>
                <a:prstClr val="black"/>
              </a:solidFill>
              <a:effectLst/>
              <a:uLnTx/>
              <a:uFillTx/>
              <a:latin typeface="Times New Roman" pitchFamily="18" charset="0"/>
              <a:ea typeface="+mn-ea"/>
              <a:cs typeface="TH Sarabun New"/>
            </a:endParaRPr>
          </a:p>
        </p:txBody>
      </p:sp>
      <p:sp>
        <p:nvSpPr>
          <p:cNvPr id="5" name="Rectangle 5"/>
          <p:cNvSpPr>
            <a:spLocks noGrp="1" noChangeArrowheads="1"/>
          </p:cNvSpPr>
          <p:nvPr>
            <p:ph type="ftr" sz="quarter" idx="11"/>
          </p:nvPr>
        </p:nvSpPr>
        <p:spPr>
          <a:xfrm>
            <a:off x="3124200" y="6248400"/>
            <a:ext cx="2895600" cy="457200"/>
          </a:xfrm>
          <a:prstGeom prst="rect">
            <a:avLst/>
          </a:prstGeom>
          <a:ln/>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400" b="1" i="0" u="none" strike="noStrike" kern="1200" cap="none" spc="0" normalizeH="0" baseline="0" noProof="0">
              <a:ln>
                <a:noFill/>
              </a:ln>
              <a:solidFill>
                <a:prstClr val="black"/>
              </a:solidFill>
              <a:effectLst/>
              <a:uLnTx/>
              <a:uFillTx/>
              <a:latin typeface="Times New Roman" pitchFamily="18" charset="0"/>
              <a:ea typeface="+mn-ea"/>
              <a:cs typeface="TH Sarabun New"/>
            </a:endParaRPr>
          </a:p>
        </p:txBody>
      </p:sp>
      <p:sp>
        <p:nvSpPr>
          <p:cNvPr id="7" name="Slide Number Placeholder 5"/>
          <p:cNvSpPr>
            <a:spLocks noGrp="1"/>
          </p:cNvSpPr>
          <p:nvPr>
            <p:ph type="sldNum" sz="quarter" idx="4"/>
          </p:nvPr>
        </p:nvSpPr>
        <p:spPr>
          <a:xfrm>
            <a:off x="8787337" y="4581128"/>
            <a:ext cx="430893" cy="365125"/>
          </a:xfrm>
          <a:prstGeom prst="rect">
            <a:avLst/>
          </a:prstGeom>
        </p:spPr>
        <p:txBody>
          <a:bodyPr vert="horz" lIns="91440" tIns="45720" rIns="91440" bIns="45720" rtlCol="0" anchor="ctr"/>
          <a:lstStyle>
            <a:lvl1pPr algn="r">
              <a:defRPr sz="1600">
                <a:solidFill>
                  <a:schemeClr val="tx1">
                    <a:tint val="75000"/>
                  </a:schemeClr>
                </a:solidFill>
                <a:latin typeface="AngsanaUPC" panose="02020603050405020304" pitchFamily="18" charset="-34"/>
                <a:cs typeface="AngsanaUPC" panose="02020603050405020304" pitchFamily="18" charset="-34"/>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892B0ED-4054-42B7-A893-2D57CE8DC8A6}" type="slidenum">
              <a:rPr kumimoji="0" lang="th-TH"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th-TH" sz="1600" b="0" i="0" u="none" strike="noStrike" kern="1200" cap="none" spc="0" normalizeH="0" baseline="0" noProof="0" dirty="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3959332837"/>
      </p:ext>
    </p:extLst>
  </p:cSld>
  <p:clrMapOvr>
    <a:masterClrMapping/>
  </p:clrMapOvr>
  <p:transition>
    <p:strips dir="ru"/>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000360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lvl1pPr>
              <a:defRPr>
                <a:latin typeface="AngsanaUPC" panose="02020603050405020304" pitchFamily="18" charset="-34"/>
                <a:cs typeface="AngsanaUPC" panose="02020603050405020304" pitchFamily="18" charset="-34"/>
              </a:defRPr>
            </a:lvl1pPr>
          </a:lstStyle>
          <a:p>
            <a:r>
              <a:rPr lang="en-US" dirty="0"/>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latin typeface="AngsanaUPC" panose="02020603050405020304" pitchFamily="18" charset="-34"/>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4" name="Date Placeholder 3">
            <a:extLst>
              <a:ext uri="{FF2B5EF4-FFF2-40B4-BE49-F238E27FC236}">
                <a16:creationId xmlns:a16="http://schemas.microsoft.com/office/drawing/2014/main" xmlns="" id="{62BD92BF-F03A-4A0A-A7B9-61662E8E30C8}"/>
              </a:ext>
            </a:extLst>
          </p:cNvPr>
          <p:cNvSpPr>
            <a:spLocks noGrp="1"/>
          </p:cNvSpPr>
          <p:nvPr>
            <p:ph type="dt" sz="half" idx="10"/>
          </p:nvPr>
        </p:nvSpPr>
        <p:spPr>
          <a:xfrm>
            <a:off x="457200" y="6356350"/>
            <a:ext cx="2133600" cy="365125"/>
          </a:xfrm>
          <a:prstGeom prst="rect">
            <a:avLst/>
          </a:prstGeom>
        </p:spPr>
        <p:txBody>
          <a:bodyPr/>
          <a:lstStyle>
            <a:lvl1pPr fontAlgn="base">
              <a:spcBef>
                <a:spcPct val="0"/>
              </a:spcBef>
              <a:spcAft>
                <a:spcPct val="0"/>
              </a:spcAft>
              <a:defRPr>
                <a:latin typeface="Arial" pitchFamily="34" charset="0"/>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F52330CF-744C-498B-B5F5-B540FF30B970}" type="datetime1">
              <a:rPr kumimoji="0" lang="en-US" sz="2800" b="1" i="0" u="none" strike="noStrike" kern="1200" cap="none" spc="0" normalizeH="0" baseline="0" noProof="0" smtClean="0">
                <a:ln>
                  <a:noFill/>
                </a:ln>
                <a:solidFill>
                  <a:srgbClr val="FFFF00"/>
                </a:solidFill>
                <a:effectLst/>
                <a:uLnTx/>
                <a:uFillTx/>
                <a:latin typeface="Arial" pitchFamily="34" charset="0"/>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2/21/2019</a:t>
            </a:fld>
            <a:endParaRPr kumimoji="0" lang="en-US" sz="2800" b="1" i="0" u="none" strike="noStrike" kern="1200" cap="none" spc="0" normalizeH="0" baseline="0" noProof="0">
              <a:ln>
                <a:noFill/>
              </a:ln>
              <a:solidFill>
                <a:srgbClr val="FFFF00"/>
              </a:solidFill>
              <a:effectLst/>
              <a:uLnTx/>
              <a:uFillTx/>
              <a:latin typeface="Arial" pitchFamily="34" charset="0"/>
              <a:ea typeface="+mn-ea"/>
              <a:cs typeface="Arial" pitchFamily="34" charset="0"/>
            </a:endParaRPr>
          </a:p>
        </p:txBody>
      </p:sp>
      <p:sp>
        <p:nvSpPr>
          <p:cNvPr id="5" name="Footer Placeholder 4">
            <a:extLst>
              <a:ext uri="{FF2B5EF4-FFF2-40B4-BE49-F238E27FC236}">
                <a16:creationId xmlns:a16="http://schemas.microsoft.com/office/drawing/2014/main" xmlns="" id="{C084E0ED-4589-4656-82CE-1A4A4ADEE6E7}"/>
              </a:ext>
            </a:extLst>
          </p:cNvPr>
          <p:cNvSpPr>
            <a:spLocks noGrp="1"/>
          </p:cNvSpPr>
          <p:nvPr>
            <p:ph type="ftr" sz="quarter" idx="11"/>
          </p:nvPr>
        </p:nvSpPr>
        <p:spPr>
          <a:xfrm>
            <a:off x="3124200" y="6356350"/>
            <a:ext cx="2895600" cy="365125"/>
          </a:xfrm>
          <a:prstGeom prst="rect">
            <a:avLst/>
          </a:prstGeom>
        </p:spPr>
        <p:txBody>
          <a:bodyPr/>
          <a:lstStyle>
            <a:lvl1pPr fontAlgn="base">
              <a:spcBef>
                <a:spcPct val="0"/>
              </a:spcBef>
              <a:spcAft>
                <a:spcPct val="0"/>
              </a:spcAft>
              <a:defRPr>
                <a:latin typeface="Arial" pitchFamily="34" charset="0"/>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FFFF00"/>
              </a:solidFill>
              <a:effectLst/>
              <a:uLnTx/>
              <a:uFillTx/>
              <a:latin typeface="Arial" pitchFamily="34" charset="0"/>
              <a:ea typeface="+mn-ea"/>
              <a:cs typeface="Arial" pitchFamily="34" charset="0"/>
            </a:endParaRPr>
          </a:p>
        </p:txBody>
      </p:sp>
      <p:sp>
        <p:nvSpPr>
          <p:cNvPr id="7" name="Slide Number Placeholder 5"/>
          <p:cNvSpPr>
            <a:spLocks noGrp="1"/>
          </p:cNvSpPr>
          <p:nvPr>
            <p:ph type="sldNum" sz="quarter" idx="4"/>
          </p:nvPr>
        </p:nvSpPr>
        <p:spPr>
          <a:xfrm>
            <a:off x="8787337" y="4581128"/>
            <a:ext cx="430893" cy="365125"/>
          </a:xfrm>
          <a:prstGeom prst="rect">
            <a:avLst/>
          </a:prstGeom>
        </p:spPr>
        <p:txBody>
          <a:bodyPr vert="horz" lIns="91440" tIns="45720" rIns="91440" bIns="45720" rtlCol="0" anchor="ctr"/>
          <a:lstStyle>
            <a:lvl1pPr algn="r">
              <a:defRPr sz="1600">
                <a:solidFill>
                  <a:schemeClr val="tx1">
                    <a:tint val="75000"/>
                  </a:schemeClr>
                </a:solidFill>
                <a:latin typeface="AngsanaUPC" panose="02020603050405020304" pitchFamily="18" charset="-34"/>
                <a:cs typeface="AngsanaUPC" panose="02020603050405020304" pitchFamily="18" charset="-34"/>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892B0ED-4054-42B7-A893-2D57CE8DC8A6}" type="slidenum">
              <a:rPr kumimoji="0" lang="th-TH"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th-TH" sz="1600" b="0" i="0" u="none" strike="noStrike" kern="1200" cap="none" spc="0" normalizeH="0" baseline="0" noProof="0" dirty="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4190861481"/>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9" name="think-cell Slide" r:id="rId5" imgW="270" imgH="270" progId="TCLayout.ActiveDocument.1">
                  <p:embed/>
                </p:oleObj>
              </mc:Choice>
              <mc:Fallback>
                <p:oleObj name="think-cell Slide" r:id="rId5" imgW="270" imgH="270"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custDataLst>
              <p:tags r:id="rId3"/>
            </p:custDataLst>
          </p:nvPr>
        </p:nvSpPr>
        <p:spPr>
          <a:xfrm>
            <a:off x="457200" y="1600200"/>
            <a:ext cx="8229600" cy="4525963"/>
          </a:xfrm>
          <a:prstGeom prst="rect">
            <a:avLst/>
          </a:prstGeom>
        </p:spPr>
        <p:txBody>
          <a:bodyPr/>
          <a:lstStyle>
            <a:lvl1pPr>
              <a:defRPr>
                <a:latin typeface="TH SarabunPSK" panose="020B0500040200020003" pitchFamily="34" charset="-34"/>
                <a:cs typeface="TH SarabunPSK" panose="020B0500040200020003" pitchFamily="34" charset="-34"/>
              </a:defRPr>
            </a:lvl1pPr>
            <a:lvl2pPr>
              <a:defRPr>
                <a:latin typeface="TH SarabunPSK" panose="020B0500040200020003" pitchFamily="34" charset="-34"/>
                <a:cs typeface="TH SarabunPSK" panose="020B0500040200020003" pitchFamily="34" charset="-34"/>
              </a:defRPr>
            </a:lvl2pPr>
            <a:lvl3pPr>
              <a:defRPr>
                <a:latin typeface="TH SarabunPSK" panose="020B0500040200020003" pitchFamily="34" charset="-34"/>
                <a:cs typeface="TH SarabunPSK" panose="020B0500040200020003" pitchFamily="34" charset="-34"/>
              </a:defRPr>
            </a:lvl3pPr>
            <a:lvl4pPr>
              <a:defRPr>
                <a:latin typeface="TH SarabunPSK" panose="020B0500040200020003" pitchFamily="34" charset="-34"/>
                <a:cs typeface="TH SarabunPSK" panose="020B0500040200020003" pitchFamily="34" charset="-34"/>
              </a:defRPr>
            </a:lvl4pPr>
            <a:lvl5pPr>
              <a:defRPr>
                <a:latin typeface="TH SarabunPSK" panose="020B0500040200020003" pitchFamily="34" charset="-34"/>
                <a:cs typeface="TH SarabunPSK" panose="020B0500040200020003" pitchFamily="34" charset="-34"/>
              </a:defRPr>
            </a:lvl5pPr>
          </a:lstStyle>
          <a:p>
            <a:pPr lvl="0"/>
            <a:r>
              <a:rPr lang="da-DK" dirty="0" smtClean="0"/>
              <a:t>Click to edit Master text styles</a:t>
            </a:r>
          </a:p>
          <a:p>
            <a:pPr lvl="1"/>
            <a:r>
              <a:rPr lang="da-DK" dirty="0" smtClean="0"/>
              <a:t>Second level</a:t>
            </a:r>
          </a:p>
          <a:p>
            <a:pPr lvl="2"/>
            <a:r>
              <a:rPr lang="da-DK" dirty="0" smtClean="0"/>
              <a:t>Third level</a:t>
            </a:r>
          </a:p>
          <a:p>
            <a:pPr lvl="3"/>
            <a:r>
              <a:rPr lang="da-DK" dirty="0" smtClean="0"/>
              <a:t>Fourth level</a:t>
            </a:r>
          </a:p>
          <a:p>
            <a:pPr lvl="4"/>
            <a:r>
              <a:rPr lang="da-DK" dirty="0" smtClean="0"/>
              <a:t>Fifth level</a:t>
            </a:r>
            <a:endParaRPr lang="en-US" dirty="0"/>
          </a:p>
        </p:txBody>
      </p:sp>
      <p:pic>
        <p:nvPicPr>
          <p:cNvPr id="15" name="Picture 94"/>
          <p:cNvPicPr>
            <a:picLocks noChangeAspect="1" noChangeArrowheads="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8662862" y="6624981"/>
            <a:ext cx="180000" cy="1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4" name="Group 33"/>
          <p:cNvGrpSpPr/>
          <p:nvPr userDrawn="1"/>
        </p:nvGrpSpPr>
        <p:grpSpPr>
          <a:xfrm>
            <a:off x="3175" y="0"/>
            <a:ext cx="9153827" cy="900000"/>
            <a:chOff x="3175" y="0"/>
            <a:chExt cx="9153827" cy="900000"/>
          </a:xfrm>
        </p:grpSpPr>
        <p:sp>
          <p:nvSpPr>
            <p:cNvPr id="25" name="Rectangle 24"/>
            <p:cNvSpPr/>
            <p:nvPr userDrawn="1"/>
          </p:nvSpPr>
          <p:spPr>
            <a:xfrm>
              <a:off x="3175" y="0"/>
              <a:ext cx="9139919" cy="900000"/>
            </a:xfrm>
            <a:prstGeom prst="rect">
              <a:avLst/>
            </a:prstGeom>
            <a:gradFill>
              <a:gsLst>
                <a:gs pos="100000">
                  <a:schemeClr val="accent1">
                    <a:lumMod val="75000"/>
                  </a:schemeClr>
                </a:gs>
                <a:gs pos="0">
                  <a:schemeClr val="accent1">
                    <a:lumMod val="75000"/>
                  </a:schemeClr>
                </a:gs>
              </a:gsLst>
              <a:path path="circle">
                <a:fillToRect l="50000" t="50000" r="50000" b="50000"/>
              </a:path>
            </a:gradFill>
            <a:ln w="3175">
              <a:noFill/>
            </a:ln>
            <a:effectLst>
              <a:outerShdw blurRad="38100" dist="12700" dir="5400000" algn="t" rotWithShape="0">
                <a:prstClr val="black">
                  <a:alpha val="3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ngsanaUPC" panose="02020603050405020304" pitchFamily="18" charset="-34"/>
                <a:ea typeface="+mn-ea"/>
                <a:cs typeface="TH Sarabun New"/>
              </a:endParaRPr>
            </a:p>
          </p:txBody>
        </p:sp>
        <p:cxnSp>
          <p:nvCxnSpPr>
            <p:cNvPr id="26" name="Straight Connector 25"/>
            <p:cNvCxnSpPr/>
            <p:nvPr userDrawn="1"/>
          </p:nvCxnSpPr>
          <p:spPr>
            <a:xfrm>
              <a:off x="13002" y="757309"/>
              <a:ext cx="9144000" cy="0"/>
            </a:xfrm>
            <a:prstGeom prst="line">
              <a:avLst/>
            </a:prstGeom>
            <a:ln w="6350">
              <a:solidFill>
                <a:schemeClr val="bg1">
                  <a:lumMod val="75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3002" y="180742"/>
              <a:ext cx="9144000" cy="0"/>
            </a:xfrm>
            <a:prstGeom prst="line">
              <a:avLst/>
            </a:prstGeom>
            <a:ln w="6350">
              <a:solidFill>
                <a:schemeClr val="bg1">
                  <a:lumMod val="75000"/>
                </a:schemeClr>
              </a:solidFill>
              <a:prstDash val="dash"/>
            </a:ln>
          </p:spPr>
          <p:style>
            <a:lnRef idx="2">
              <a:schemeClr val="accent1"/>
            </a:lnRef>
            <a:fillRef idx="0">
              <a:schemeClr val="accent1"/>
            </a:fillRef>
            <a:effectRef idx="1">
              <a:schemeClr val="accent1"/>
            </a:effectRef>
            <a:fontRef idx="minor">
              <a:schemeClr val="tx1"/>
            </a:fontRef>
          </p:style>
        </p:cxnSp>
      </p:grpSp>
      <p:sp>
        <p:nvSpPr>
          <p:cNvPr id="10" name="Slide Number Placeholder 5"/>
          <p:cNvSpPr>
            <a:spLocks noGrp="1"/>
          </p:cNvSpPr>
          <p:nvPr>
            <p:ph type="sldNum" sz="quarter" idx="4"/>
          </p:nvPr>
        </p:nvSpPr>
        <p:spPr>
          <a:xfrm>
            <a:off x="8787337" y="4581128"/>
            <a:ext cx="430893" cy="365125"/>
          </a:xfrm>
          <a:prstGeom prst="rect">
            <a:avLst/>
          </a:prstGeom>
        </p:spPr>
        <p:txBody>
          <a:bodyPr vert="horz" lIns="91440" tIns="45720" rIns="91440" bIns="45720" rtlCol="0" anchor="ctr"/>
          <a:lstStyle>
            <a:lvl1pPr algn="r">
              <a:defRPr sz="1600">
                <a:solidFill>
                  <a:schemeClr val="tx1">
                    <a:tint val="75000"/>
                  </a:schemeClr>
                </a:solidFill>
                <a:latin typeface="AngsanaUPC" panose="02020603050405020304" pitchFamily="18" charset="-34"/>
                <a:cs typeface="AngsanaUPC" panose="02020603050405020304" pitchFamily="18" charset="-34"/>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892B0ED-4054-42B7-A893-2D57CE8DC8A6}" type="slidenum">
              <a:rPr kumimoji="0" lang="th-TH"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th-TH" sz="1600" b="0" i="0" u="none" strike="noStrike" kern="1200" cap="none" spc="0" normalizeH="0" baseline="0" noProof="0" dirty="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3659067895"/>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3" name="think-cell Slide" r:id="rId5" imgW="270" imgH="270" progId="TCLayout.ActiveDocument.1">
                  <p:embed/>
                </p:oleObj>
              </mc:Choice>
              <mc:Fallback>
                <p:oleObj name="think-cell Slide" r:id="rId5" imgW="270" imgH="270"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custDataLst>
              <p:tags r:id="rId3"/>
            </p:custDataLst>
          </p:nvPr>
        </p:nvSpPr>
        <p:spPr>
          <a:xfrm>
            <a:off x="457200" y="1600200"/>
            <a:ext cx="8229600" cy="4525963"/>
          </a:xfrm>
          <a:prstGeom prst="rect">
            <a:avLst/>
          </a:prstGeom>
        </p:spPr>
        <p:txBody>
          <a:bodyPr/>
          <a:lstStyle>
            <a:lvl1pPr>
              <a:defRPr>
                <a:latin typeface="TH SarabunPSK" panose="020B0500040200020003" pitchFamily="34" charset="-34"/>
                <a:cs typeface="TH SarabunPSK" panose="020B0500040200020003" pitchFamily="34" charset="-34"/>
              </a:defRPr>
            </a:lvl1pPr>
            <a:lvl2pPr>
              <a:defRPr>
                <a:latin typeface="TH SarabunPSK" panose="020B0500040200020003" pitchFamily="34" charset="-34"/>
                <a:cs typeface="TH SarabunPSK" panose="020B0500040200020003" pitchFamily="34" charset="-34"/>
              </a:defRPr>
            </a:lvl2pPr>
            <a:lvl3pPr>
              <a:defRPr>
                <a:latin typeface="TH SarabunPSK" panose="020B0500040200020003" pitchFamily="34" charset="-34"/>
                <a:cs typeface="TH SarabunPSK" panose="020B0500040200020003" pitchFamily="34" charset="-34"/>
              </a:defRPr>
            </a:lvl3pPr>
            <a:lvl4pPr>
              <a:defRPr>
                <a:latin typeface="TH SarabunPSK" panose="020B0500040200020003" pitchFamily="34" charset="-34"/>
                <a:cs typeface="TH SarabunPSK" panose="020B0500040200020003" pitchFamily="34" charset="-34"/>
              </a:defRPr>
            </a:lvl4pPr>
            <a:lvl5pPr>
              <a:defRPr>
                <a:latin typeface="TH SarabunPSK" panose="020B0500040200020003" pitchFamily="34" charset="-34"/>
                <a:cs typeface="TH SarabunPSK" panose="020B0500040200020003" pitchFamily="34" charset="-34"/>
              </a:defRPr>
            </a:lvl5pPr>
          </a:lstStyle>
          <a:p>
            <a:pPr lvl="0"/>
            <a:r>
              <a:rPr lang="da-DK" dirty="0" smtClean="0"/>
              <a:t>Click to edit Master text styles</a:t>
            </a:r>
          </a:p>
          <a:p>
            <a:pPr lvl="1"/>
            <a:r>
              <a:rPr lang="da-DK" dirty="0" smtClean="0"/>
              <a:t>Second level</a:t>
            </a:r>
          </a:p>
          <a:p>
            <a:pPr lvl="2"/>
            <a:r>
              <a:rPr lang="da-DK" dirty="0" smtClean="0"/>
              <a:t>Third level</a:t>
            </a:r>
          </a:p>
          <a:p>
            <a:pPr lvl="3"/>
            <a:r>
              <a:rPr lang="da-DK" dirty="0" smtClean="0"/>
              <a:t>Fourth level</a:t>
            </a:r>
          </a:p>
          <a:p>
            <a:pPr lvl="4"/>
            <a:r>
              <a:rPr lang="da-DK" dirty="0" smtClean="0"/>
              <a:t>Fifth level</a:t>
            </a:r>
            <a:endParaRPr lang="en-US" dirty="0"/>
          </a:p>
        </p:txBody>
      </p:sp>
      <p:pic>
        <p:nvPicPr>
          <p:cNvPr id="15" name="Picture 94"/>
          <p:cNvPicPr>
            <a:picLocks noChangeAspect="1" noChangeArrowheads="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8662862" y="6624981"/>
            <a:ext cx="180000" cy="1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4" name="Group 33"/>
          <p:cNvGrpSpPr/>
          <p:nvPr userDrawn="1"/>
        </p:nvGrpSpPr>
        <p:grpSpPr>
          <a:xfrm>
            <a:off x="3175" y="0"/>
            <a:ext cx="9153827" cy="900000"/>
            <a:chOff x="3175" y="0"/>
            <a:chExt cx="9153827" cy="900000"/>
          </a:xfrm>
        </p:grpSpPr>
        <p:sp>
          <p:nvSpPr>
            <p:cNvPr id="25" name="Rectangle 24"/>
            <p:cNvSpPr/>
            <p:nvPr userDrawn="1"/>
          </p:nvSpPr>
          <p:spPr>
            <a:xfrm>
              <a:off x="3175" y="0"/>
              <a:ext cx="9139919" cy="900000"/>
            </a:xfrm>
            <a:prstGeom prst="rect">
              <a:avLst/>
            </a:prstGeom>
            <a:gradFill>
              <a:gsLst>
                <a:gs pos="100000">
                  <a:schemeClr val="accent1">
                    <a:lumMod val="75000"/>
                  </a:schemeClr>
                </a:gs>
                <a:gs pos="0">
                  <a:schemeClr val="accent1">
                    <a:lumMod val="75000"/>
                  </a:schemeClr>
                </a:gs>
              </a:gsLst>
              <a:path path="circle">
                <a:fillToRect l="50000" t="50000" r="50000" b="50000"/>
              </a:path>
            </a:gradFill>
            <a:ln w="3175">
              <a:noFill/>
            </a:ln>
            <a:effectLst>
              <a:outerShdw blurRad="38100" dist="12700" dir="5400000" algn="t" rotWithShape="0">
                <a:prstClr val="black">
                  <a:alpha val="3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ngsanaUPC" panose="02020603050405020304" pitchFamily="18" charset="-34"/>
                <a:ea typeface="+mn-ea"/>
                <a:cs typeface="TH Sarabun New"/>
              </a:endParaRPr>
            </a:p>
          </p:txBody>
        </p:sp>
        <p:cxnSp>
          <p:nvCxnSpPr>
            <p:cNvPr id="26" name="Straight Connector 25"/>
            <p:cNvCxnSpPr/>
            <p:nvPr userDrawn="1"/>
          </p:nvCxnSpPr>
          <p:spPr>
            <a:xfrm>
              <a:off x="13002" y="757309"/>
              <a:ext cx="9144000" cy="0"/>
            </a:xfrm>
            <a:prstGeom prst="line">
              <a:avLst/>
            </a:prstGeom>
            <a:ln w="6350">
              <a:solidFill>
                <a:schemeClr val="bg1">
                  <a:lumMod val="75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3002" y="180742"/>
              <a:ext cx="9144000" cy="0"/>
            </a:xfrm>
            <a:prstGeom prst="line">
              <a:avLst/>
            </a:prstGeom>
            <a:ln w="6350">
              <a:solidFill>
                <a:schemeClr val="bg1">
                  <a:lumMod val="75000"/>
                </a:schemeClr>
              </a:solidFill>
              <a:prstDash val="dash"/>
            </a:ln>
          </p:spPr>
          <p:style>
            <a:lnRef idx="2">
              <a:schemeClr val="accent1"/>
            </a:lnRef>
            <a:fillRef idx="0">
              <a:schemeClr val="accent1"/>
            </a:fillRef>
            <a:effectRef idx="1">
              <a:schemeClr val="accent1"/>
            </a:effectRef>
            <a:fontRef idx="minor">
              <a:schemeClr val="tx1"/>
            </a:fontRef>
          </p:style>
        </p:cxnSp>
      </p:grpSp>
      <p:sp>
        <p:nvSpPr>
          <p:cNvPr id="10" name="Slide Number Placeholder 5"/>
          <p:cNvSpPr>
            <a:spLocks noGrp="1"/>
          </p:cNvSpPr>
          <p:nvPr>
            <p:ph type="sldNum" sz="quarter" idx="4"/>
          </p:nvPr>
        </p:nvSpPr>
        <p:spPr>
          <a:xfrm>
            <a:off x="8787337" y="4581128"/>
            <a:ext cx="430893" cy="365125"/>
          </a:xfrm>
          <a:prstGeom prst="rect">
            <a:avLst/>
          </a:prstGeom>
        </p:spPr>
        <p:txBody>
          <a:bodyPr vert="horz" lIns="91440" tIns="45720" rIns="91440" bIns="45720" rtlCol="0" anchor="ctr"/>
          <a:lstStyle>
            <a:lvl1pPr algn="r">
              <a:defRPr sz="1600">
                <a:solidFill>
                  <a:schemeClr val="tx1">
                    <a:tint val="75000"/>
                  </a:schemeClr>
                </a:solidFill>
                <a:latin typeface="AngsanaUPC" panose="02020603050405020304" pitchFamily="18" charset="-34"/>
                <a:cs typeface="AngsanaUPC" panose="02020603050405020304" pitchFamily="18" charset="-34"/>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892B0ED-4054-42B7-A893-2D57CE8DC8A6}" type="slidenum">
              <a:rPr kumimoji="0" lang="th-TH"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th-TH" sz="1600" b="0" i="0" u="none" strike="noStrike" kern="1200" cap="none" spc="0" normalizeH="0" baseline="0" noProof="0" dirty="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3122458469"/>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Rectangle 6"/>
          <p:cNvSpPr>
            <a:spLocks noGrp="1" noChangeArrowheads="1"/>
          </p:cNvSpPr>
          <p:nvPr>
            <p:ph type="sldNum" sz="quarter" idx="12"/>
          </p:nvPr>
        </p:nvSpPr>
        <p:spPr>
          <a:xfrm>
            <a:off x="8769207" y="4653136"/>
            <a:ext cx="430893" cy="365125"/>
          </a:xfrm>
          <a:ln/>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8143C1F7-D47B-4012-83F3-FD61B531B770}" type="slidenum">
              <a:rPr kumimoji="0" lang="en-US" sz="1600" b="0" i="0" u="none" strike="noStrike" kern="1200" cap="none" spc="0" normalizeH="0" baseline="0" noProof="0" smtClean="0">
                <a:ln>
                  <a:noFill/>
                </a:ln>
                <a:solidFill>
                  <a:prstClr val="black">
                    <a:tint val="75000"/>
                  </a:prstClr>
                </a:solidFill>
                <a:effectLst/>
                <a:uLnTx/>
                <a:uFillTx/>
                <a:latin typeface="Arial" pitchFamily="34" charset="0"/>
                <a:ea typeface="+mn-ea"/>
                <a:cs typeface="Angsana New"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Arial" pitchFamily="34" charset="0"/>
              <a:ea typeface="+mn-ea"/>
              <a:cs typeface="Angsana New" pitchFamily="18" charset="-34"/>
            </a:endParaRPr>
          </a:p>
        </p:txBody>
      </p:sp>
    </p:spTree>
    <p:extLst>
      <p:ext uri="{BB962C8B-B14F-4D97-AF65-F5344CB8AC3E}">
        <p14:creationId xmlns:p14="http://schemas.microsoft.com/office/powerpoint/2010/main" val="36356262"/>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Rectangle 6"/>
          <p:cNvSpPr>
            <a:spLocks noGrp="1" noChangeArrowheads="1"/>
          </p:cNvSpPr>
          <p:nvPr>
            <p:ph type="sldNum" sz="quarter" idx="12"/>
          </p:nvPr>
        </p:nvSpPr>
        <p:spPr>
          <a:xfrm>
            <a:off x="8769207" y="4653136"/>
            <a:ext cx="430893" cy="365125"/>
          </a:xfrm>
          <a:ln/>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8143C1F7-D47B-4012-83F3-FD61B531B770}" type="slidenum">
              <a:rPr kumimoji="0" lang="en-US" sz="1600" b="0" i="0" u="none" strike="noStrike" kern="1200" cap="none" spc="0" normalizeH="0" baseline="0" noProof="0" smtClean="0">
                <a:ln>
                  <a:noFill/>
                </a:ln>
                <a:solidFill>
                  <a:prstClr val="black">
                    <a:tint val="75000"/>
                  </a:prstClr>
                </a:solidFill>
                <a:effectLst/>
                <a:uLnTx/>
                <a:uFillTx/>
                <a:latin typeface="Arial" pitchFamily="34" charset="0"/>
                <a:ea typeface="+mn-ea"/>
                <a:cs typeface="Angsana New"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Arial" pitchFamily="34" charset="0"/>
              <a:ea typeface="+mn-ea"/>
              <a:cs typeface="Angsana New" pitchFamily="18" charset="-34"/>
            </a:endParaRPr>
          </a:p>
        </p:txBody>
      </p:sp>
    </p:spTree>
    <p:extLst>
      <p:ext uri="{BB962C8B-B14F-4D97-AF65-F5344CB8AC3E}">
        <p14:creationId xmlns:p14="http://schemas.microsoft.com/office/powerpoint/2010/main" val="3899913138"/>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320"/>
            <a:ext cx="7470648" cy="1143000"/>
          </a:xfrm>
          <a:prstGeom prst="rect">
            <a:avLst/>
          </a:prstGeom>
        </p:spPr>
        <p:txBody>
          <a:bodyPr/>
          <a:lstStyle>
            <a:lvl1pPr algn="l">
              <a:defRPr sz="4600">
                <a:latin typeface="AngsanaUPC" panose="02020603050405020304" pitchFamily="18" charset="-34"/>
                <a:cs typeface="AngsanaUPC" panose="02020603050405020304" pitchFamily="18" charset="-34"/>
              </a:defRPr>
            </a:lvl1pPr>
          </a:lstStyle>
          <a:p>
            <a:r>
              <a:rPr lang="en-US" dirty="0" smtClean="0"/>
              <a:t>Click to edit Master title style</a:t>
            </a:r>
            <a:endParaRPr lang="en-US" dirty="0"/>
          </a:p>
        </p:txBody>
      </p:sp>
      <p:sp>
        <p:nvSpPr>
          <p:cNvPr id="3" name="Date Placeholder 9"/>
          <p:cNvSpPr>
            <a:spLocks noGrp="1"/>
          </p:cNvSpPr>
          <p:nvPr>
            <p:ph type="dt" sz="half" idx="10"/>
          </p:nvPr>
        </p:nvSpPr>
        <p:spPr>
          <a:xfrm>
            <a:off x="457200" y="6421463"/>
            <a:ext cx="2133600" cy="365125"/>
          </a:xfrm>
          <a:prstGeom prst="rect">
            <a:avLst/>
          </a:prstGeom>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84E71BED-F3FF-43DA-967E-90D6373529F5}" type="datetime1">
              <a:rPr kumimoji="0" lang="en-US" sz="2800" b="1" i="0" u="none" strike="noStrike" kern="1200" cap="none" spc="0" normalizeH="0" baseline="0" noProof="0" smtClean="0">
                <a:ln>
                  <a:noFill/>
                </a:ln>
                <a:solidFill>
                  <a:srgbClr val="D4D2D0">
                    <a:shade val="50000"/>
                  </a:srgbClr>
                </a:solidFill>
                <a:effectLst/>
                <a:uLnTx/>
                <a:uFillTx/>
                <a:latin typeface="AngsanaUPC" pitchFamily="18" charset="-34"/>
                <a:ea typeface="+mn-ea"/>
                <a:cs typeface="AngsanaUPC" pitchFamily="18" charset="-34"/>
              </a:rPr>
              <a:pPr marL="0" marR="0" lvl="0" indent="0" algn="l" defTabSz="914400" rtl="0" eaLnBrk="1" fontAlgn="base" latinLnBrk="0" hangingPunct="1">
                <a:lnSpc>
                  <a:spcPct val="100000"/>
                </a:lnSpc>
                <a:spcBef>
                  <a:spcPct val="0"/>
                </a:spcBef>
                <a:spcAft>
                  <a:spcPct val="0"/>
                </a:spcAft>
                <a:buClrTx/>
                <a:buSzTx/>
                <a:buFontTx/>
                <a:buNone/>
                <a:tabLst/>
                <a:defRPr/>
              </a:pPr>
              <a:t>2/21/2019</a:t>
            </a:fld>
            <a:endParaRPr kumimoji="0" lang="en-US" sz="2800" b="1" i="0" u="none" strike="noStrike" kern="1200" cap="none" spc="0" normalizeH="0" baseline="0" noProof="0">
              <a:ln>
                <a:noFill/>
              </a:ln>
              <a:solidFill>
                <a:srgbClr val="D4D2D0">
                  <a:shade val="50000"/>
                </a:srgbClr>
              </a:solidFill>
              <a:effectLst/>
              <a:uLnTx/>
              <a:uFillTx/>
              <a:latin typeface="AngsanaUPC" pitchFamily="18" charset="-34"/>
              <a:ea typeface="+mn-ea"/>
              <a:cs typeface="AngsanaUPC" pitchFamily="18" charset="-34"/>
            </a:endParaRPr>
          </a:p>
        </p:txBody>
      </p:sp>
      <p:sp>
        <p:nvSpPr>
          <p:cNvPr id="4" name="Footer Placeholder 21"/>
          <p:cNvSpPr>
            <a:spLocks noGrp="1"/>
          </p:cNvSpPr>
          <p:nvPr>
            <p:ph type="ftr" sz="quarter" idx="11"/>
          </p:nvPr>
        </p:nvSpPr>
        <p:spPr>
          <a:xfrm>
            <a:off x="3124200" y="6421463"/>
            <a:ext cx="2895600" cy="365125"/>
          </a:xfrm>
          <a:prstGeom prst="rect">
            <a:avLst/>
          </a:prstGeom>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D4D2D0">
                  <a:shade val="50000"/>
                </a:srgbClr>
              </a:solidFill>
              <a:effectLst/>
              <a:uLnTx/>
              <a:uFillTx/>
              <a:latin typeface="AngsanaUPC" pitchFamily="18" charset="-34"/>
              <a:ea typeface="+mn-ea"/>
              <a:cs typeface="AngsanaUPC" pitchFamily="18" charset="-34"/>
            </a:endParaRPr>
          </a:p>
        </p:txBody>
      </p:sp>
      <p:sp>
        <p:nvSpPr>
          <p:cNvPr id="5" name="Slide Number Placeholder 17"/>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E0808A6D-2862-46C2-AECC-CA3549B676E0}" type="slidenum">
              <a:rPr kumimoji="0" lang="en-US" sz="1600" b="1" i="0" u="none" strike="noStrike" kern="1200" cap="none" spc="0" normalizeH="0" baseline="0" noProof="0">
                <a:ln>
                  <a:noFill/>
                </a:ln>
                <a:solidFill>
                  <a:srgbClr val="D4D2D0">
                    <a:shade val="50000"/>
                  </a:srgb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600" b="1" i="0" u="none" strike="noStrike" kern="1200" cap="none" spc="0" normalizeH="0" baseline="0" noProof="0">
              <a:ln>
                <a:noFill/>
              </a:ln>
              <a:solidFill>
                <a:srgbClr val="D4D2D0">
                  <a:shade val="50000"/>
                </a:srgbClr>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40644388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Header">
    <p:spTree>
      <p:nvGrpSpPr>
        <p:cNvPr id="1" name=""/>
        <p:cNvGrpSpPr/>
        <p:nvPr/>
      </p:nvGrpSpPr>
      <p:grpSpPr>
        <a:xfrm>
          <a:off x="0" y="0"/>
          <a:ext cx="0" cy="0"/>
          <a:chOff x="0" y="0"/>
          <a:chExt cx="0" cy="0"/>
        </a:xfrm>
      </p:grpSpPr>
      <p:sp>
        <p:nvSpPr>
          <p:cNvPr id="13" name="Rectangle 12"/>
          <p:cNvSpPr/>
          <p:nvPr/>
        </p:nvSpPr>
        <p:spPr>
          <a:xfrm>
            <a:off x="533399" y="6239849"/>
            <a:ext cx="8251825" cy="437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h-TH" sz="2800" b="0" i="0" u="none" strike="noStrike" kern="1200" cap="none" spc="0" normalizeH="0" baseline="0" noProof="0">
              <a:ln>
                <a:noFill/>
              </a:ln>
              <a:solidFill>
                <a:prstClr val="white"/>
              </a:solidFill>
              <a:effectLst/>
              <a:uLnTx/>
              <a:uFillTx/>
              <a:latin typeface="Open Sans"/>
              <a:ea typeface="+mn-ea"/>
              <a:cs typeface="TH Sarabun New"/>
            </a:endParaRPr>
          </a:p>
        </p:txBody>
      </p:sp>
      <p:sp>
        <p:nvSpPr>
          <p:cNvPr id="4" name="Slide Number Placeholder 5"/>
          <p:cNvSpPr>
            <a:spLocks noGrp="1"/>
          </p:cNvSpPr>
          <p:nvPr>
            <p:ph type="sldNum" sz="quarter" idx="4"/>
          </p:nvPr>
        </p:nvSpPr>
        <p:spPr>
          <a:xfrm>
            <a:off x="8787337" y="4581128"/>
            <a:ext cx="430893" cy="365125"/>
          </a:xfrm>
          <a:prstGeom prst="rect">
            <a:avLst/>
          </a:prstGeom>
        </p:spPr>
        <p:txBody>
          <a:bodyPr vert="horz" lIns="91440" tIns="45720" rIns="91440" bIns="45720" rtlCol="0" anchor="ctr"/>
          <a:lstStyle>
            <a:lvl1pPr algn="r">
              <a:defRPr sz="1600">
                <a:solidFill>
                  <a:schemeClr val="tx1">
                    <a:tint val="75000"/>
                  </a:schemeClr>
                </a:solidFill>
                <a:latin typeface="AngsanaUPC" panose="02020603050405020304" pitchFamily="18" charset="-34"/>
                <a:cs typeface="AngsanaUPC" panose="02020603050405020304" pitchFamily="18" charset="-34"/>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9DA99F2A-1CA3-4175-8486-CAD88CF786FA}" type="slidenum">
              <a:rPr kumimoji="0" lang="en-US"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1619438078"/>
      </p:ext>
    </p:extLst>
  </p:cSld>
  <p:clrMapOvr>
    <a:masterClrMapping/>
  </p:clrMapOvr>
  <p:timing>
    <p:tnLst>
      <p:par>
        <p:cTn id="1" dur="indefinite" restart="never" nodeType="tmRoot"/>
      </p:par>
    </p:tnLst>
  </p:timing>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DA99F2A-1CA3-4175-8486-CAD88CF786FA}" type="slidenum">
              <a:rPr kumimoji="0" lang="en-US"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848128573"/>
      </p:ext>
    </p:extLst>
  </p:cSld>
  <p:clrMapOvr>
    <a:masterClrMapping/>
  </p:clrMapOvr>
  <p:timing>
    <p:tnLst>
      <p:par>
        <p:cTn id="1" dur="indefinite" restart="never" nodeType="tmRoot"/>
      </p:par>
    </p:tnLst>
  </p:timing>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DA99F2A-1CA3-4175-8486-CAD88CF786FA}" type="slidenum">
              <a:rPr kumimoji="0" lang="en-US"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475046069"/>
      </p:ext>
    </p:extLst>
  </p:cSld>
  <p:clrMapOvr>
    <a:masterClrMapping/>
  </p:clrMapOvr>
  <p:timing>
    <p:tnLst>
      <p:par>
        <p:cTn id="1" dur="indefinite" restart="never" nodeType="tmRoot"/>
      </p:par>
    </p:tnLst>
  </p:timing>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DA99F2A-1CA3-4175-8486-CAD88CF786FA}" type="slidenum">
              <a:rPr kumimoji="0" lang="en-US"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725652522"/>
      </p:ext>
    </p:extLst>
  </p:cSld>
  <p:clrMapOvr>
    <a:masterClrMapping/>
  </p:clrMapOvr>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th-TH"/>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h-TH"/>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p:txBody>
          <a:bodyPr/>
          <a:lstStyle>
            <a:lvl1pPr>
              <a:defRPr sz="2600"/>
            </a:lvl1pPr>
          </a:lstStyle>
          <a:p>
            <a:pPr>
              <a:defRPr/>
            </a:pPr>
            <a:endParaRPr lang="en-US"/>
          </a:p>
        </p:txBody>
      </p:sp>
      <p:sp>
        <p:nvSpPr>
          <p:cNvPr id="6" name="Rectangle 5"/>
          <p:cNvSpPr>
            <a:spLocks noGrp="1" noChangeArrowheads="1"/>
          </p:cNvSpPr>
          <p:nvPr>
            <p:ph type="ftr" sz="quarter" idx="11"/>
          </p:nvPr>
        </p:nvSpPr>
        <p:spPr/>
        <p:txBody>
          <a:bodyPr/>
          <a:lstStyle>
            <a:lvl1pPr>
              <a:defRPr sz="2600"/>
            </a:lvl1pPr>
          </a:lstStyle>
          <a:p>
            <a:pPr>
              <a:defRPr/>
            </a:pPr>
            <a:endParaRPr lang="en-US"/>
          </a:p>
        </p:txBody>
      </p:sp>
      <p:sp>
        <p:nvSpPr>
          <p:cNvPr id="7" name="Rectangle 6"/>
          <p:cNvSpPr>
            <a:spLocks noGrp="1" noChangeArrowheads="1"/>
          </p:cNvSpPr>
          <p:nvPr>
            <p:ph type="sldNum" sz="quarter" idx="12"/>
          </p:nvPr>
        </p:nvSpPr>
        <p:spPr/>
        <p:txBody>
          <a:bodyPr/>
          <a:lstStyle>
            <a:lvl1pPr>
              <a:defRPr sz="2400" i="1">
                <a:solidFill>
                  <a:schemeClr val="bg1"/>
                </a:solidFill>
                <a:effectDag name="">
                  <a:cont type="tree" name="">
                    <a:effect ref="fillLine"/>
                    <a:outerShdw dist="38100" dir="13500000" algn="br">
                      <a:srgbClr val="FF92E9"/>
                    </a:outerShdw>
                  </a:cont>
                  <a:cont type="tree" name="">
                    <a:effect ref="fillLine"/>
                    <a:outerShdw dist="38100" dir="2700000" algn="tl">
                      <a:srgbClr val="6A255C"/>
                    </a:outerShdw>
                  </a:cont>
                  <a:effect ref="fillLine"/>
                </a:effectDag>
                <a:latin typeface="BrowalliaUPC" pitchFamily="34" charset="-34"/>
              </a:defRPr>
            </a:lvl1pPr>
          </a:lstStyle>
          <a:p>
            <a:pPr>
              <a:defRPr/>
            </a:pPr>
            <a:fld id="{33912AF4-50C9-432E-8ECB-7D487E2981B8}" type="slidenum">
              <a:rPr lang="en-US">
                <a:solidFill>
                  <a:srgbClr val="B13F9A"/>
                </a:solidFill>
              </a:rPr>
              <a:pPr>
                <a:defRPr/>
              </a:pPr>
              <a:t>‹#›</a:t>
            </a:fld>
            <a:endParaRPr lang="th-TH">
              <a:solidFill>
                <a:srgbClr val="B13F9A"/>
              </a:solidFill>
            </a:endParaRPr>
          </a:p>
        </p:txBody>
      </p:sp>
    </p:spTree>
    <p:extLst>
      <p:ext uri="{BB962C8B-B14F-4D97-AF65-F5344CB8AC3E}">
        <p14:creationId xmlns:p14="http://schemas.microsoft.com/office/powerpoint/2010/main" val="213819477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DA99F2A-1CA3-4175-8486-CAD88CF786FA}" type="slidenum">
              <a:rPr kumimoji="0" lang="en-US"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cxnSp>
        <p:nvCxnSpPr>
          <p:cNvPr id="8" name="Straight Connector 7"/>
          <p:cNvCxnSpPr/>
          <p:nvPr/>
        </p:nvCxnSpPr>
        <p:spPr>
          <a:xfrm flipH="1">
            <a:off x="755575" y="296863"/>
            <a:ext cx="1" cy="558543"/>
          </a:xfrm>
          <a:prstGeom prst="line">
            <a:avLst/>
          </a:prstGeom>
          <a:ln w="19050">
            <a:solidFill>
              <a:srgbClr val="FF461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0" y="6019800"/>
            <a:ext cx="9144000" cy="838200"/>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th-TH" sz="2400" b="0" i="0" u="none" strike="noStrike" kern="1200" cap="none" spc="0" normalizeH="0" baseline="0" noProof="0">
              <a:ln>
                <a:noFill/>
              </a:ln>
              <a:solidFill>
                <a:prstClr val="black"/>
              </a:solidFill>
              <a:effectLst/>
              <a:uLnTx/>
              <a:uFillTx/>
              <a:latin typeface="Open Sans"/>
              <a:ea typeface="+mn-ea"/>
              <a:cs typeface="TH Sarabun New"/>
            </a:endParaRPr>
          </a:p>
        </p:txBody>
      </p:sp>
      <p:sp>
        <p:nvSpPr>
          <p:cNvPr id="4" name="Rectangle 3"/>
          <p:cNvSpPr/>
          <p:nvPr/>
        </p:nvSpPr>
        <p:spPr>
          <a:xfrm>
            <a:off x="0" y="0"/>
            <a:ext cx="8915400" cy="990600"/>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th-TH" sz="2400" b="0" i="0" u="none" strike="noStrike" kern="1200" cap="none" spc="0" normalizeH="0" baseline="0" noProof="0">
              <a:ln>
                <a:noFill/>
              </a:ln>
              <a:solidFill>
                <a:prstClr val="black"/>
              </a:solidFill>
              <a:effectLst/>
              <a:uLnTx/>
              <a:uFillTx/>
              <a:latin typeface="Open Sans"/>
              <a:ea typeface="+mn-ea"/>
              <a:cs typeface="TH Sarabun New"/>
            </a:endParaRPr>
          </a:p>
        </p:txBody>
      </p:sp>
    </p:spTree>
    <p:extLst>
      <p:ext uri="{BB962C8B-B14F-4D97-AF65-F5344CB8AC3E}">
        <p14:creationId xmlns:p14="http://schemas.microsoft.com/office/powerpoint/2010/main" val="1150126660"/>
      </p:ext>
    </p:extLst>
  </p:cSld>
  <p:clrMapOvr>
    <a:masterClrMapping/>
  </p:clrMapOvr>
  <p:timing>
    <p:tnLst>
      <p:par>
        <p:cTn id="1" dur="indefinite" restart="never" nodeType="tmRoot"/>
      </p:par>
    </p:tnLst>
  </p:timing>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6D83A46-A5C8-4ADC-A7FC-C178C7711462}" type="slidenum">
              <a:rPr kumimoji="0" lang="en-US"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
        <p:nvSpPr>
          <p:cNvPr id="8" name="Rectangle 7"/>
          <p:cNvSpPr/>
          <p:nvPr/>
        </p:nvSpPr>
        <p:spPr>
          <a:xfrm>
            <a:off x="0" y="6019800"/>
            <a:ext cx="9144000" cy="838200"/>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th-TH" sz="2400" b="0" i="0" u="none" strike="noStrike" kern="1200" cap="none" spc="0" normalizeH="0" baseline="0" noProof="0">
              <a:ln>
                <a:noFill/>
              </a:ln>
              <a:solidFill>
                <a:prstClr val="black"/>
              </a:solidFill>
              <a:effectLst/>
              <a:uLnTx/>
              <a:uFillTx/>
              <a:latin typeface="Open Sans"/>
              <a:ea typeface="+mn-ea"/>
              <a:cs typeface="TH Sarabun New"/>
            </a:endParaRPr>
          </a:p>
        </p:txBody>
      </p:sp>
    </p:spTree>
    <p:extLst>
      <p:ext uri="{BB962C8B-B14F-4D97-AF65-F5344CB8AC3E}">
        <p14:creationId xmlns:p14="http://schemas.microsoft.com/office/powerpoint/2010/main" val="2078015667"/>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DA99F2A-1CA3-4175-8486-CAD88CF786FA}" type="slidenum">
              <a:rPr kumimoji="0" lang="en-US"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
        <p:nvSpPr>
          <p:cNvPr id="11" name="Rectangle 10"/>
          <p:cNvSpPr/>
          <p:nvPr/>
        </p:nvSpPr>
        <p:spPr>
          <a:xfrm>
            <a:off x="0" y="6019800"/>
            <a:ext cx="9144000" cy="838200"/>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th-TH" sz="2400" b="0" i="0" u="none" strike="noStrike" kern="1200" cap="none" spc="0" normalizeH="0" baseline="0" noProof="0">
              <a:ln>
                <a:noFill/>
              </a:ln>
              <a:solidFill>
                <a:prstClr val="black"/>
              </a:solidFill>
              <a:effectLst/>
              <a:uLnTx/>
              <a:uFillTx/>
              <a:latin typeface="Open Sans"/>
              <a:ea typeface="+mn-ea"/>
              <a:cs typeface="TH Sarabun New"/>
            </a:endParaRPr>
          </a:p>
        </p:txBody>
      </p:sp>
    </p:spTree>
    <p:extLst>
      <p:ext uri="{BB962C8B-B14F-4D97-AF65-F5344CB8AC3E}">
        <p14:creationId xmlns:p14="http://schemas.microsoft.com/office/powerpoint/2010/main" val="1221585618"/>
      </p:ext>
    </p:extLst>
  </p:cSld>
  <p:clrMapOvr>
    <a:masterClrMapping/>
  </p:clrMapOvr>
  <p:timing>
    <p:tnLst>
      <p:par>
        <p:cTn id="1" dur="indefinite" restart="never" nodeType="tmRoot"/>
      </p:par>
    </p:tnLst>
  </p:timing>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DA99F2A-1CA3-4175-8486-CAD88CF786FA}" type="slidenum">
              <a:rPr kumimoji="0" lang="en-US"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
        <p:nvSpPr>
          <p:cNvPr id="11" name="Rectangle 10"/>
          <p:cNvSpPr/>
          <p:nvPr/>
        </p:nvSpPr>
        <p:spPr>
          <a:xfrm>
            <a:off x="0" y="6019800"/>
            <a:ext cx="9144000" cy="838200"/>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th-TH" sz="2400" b="0" i="0" u="none" strike="noStrike" kern="1200" cap="none" spc="0" normalizeH="0" baseline="0" noProof="0">
              <a:ln>
                <a:noFill/>
              </a:ln>
              <a:solidFill>
                <a:prstClr val="black"/>
              </a:solidFill>
              <a:effectLst/>
              <a:uLnTx/>
              <a:uFillTx/>
              <a:latin typeface="Open Sans"/>
              <a:ea typeface="+mn-ea"/>
              <a:cs typeface="TH Sarabun New"/>
            </a:endParaRPr>
          </a:p>
        </p:txBody>
      </p:sp>
    </p:spTree>
    <p:extLst>
      <p:ext uri="{BB962C8B-B14F-4D97-AF65-F5344CB8AC3E}">
        <p14:creationId xmlns:p14="http://schemas.microsoft.com/office/powerpoint/2010/main" val="2577183889"/>
      </p:ext>
    </p:extLst>
  </p:cSld>
  <p:clrMapOvr>
    <a:masterClrMapping/>
  </p:clrMapOvr>
  <p:timing>
    <p:tnLst>
      <p:par>
        <p:cTn id="1" dur="indefinite" restart="never" nodeType="tmRoot"/>
      </p:par>
    </p:tnLst>
  </p:timing>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DA99F2A-1CA3-4175-8486-CAD88CF786FA}" type="slidenum">
              <a:rPr kumimoji="0" lang="en-US"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
        <p:nvSpPr>
          <p:cNvPr id="10" name="Rectangle 9"/>
          <p:cNvSpPr/>
          <p:nvPr/>
        </p:nvSpPr>
        <p:spPr>
          <a:xfrm>
            <a:off x="0" y="6019800"/>
            <a:ext cx="9144000" cy="838200"/>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th-TH" sz="2400" b="0" i="0" u="none" strike="noStrike" kern="1200" cap="none" spc="0" normalizeH="0" baseline="0" noProof="0">
              <a:ln>
                <a:noFill/>
              </a:ln>
              <a:solidFill>
                <a:prstClr val="black"/>
              </a:solidFill>
              <a:effectLst/>
              <a:uLnTx/>
              <a:uFillTx/>
              <a:latin typeface="Open Sans"/>
              <a:ea typeface="+mn-ea"/>
              <a:cs typeface="TH Sarabun New"/>
            </a:endParaRPr>
          </a:p>
        </p:txBody>
      </p:sp>
    </p:spTree>
    <p:extLst>
      <p:ext uri="{BB962C8B-B14F-4D97-AF65-F5344CB8AC3E}">
        <p14:creationId xmlns:p14="http://schemas.microsoft.com/office/powerpoint/2010/main" val="1541756668"/>
      </p:ext>
    </p:extLst>
  </p:cSld>
  <p:clrMapOvr>
    <a:masterClrMapping/>
  </p:clrMapOvr>
  <p:timing>
    <p:tnLst>
      <p:par>
        <p:cTn id="1" dur="indefinite" restart="never" nodeType="tmRoot"/>
      </p:par>
    </p:tnLst>
  </p:timing>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Vertical Title and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DA99F2A-1CA3-4175-8486-CAD88CF786FA}" type="slidenum">
              <a:rPr kumimoji="0" lang="en-US"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
        <p:nvSpPr>
          <p:cNvPr id="10" name="Rectangle 9"/>
          <p:cNvSpPr/>
          <p:nvPr/>
        </p:nvSpPr>
        <p:spPr>
          <a:xfrm>
            <a:off x="0" y="6019800"/>
            <a:ext cx="9144000" cy="838200"/>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th-TH" sz="2400" b="0" i="0" u="none" strike="noStrike" kern="1200" cap="none" spc="0" normalizeH="0" baseline="0" noProof="0">
              <a:ln>
                <a:noFill/>
              </a:ln>
              <a:solidFill>
                <a:prstClr val="black"/>
              </a:solidFill>
              <a:effectLst/>
              <a:uLnTx/>
              <a:uFillTx/>
              <a:latin typeface="Open Sans"/>
              <a:ea typeface="+mn-ea"/>
              <a:cs typeface="TH Sarabun New"/>
            </a:endParaRPr>
          </a:p>
        </p:txBody>
      </p:sp>
    </p:spTree>
    <p:extLst>
      <p:ext uri="{BB962C8B-B14F-4D97-AF65-F5344CB8AC3E}">
        <p14:creationId xmlns:p14="http://schemas.microsoft.com/office/powerpoint/2010/main" val="469490686"/>
      </p:ext>
    </p:extLst>
  </p:cSld>
  <p:clrMapOvr>
    <a:masterClrMapping/>
  </p:clrMapOvr>
  <p:timing>
    <p:tnLst>
      <p:par>
        <p:cTn id="1" dur="indefinite" restart="never" nodeType="tmRoot"/>
      </p:par>
    </p:tnLst>
  </p:timing>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304800"/>
            <a:ext cx="77724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685800" y="1676400"/>
            <a:ext cx="7772400" cy="44196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xfrm>
            <a:off x="685800" y="6248400"/>
            <a:ext cx="1905000" cy="457200"/>
          </a:xfrm>
          <a:prstGeom prst="rect">
            <a:avLst/>
          </a:prstGeom>
          <a:ln/>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D25332B7-E96F-40AF-987A-21A9BD140C81}" type="datetime1">
              <a:rPr kumimoji="0" lang="th-TH" sz="2800" b="0" i="0" u="none" strike="noStrike" kern="1200" cap="none" spc="0" normalizeH="0" baseline="0" noProof="0" smtClean="0">
                <a:ln>
                  <a:noFill/>
                </a:ln>
                <a:solidFill>
                  <a:prstClr val="black"/>
                </a:solidFill>
                <a:effectLst/>
                <a:uLnTx/>
                <a:uFillTx/>
                <a:latin typeface="Arial" pitchFamily="34" charset="0"/>
                <a:ea typeface="+mn-ea"/>
                <a:cs typeface="Angsana New" pitchFamily="18" charset="-34"/>
              </a:rPr>
              <a:pPr marL="0" marR="0" lvl="0" indent="0" algn="l" defTabSz="914400" rtl="0" eaLnBrk="1" fontAlgn="base" latinLnBrk="0" hangingPunct="1">
                <a:lnSpc>
                  <a:spcPct val="100000"/>
                </a:lnSpc>
                <a:spcBef>
                  <a:spcPct val="0"/>
                </a:spcBef>
                <a:spcAft>
                  <a:spcPct val="0"/>
                </a:spcAft>
                <a:buClrTx/>
                <a:buSzTx/>
                <a:buFontTx/>
                <a:buNone/>
                <a:tabLst/>
                <a:defRPr/>
              </a:pPr>
              <a:t>21/02/62</a:t>
            </a:fld>
            <a:endParaRPr kumimoji="0" lang="en-US" sz="2800" b="0" i="0" u="none" strike="noStrike" kern="1200" cap="none" spc="0" normalizeH="0" baseline="0" noProof="0">
              <a:ln>
                <a:noFill/>
              </a:ln>
              <a:solidFill>
                <a:prstClr val="black"/>
              </a:solidFill>
              <a:effectLst/>
              <a:uLnTx/>
              <a:uFillTx/>
              <a:latin typeface="Arial" pitchFamily="34" charset="0"/>
              <a:ea typeface="+mn-ea"/>
              <a:cs typeface="Angsana New" pitchFamily="18" charset="-34"/>
            </a:endParaRPr>
          </a:p>
        </p:txBody>
      </p:sp>
      <p:sp>
        <p:nvSpPr>
          <p:cNvPr id="5" name="Rectangle 5"/>
          <p:cNvSpPr>
            <a:spLocks noGrp="1" noChangeArrowheads="1"/>
          </p:cNvSpPr>
          <p:nvPr>
            <p:ph type="ftr" sz="quarter" idx="11"/>
          </p:nvPr>
        </p:nvSpPr>
        <p:spPr>
          <a:xfrm>
            <a:off x="3124200" y="6248400"/>
            <a:ext cx="2895600" cy="457200"/>
          </a:xfrm>
          <a:prstGeom prst="rect">
            <a:avLst/>
          </a:prstGeom>
          <a:ln/>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itchFamily="34" charset="0"/>
              <a:ea typeface="+mn-ea"/>
              <a:cs typeface="Angsana New" pitchFamily="18" charset="-34"/>
            </a:endParaRPr>
          </a:p>
        </p:txBody>
      </p:sp>
      <p:sp>
        <p:nvSpPr>
          <p:cNvPr id="7" name="Slide Number Placeholder 5"/>
          <p:cNvSpPr>
            <a:spLocks noGrp="1"/>
          </p:cNvSpPr>
          <p:nvPr>
            <p:ph type="sldNum" sz="quarter" idx="4"/>
          </p:nvPr>
        </p:nvSpPr>
        <p:spPr>
          <a:xfrm>
            <a:off x="8787337" y="4581128"/>
            <a:ext cx="430893" cy="365125"/>
          </a:xfrm>
          <a:prstGeom prst="rect">
            <a:avLst/>
          </a:prstGeom>
        </p:spPr>
        <p:txBody>
          <a:bodyPr vert="horz" lIns="91440" tIns="45720" rIns="91440" bIns="45720" rtlCol="0" anchor="ctr"/>
          <a:lstStyle>
            <a:lvl1pPr algn="r">
              <a:defRPr sz="1600">
                <a:solidFill>
                  <a:schemeClr val="tx1">
                    <a:tint val="75000"/>
                  </a:schemeClr>
                </a:solidFill>
                <a:latin typeface="AngsanaUPC" panose="02020603050405020304" pitchFamily="18" charset="-34"/>
                <a:cs typeface="AngsanaUPC" panose="02020603050405020304" pitchFamily="18" charset="-34"/>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9DA99F2A-1CA3-4175-8486-CAD88CF786FA}" type="slidenum">
              <a:rPr kumimoji="0" lang="en-US"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1084788398"/>
      </p:ext>
    </p:extLst>
  </p:cSld>
  <p:clrMapOvr>
    <a:masterClrMapping/>
  </p:clrMapOvr>
  <p:transition>
    <p:strips dir="ru"/>
  </p:transition>
  <p:timing>
    <p:tnLst>
      <p:par>
        <p:cTn id="1" dur="indefinite" restart="never" nodeType="tmRoot"/>
      </p:par>
    </p:tnLst>
  </p:timing>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xmlns="" id="{62BD92BF-F03A-4A0A-A7B9-61662E8E30C8}"/>
              </a:ext>
            </a:extLst>
          </p:cNvPr>
          <p:cNvSpPr>
            <a:spLocks noGrp="1"/>
          </p:cNvSpPr>
          <p:nvPr>
            <p:ph type="dt" sz="half" idx="10"/>
          </p:nvPr>
        </p:nvSpPr>
        <p:spPr>
          <a:xfrm>
            <a:off x="457200" y="6356350"/>
            <a:ext cx="2133600" cy="365125"/>
          </a:xfrm>
          <a:prstGeom prst="rect">
            <a:avLst/>
          </a:prstGeom>
        </p:spPr>
        <p:txBody>
          <a:bodyPr/>
          <a:lstStyle>
            <a:lvl1pPr fontAlgn="base">
              <a:spcBef>
                <a:spcPct val="0"/>
              </a:spcBef>
              <a:spcAft>
                <a:spcPct val="0"/>
              </a:spcAft>
              <a:defRPr>
                <a:latin typeface="Arial" pitchFamily="34" charset="0"/>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D25332B7-E96F-40AF-987A-21A9BD140C81}" type="datetime1">
              <a:rPr kumimoji="0" lang="th-TH" sz="2800" b="0" i="0" u="none" strike="noStrike" kern="1200" cap="none" spc="0" normalizeH="0" baseline="0" noProof="0" smtClean="0">
                <a:ln>
                  <a:noFill/>
                </a:ln>
                <a:solidFill>
                  <a:prstClr val="black"/>
                </a:solidFill>
                <a:effectLst/>
                <a:uLnTx/>
                <a:uFillTx/>
                <a:latin typeface="Arial" pitchFamily="34" charset="0"/>
                <a:ea typeface="+mn-ea"/>
              </a:rPr>
              <a:pPr marL="0" marR="0" lvl="0" indent="0" algn="l" defTabSz="914400" rtl="0" eaLnBrk="1" fontAlgn="base" latinLnBrk="0" hangingPunct="1">
                <a:lnSpc>
                  <a:spcPct val="100000"/>
                </a:lnSpc>
                <a:spcBef>
                  <a:spcPct val="0"/>
                </a:spcBef>
                <a:spcAft>
                  <a:spcPct val="0"/>
                </a:spcAft>
                <a:buClrTx/>
                <a:buSzTx/>
                <a:buFontTx/>
                <a:buNone/>
                <a:tabLst/>
                <a:defRPr/>
              </a:pPr>
              <a:t>21/02/62</a:t>
            </a:fld>
            <a:endParaRPr kumimoji="0" lang="en-US" sz="2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5" name="Footer Placeholder 4">
            <a:extLst>
              <a:ext uri="{FF2B5EF4-FFF2-40B4-BE49-F238E27FC236}">
                <a16:creationId xmlns:a16="http://schemas.microsoft.com/office/drawing/2014/main" xmlns="" id="{C084E0ED-4589-4656-82CE-1A4A4ADEE6E7}"/>
              </a:ext>
            </a:extLst>
          </p:cNvPr>
          <p:cNvSpPr>
            <a:spLocks noGrp="1"/>
          </p:cNvSpPr>
          <p:nvPr>
            <p:ph type="ftr" sz="quarter" idx="11"/>
          </p:nvPr>
        </p:nvSpPr>
        <p:spPr>
          <a:xfrm>
            <a:off x="3124200" y="6356350"/>
            <a:ext cx="2895600" cy="365125"/>
          </a:xfrm>
          <a:prstGeom prst="rect">
            <a:avLst/>
          </a:prstGeom>
        </p:spPr>
        <p:txBody>
          <a:bodyPr/>
          <a:lstStyle>
            <a:lvl1pPr fontAlgn="base">
              <a:spcBef>
                <a:spcPct val="0"/>
              </a:spcBef>
              <a:spcAft>
                <a:spcPct val="0"/>
              </a:spcAft>
              <a:defRPr>
                <a:latin typeface="Arial" pitchFamily="34" charset="0"/>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7" name="Slide Number Placeholder 5"/>
          <p:cNvSpPr>
            <a:spLocks noGrp="1"/>
          </p:cNvSpPr>
          <p:nvPr>
            <p:ph type="sldNum" sz="quarter" idx="4"/>
          </p:nvPr>
        </p:nvSpPr>
        <p:spPr>
          <a:xfrm>
            <a:off x="8787337" y="4581128"/>
            <a:ext cx="430893" cy="365125"/>
          </a:xfrm>
          <a:prstGeom prst="rect">
            <a:avLst/>
          </a:prstGeom>
        </p:spPr>
        <p:txBody>
          <a:bodyPr vert="horz" lIns="91440" tIns="45720" rIns="91440" bIns="45720" rtlCol="0" anchor="ctr"/>
          <a:lstStyle>
            <a:lvl1pPr algn="r">
              <a:defRPr sz="1600">
                <a:solidFill>
                  <a:schemeClr val="tx1">
                    <a:tint val="75000"/>
                  </a:schemeClr>
                </a:solidFill>
                <a:latin typeface="AngsanaUPC" panose="02020603050405020304" pitchFamily="18" charset="-34"/>
                <a:cs typeface="AngsanaUPC" panose="02020603050405020304" pitchFamily="18" charset="-34"/>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9DA99F2A-1CA3-4175-8486-CAD88CF786FA}" type="slidenum">
              <a:rPr kumimoji="0" lang="en-US"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2210266006"/>
      </p:ext>
    </p:extLst>
  </p:cSld>
  <p:clrMapOvr>
    <a:masterClrMapping/>
  </p:clrMapOvr>
  <p:timing>
    <p:tnLst>
      <p:par>
        <p:cTn id="1" dur="indefinite" restart="never" nodeType="tmRoot"/>
      </p:par>
    </p:tnLst>
  </p:timing>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DA99F2A-1CA3-4175-8486-CAD88CF786FA}" type="slidenum">
              <a:rPr kumimoji="0" lang="en-US"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2061345236"/>
      </p:ext>
    </p:extLst>
  </p:cSld>
  <p:clrMapOvr>
    <a:masterClrMapping/>
  </p:clrMapOvr>
  <p:timing>
    <p:tnLst>
      <p:par>
        <p:cTn id="1" dur="indefinite" restart="never" nodeType="tmRoot"/>
      </p:par>
    </p:tnLst>
  </p:timing>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DA99F2A-1CA3-4175-8486-CAD88CF786FA}" type="slidenum">
              <a:rPr kumimoji="0" lang="en-US"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4201540190"/>
      </p:ext>
    </p:extLst>
  </p:cSld>
  <p:clrMapOvr>
    <a:masterClrMapping/>
  </p:clrMapOvr>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th-TH"/>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th-TH"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p:txBody>
          <a:bodyPr/>
          <a:lstStyle>
            <a:lvl1pPr>
              <a:defRPr sz="2600"/>
            </a:lvl1pPr>
          </a:lstStyle>
          <a:p>
            <a:pPr>
              <a:defRPr/>
            </a:pPr>
            <a:endParaRPr lang="en-US"/>
          </a:p>
        </p:txBody>
      </p:sp>
      <p:sp>
        <p:nvSpPr>
          <p:cNvPr id="6" name="Rectangle 5"/>
          <p:cNvSpPr>
            <a:spLocks noGrp="1" noChangeArrowheads="1"/>
          </p:cNvSpPr>
          <p:nvPr>
            <p:ph type="ftr" sz="quarter" idx="11"/>
          </p:nvPr>
        </p:nvSpPr>
        <p:spPr/>
        <p:txBody>
          <a:bodyPr/>
          <a:lstStyle>
            <a:lvl1pPr>
              <a:defRPr sz="2600"/>
            </a:lvl1pPr>
          </a:lstStyle>
          <a:p>
            <a:pPr>
              <a:defRPr/>
            </a:pPr>
            <a:endParaRPr lang="en-US"/>
          </a:p>
        </p:txBody>
      </p:sp>
      <p:sp>
        <p:nvSpPr>
          <p:cNvPr id="7" name="Rectangle 6"/>
          <p:cNvSpPr>
            <a:spLocks noGrp="1" noChangeArrowheads="1"/>
          </p:cNvSpPr>
          <p:nvPr>
            <p:ph type="sldNum" sz="quarter" idx="12"/>
          </p:nvPr>
        </p:nvSpPr>
        <p:spPr/>
        <p:txBody>
          <a:bodyPr/>
          <a:lstStyle>
            <a:lvl1pPr>
              <a:defRPr sz="2400" i="1">
                <a:solidFill>
                  <a:schemeClr val="bg1"/>
                </a:solidFill>
                <a:effectDag name="">
                  <a:cont type="tree" name="">
                    <a:effect ref="fillLine"/>
                    <a:outerShdw dist="38100" dir="13500000" algn="br">
                      <a:srgbClr val="FF92E9"/>
                    </a:outerShdw>
                  </a:cont>
                  <a:cont type="tree" name="">
                    <a:effect ref="fillLine"/>
                    <a:outerShdw dist="38100" dir="2700000" algn="tl">
                      <a:srgbClr val="6A255C"/>
                    </a:outerShdw>
                  </a:cont>
                  <a:effect ref="fillLine"/>
                </a:effectDag>
                <a:latin typeface="BrowalliaUPC" pitchFamily="34" charset="-34"/>
              </a:defRPr>
            </a:lvl1pPr>
          </a:lstStyle>
          <a:p>
            <a:pPr>
              <a:defRPr/>
            </a:pPr>
            <a:fld id="{A68AAE41-90B6-4C70-9C06-C7FFBC0AAEBB}" type="slidenum">
              <a:rPr lang="en-US">
                <a:solidFill>
                  <a:srgbClr val="B13F9A"/>
                </a:solidFill>
              </a:rPr>
              <a:pPr>
                <a:defRPr/>
              </a:pPr>
              <a:t>‹#›</a:t>
            </a:fld>
            <a:endParaRPr lang="th-TH">
              <a:solidFill>
                <a:srgbClr val="B13F9A"/>
              </a:solidFill>
            </a:endParaRPr>
          </a:p>
        </p:txBody>
      </p:sp>
    </p:spTree>
    <p:extLst>
      <p:ext uri="{BB962C8B-B14F-4D97-AF65-F5344CB8AC3E}">
        <p14:creationId xmlns:p14="http://schemas.microsoft.com/office/powerpoint/2010/main" val="312472093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DA99F2A-1CA3-4175-8486-CAD88CF786FA}" type="slidenum">
              <a:rPr kumimoji="0" lang="en-US"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3188134173"/>
      </p:ext>
    </p:extLst>
  </p:cSld>
  <p:clrMapOvr>
    <a:masterClrMapping/>
  </p:clrMapOvr>
  <p:timing>
    <p:tnLst>
      <p:par>
        <p:cTn id="1" dur="indefinite" restart="never" nodeType="tmRoot"/>
      </p:par>
    </p:tnLst>
  </p:timing>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DA99F2A-1CA3-4175-8486-CAD88CF786FA}" type="slidenum">
              <a:rPr kumimoji="0" lang="en-US"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1983414526"/>
      </p:ext>
    </p:extLst>
  </p:cSld>
  <p:clrMapOvr>
    <a:masterClrMapping/>
  </p:clrMapOvr>
  <p:timing>
    <p:tnLst>
      <p:par>
        <p:cTn id="1" dur="indefinite" restart="never" nodeType="tmRoot"/>
      </p:par>
    </p:tnLst>
  </p:timing>
  <p:hf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6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DA99F2A-1CA3-4175-8486-CAD88CF786FA}" type="slidenum">
              <a:rPr kumimoji="0" lang="en-US"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1460421659"/>
      </p:ext>
    </p:extLst>
  </p:cSld>
  <p:clrMapOvr>
    <a:masterClrMapping/>
  </p:clrMapOvr>
  <p:timing>
    <p:tnLst>
      <p:par>
        <p:cTn id="1" dur="indefinite" restart="never" nodeType="tmRoot"/>
      </p:par>
    </p:tnLst>
  </p:timing>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DA99F2A-1CA3-4175-8486-CAD88CF786FA}" type="slidenum">
              <a:rPr kumimoji="0" lang="en-US"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2039260740"/>
      </p:ext>
    </p:extLst>
  </p:cSld>
  <p:clrMapOvr>
    <a:masterClrMapping/>
  </p:clrMapOvr>
  <p:timing>
    <p:tnLst>
      <p:par>
        <p:cTn id="1" dur="indefinite" restart="never" nodeType="tmRoot"/>
      </p:par>
    </p:tnLst>
  </p:timing>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8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DA99F2A-1CA3-4175-8486-CAD88CF786FA}" type="slidenum">
              <a:rPr kumimoji="0" lang="en-US"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3774811159"/>
      </p:ext>
    </p:extLst>
  </p:cSld>
  <p:clrMapOvr>
    <a:masterClrMapping/>
  </p:clrMapOvr>
  <p:timing>
    <p:tnLst>
      <p:par>
        <p:cTn id="1" dur="indefinite" restart="never" nodeType="tmRoot"/>
      </p:par>
    </p:tnLst>
  </p:timing>
  <p:hf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9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DA99F2A-1CA3-4175-8486-CAD88CF786FA}" type="slidenum">
              <a:rPr kumimoji="0" lang="en-US"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2575482596"/>
      </p:ext>
    </p:extLst>
  </p:cSld>
  <p:clrMapOvr>
    <a:masterClrMapping/>
  </p:clrMapOvr>
  <p:timing>
    <p:tnLst>
      <p:par>
        <p:cTn id="1" dur="indefinite" restart="never" nodeType="tmRoot"/>
      </p:par>
    </p:tnLst>
  </p:timing>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10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DA99F2A-1CA3-4175-8486-CAD88CF786FA}" type="slidenum">
              <a:rPr kumimoji="0" lang="en-US"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3841641446"/>
      </p:ext>
    </p:extLst>
  </p:cSld>
  <p:clrMapOvr>
    <a:masterClrMapping/>
  </p:clrMapOvr>
  <p:timing>
    <p:tnLst>
      <p:par>
        <p:cTn id="1" dur="indefinite" restart="never" nodeType="tmRoot"/>
      </p:par>
    </p:tnLst>
  </p:timing>
  <p:hf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11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DA99F2A-1CA3-4175-8486-CAD88CF786FA}" type="slidenum">
              <a:rPr kumimoji="0" lang="en-US"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3737171417"/>
      </p:ext>
    </p:extLst>
  </p:cSld>
  <p:clrMapOvr>
    <a:masterClrMapping/>
  </p:clrMapOvr>
  <p:timing>
    <p:tnLst>
      <p:par>
        <p:cTn id="1" dur="indefinite" restart="never" nodeType="tmRoot"/>
      </p:par>
    </p:tnLst>
  </p:timing>
  <p:hf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12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DA99F2A-1CA3-4175-8486-CAD88CF786FA}" type="slidenum">
              <a:rPr kumimoji="0" lang="en-US"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1115156895"/>
      </p:ext>
    </p:extLst>
  </p:cSld>
  <p:clrMapOvr>
    <a:masterClrMapping/>
  </p:clrMapOvr>
  <p:timing>
    <p:tnLst>
      <p:par>
        <p:cTn id="1" dur="indefinite" restart="never" nodeType="tmRoot"/>
      </p:par>
    </p:tnLst>
  </p:timing>
  <p:hf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13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DA99F2A-1CA3-4175-8486-CAD88CF786FA}" type="slidenum">
              <a:rPr kumimoji="0" lang="en-US"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2597698741"/>
      </p:ext>
    </p:extLst>
  </p:cSld>
  <p:clrMapOvr>
    <a:masterClrMapping/>
  </p:clrMapOvr>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h-TH"/>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h-TH"/>
          </a:p>
        </p:txBody>
      </p:sp>
      <p:sp>
        <p:nvSpPr>
          <p:cNvPr id="4" name="Rectangle 4"/>
          <p:cNvSpPr>
            <a:spLocks noGrp="1" noChangeArrowheads="1"/>
          </p:cNvSpPr>
          <p:nvPr>
            <p:ph type="dt" sz="half" idx="10"/>
          </p:nvPr>
        </p:nvSpPr>
        <p:spPr/>
        <p:txBody>
          <a:bodyPr/>
          <a:lstStyle>
            <a:lvl1pPr>
              <a:defRPr sz="2600"/>
            </a:lvl1pPr>
          </a:lstStyle>
          <a:p>
            <a:pPr>
              <a:defRPr/>
            </a:pPr>
            <a:endParaRPr lang="en-US"/>
          </a:p>
        </p:txBody>
      </p:sp>
      <p:sp>
        <p:nvSpPr>
          <p:cNvPr id="5" name="Rectangle 5"/>
          <p:cNvSpPr>
            <a:spLocks noGrp="1" noChangeArrowheads="1"/>
          </p:cNvSpPr>
          <p:nvPr>
            <p:ph type="ftr" sz="quarter" idx="11"/>
          </p:nvPr>
        </p:nvSpPr>
        <p:spPr/>
        <p:txBody>
          <a:bodyPr/>
          <a:lstStyle>
            <a:lvl1pPr>
              <a:defRPr sz="2600"/>
            </a:lvl1pPr>
          </a:lstStyle>
          <a:p>
            <a:pPr>
              <a:defRPr/>
            </a:pPr>
            <a:endParaRPr lang="en-US"/>
          </a:p>
        </p:txBody>
      </p:sp>
      <p:sp>
        <p:nvSpPr>
          <p:cNvPr id="6" name="Rectangle 6"/>
          <p:cNvSpPr>
            <a:spLocks noGrp="1" noChangeArrowheads="1"/>
          </p:cNvSpPr>
          <p:nvPr>
            <p:ph type="sldNum" sz="quarter" idx="12"/>
          </p:nvPr>
        </p:nvSpPr>
        <p:spPr/>
        <p:txBody>
          <a:bodyPr/>
          <a:lstStyle>
            <a:lvl1pPr>
              <a:defRPr sz="2400" i="1">
                <a:solidFill>
                  <a:schemeClr val="bg1"/>
                </a:solidFill>
                <a:effectDag name="">
                  <a:cont type="tree" name="">
                    <a:effect ref="fillLine"/>
                    <a:outerShdw dist="38100" dir="13500000" algn="br">
                      <a:srgbClr val="FF92E9"/>
                    </a:outerShdw>
                  </a:cont>
                  <a:cont type="tree" name="">
                    <a:effect ref="fillLine"/>
                    <a:outerShdw dist="38100" dir="2700000" algn="tl">
                      <a:srgbClr val="6A255C"/>
                    </a:outerShdw>
                  </a:cont>
                  <a:effect ref="fillLine"/>
                </a:effectDag>
                <a:latin typeface="BrowalliaUPC" pitchFamily="34" charset="-34"/>
              </a:defRPr>
            </a:lvl1pPr>
          </a:lstStyle>
          <a:p>
            <a:pPr>
              <a:defRPr/>
            </a:pPr>
            <a:fld id="{7EF5392A-FCFB-4A1F-8E29-66C525901862}" type="slidenum">
              <a:rPr lang="en-US">
                <a:solidFill>
                  <a:srgbClr val="B13F9A"/>
                </a:solidFill>
              </a:rPr>
              <a:pPr>
                <a:defRPr/>
              </a:pPr>
              <a:t>‹#›</a:t>
            </a:fld>
            <a:endParaRPr lang="th-TH">
              <a:solidFill>
                <a:srgbClr val="B13F9A"/>
              </a:solidFill>
            </a:endParaRPr>
          </a:p>
        </p:txBody>
      </p:sp>
    </p:spTree>
    <p:extLst>
      <p:ext uri="{BB962C8B-B14F-4D97-AF65-F5344CB8AC3E}">
        <p14:creationId xmlns:p14="http://schemas.microsoft.com/office/powerpoint/2010/main" val="173544489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14_Title and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1" name="think-cell Slide" r:id="rId5" imgW="270" imgH="270" progId="TCLayout.ActiveDocument.1">
                  <p:embed/>
                </p:oleObj>
              </mc:Choice>
              <mc:Fallback>
                <p:oleObj name="think-cell Slide" r:id="rId5" imgW="270" imgH="270"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custDataLst>
              <p:tags r:id="rId3"/>
            </p:custDataLst>
          </p:nvPr>
        </p:nvSpPr>
        <p:spPr>
          <a:xfrm>
            <a:off x="457200" y="1600200"/>
            <a:ext cx="8229600" cy="4525963"/>
          </a:xfrm>
          <a:prstGeom prst="rect">
            <a:avLst/>
          </a:prstGeom>
        </p:spPr>
        <p:txBody>
          <a:bodyPr/>
          <a:lstStyle>
            <a:lvl1pPr>
              <a:defRPr>
                <a:latin typeface="TH SarabunPSK" panose="020B0500040200020003" pitchFamily="34" charset="-34"/>
                <a:cs typeface="TH SarabunPSK" panose="020B0500040200020003" pitchFamily="34" charset="-34"/>
              </a:defRPr>
            </a:lvl1pPr>
            <a:lvl2pPr>
              <a:defRPr>
                <a:latin typeface="TH SarabunPSK" panose="020B0500040200020003" pitchFamily="34" charset="-34"/>
                <a:cs typeface="TH SarabunPSK" panose="020B0500040200020003" pitchFamily="34" charset="-34"/>
              </a:defRPr>
            </a:lvl2pPr>
            <a:lvl3pPr>
              <a:defRPr>
                <a:latin typeface="TH SarabunPSK" panose="020B0500040200020003" pitchFamily="34" charset="-34"/>
                <a:cs typeface="TH SarabunPSK" panose="020B0500040200020003" pitchFamily="34" charset="-34"/>
              </a:defRPr>
            </a:lvl3pPr>
            <a:lvl4pPr>
              <a:defRPr>
                <a:latin typeface="TH SarabunPSK" panose="020B0500040200020003" pitchFamily="34" charset="-34"/>
                <a:cs typeface="TH SarabunPSK" panose="020B0500040200020003" pitchFamily="34" charset="-34"/>
              </a:defRPr>
            </a:lvl4pPr>
            <a:lvl5pPr>
              <a:defRPr>
                <a:latin typeface="TH SarabunPSK" panose="020B0500040200020003" pitchFamily="34" charset="-34"/>
                <a:cs typeface="TH SarabunPSK" panose="020B0500040200020003" pitchFamily="34" charset="-34"/>
              </a:defRPr>
            </a:lvl5pPr>
          </a:lstStyle>
          <a:p>
            <a:pPr lvl="0"/>
            <a:r>
              <a:rPr lang="da-DK" dirty="0" smtClean="0"/>
              <a:t>Click to edit Master text styles</a:t>
            </a:r>
          </a:p>
          <a:p>
            <a:pPr lvl="1"/>
            <a:r>
              <a:rPr lang="da-DK" dirty="0" smtClean="0"/>
              <a:t>Second level</a:t>
            </a:r>
          </a:p>
          <a:p>
            <a:pPr lvl="2"/>
            <a:r>
              <a:rPr lang="da-DK" dirty="0" smtClean="0"/>
              <a:t>Third level</a:t>
            </a:r>
          </a:p>
          <a:p>
            <a:pPr lvl="3"/>
            <a:r>
              <a:rPr lang="da-DK" dirty="0" smtClean="0"/>
              <a:t>Fourth level</a:t>
            </a:r>
          </a:p>
          <a:p>
            <a:pPr lvl="4"/>
            <a:r>
              <a:rPr lang="da-DK" dirty="0" smtClean="0"/>
              <a:t>Fifth level</a:t>
            </a:r>
            <a:endParaRPr lang="en-US" dirty="0"/>
          </a:p>
        </p:txBody>
      </p:sp>
      <p:pic>
        <p:nvPicPr>
          <p:cNvPr id="15" name="Picture 94"/>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8662862" y="6624981"/>
            <a:ext cx="180000" cy="1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4" name="Group 33"/>
          <p:cNvGrpSpPr/>
          <p:nvPr/>
        </p:nvGrpSpPr>
        <p:grpSpPr>
          <a:xfrm>
            <a:off x="3175" y="0"/>
            <a:ext cx="9153827" cy="900000"/>
            <a:chOff x="3175" y="0"/>
            <a:chExt cx="9153827" cy="900000"/>
          </a:xfrm>
        </p:grpSpPr>
        <p:sp>
          <p:nvSpPr>
            <p:cNvPr id="25" name="Rectangle 24"/>
            <p:cNvSpPr/>
            <p:nvPr userDrawn="1"/>
          </p:nvSpPr>
          <p:spPr>
            <a:xfrm>
              <a:off x="3175" y="0"/>
              <a:ext cx="9139919" cy="900000"/>
            </a:xfrm>
            <a:prstGeom prst="rect">
              <a:avLst/>
            </a:prstGeom>
            <a:gradFill>
              <a:gsLst>
                <a:gs pos="100000">
                  <a:schemeClr val="accent1">
                    <a:lumMod val="75000"/>
                  </a:schemeClr>
                </a:gs>
                <a:gs pos="0">
                  <a:schemeClr val="accent1">
                    <a:lumMod val="75000"/>
                  </a:schemeClr>
                </a:gs>
              </a:gsLst>
              <a:path path="circle">
                <a:fillToRect l="50000" t="50000" r="50000" b="50000"/>
              </a:path>
            </a:gradFill>
            <a:ln w="3175">
              <a:noFill/>
            </a:ln>
            <a:effectLst>
              <a:outerShdw blurRad="38100" dist="12700" dir="5400000" algn="t" rotWithShape="0">
                <a:prstClr val="black">
                  <a:alpha val="3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TH Sarabun New"/>
              </a:endParaRPr>
            </a:p>
          </p:txBody>
        </p:sp>
        <p:cxnSp>
          <p:nvCxnSpPr>
            <p:cNvPr id="26" name="Straight Connector 25"/>
            <p:cNvCxnSpPr/>
            <p:nvPr userDrawn="1"/>
          </p:nvCxnSpPr>
          <p:spPr>
            <a:xfrm>
              <a:off x="13002" y="757309"/>
              <a:ext cx="9144000" cy="0"/>
            </a:xfrm>
            <a:prstGeom prst="line">
              <a:avLst/>
            </a:prstGeom>
            <a:ln w="6350">
              <a:solidFill>
                <a:schemeClr val="bg1">
                  <a:lumMod val="75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3002" y="180742"/>
              <a:ext cx="9144000" cy="0"/>
            </a:xfrm>
            <a:prstGeom prst="line">
              <a:avLst/>
            </a:prstGeom>
            <a:ln w="6350">
              <a:solidFill>
                <a:schemeClr val="bg1">
                  <a:lumMod val="75000"/>
                </a:schemeClr>
              </a:solidFill>
              <a:prstDash val="dash"/>
            </a:ln>
          </p:spPr>
          <p:style>
            <a:lnRef idx="2">
              <a:schemeClr val="accent1"/>
            </a:lnRef>
            <a:fillRef idx="0">
              <a:schemeClr val="accent1"/>
            </a:fillRef>
            <a:effectRef idx="1">
              <a:schemeClr val="accent1"/>
            </a:effectRef>
            <a:fontRef idx="minor">
              <a:schemeClr val="tx1"/>
            </a:fontRef>
          </p:style>
        </p:cxnSp>
      </p:grpSp>
      <p:sp>
        <p:nvSpPr>
          <p:cNvPr id="10" name="Slide Number Placeholder 5"/>
          <p:cNvSpPr>
            <a:spLocks noGrp="1"/>
          </p:cNvSpPr>
          <p:nvPr>
            <p:ph type="sldNum" sz="quarter" idx="4"/>
          </p:nvPr>
        </p:nvSpPr>
        <p:spPr>
          <a:xfrm>
            <a:off x="8787337" y="4581128"/>
            <a:ext cx="430893" cy="365125"/>
          </a:xfrm>
          <a:prstGeom prst="rect">
            <a:avLst/>
          </a:prstGeom>
        </p:spPr>
        <p:txBody>
          <a:bodyPr vert="horz" lIns="91440" tIns="45720" rIns="91440" bIns="45720" rtlCol="0" anchor="ctr"/>
          <a:lstStyle>
            <a:lvl1pPr algn="r">
              <a:defRPr sz="1600">
                <a:solidFill>
                  <a:schemeClr val="tx1">
                    <a:tint val="75000"/>
                  </a:schemeClr>
                </a:solidFill>
                <a:latin typeface="AngsanaUPC" panose="02020603050405020304" pitchFamily="18" charset="-34"/>
                <a:cs typeface="AngsanaUPC" panose="02020603050405020304" pitchFamily="18" charset="-34"/>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9DA99F2A-1CA3-4175-8486-CAD88CF786FA}" type="slidenum">
              <a:rPr kumimoji="0" lang="en-US"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3890509849"/>
      </p:ext>
    </p:extLst>
  </p:cSld>
  <p:clrMapOvr>
    <a:masterClrMapping/>
  </p:clrMapOvr>
  <p:timing>
    <p:tnLst>
      <p:par>
        <p:cTn id="1" dur="indefinite" restart="never" nodeType="tmRoot"/>
      </p:par>
    </p:tnLst>
  </p:timing>
  <p:hf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15_Title and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5" name="think-cell Slide" r:id="rId5" imgW="270" imgH="270" progId="TCLayout.ActiveDocument.1">
                  <p:embed/>
                </p:oleObj>
              </mc:Choice>
              <mc:Fallback>
                <p:oleObj name="think-cell Slide" r:id="rId5" imgW="270" imgH="270"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custDataLst>
              <p:tags r:id="rId3"/>
            </p:custDataLst>
          </p:nvPr>
        </p:nvSpPr>
        <p:spPr>
          <a:xfrm>
            <a:off x="457200" y="1600200"/>
            <a:ext cx="8229600" cy="4525963"/>
          </a:xfrm>
          <a:prstGeom prst="rect">
            <a:avLst/>
          </a:prstGeom>
        </p:spPr>
        <p:txBody>
          <a:bodyPr/>
          <a:lstStyle>
            <a:lvl1pPr>
              <a:defRPr>
                <a:latin typeface="TH SarabunPSK" panose="020B0500040200020003" pitchFamily="34" charset="-34"/>
                <a:cs typeface="TH SarabunPSK" panose="020B0500040200020003" pitchFamily="34" charset="-34"/>
              </a:defRPr>
            </a:lvl1pPr>
            <a:lvl2pPr>
              <a:defRPr>
                <a:latin typeface="TH SarabunPSK" panose="020B0500040200020003" pitchFamily="34" charset="-34"/>
                <a:cs typeface="TH SarabunPSK" panose="020B0500040200020003" pitchFamily="34" charset="-34"/>
              </a:defRPr>
            </a:lvl2pPr>
            <a:lvl3pPr>
              <a:defRPr>
                <a:latin typeface="TH SarabunPSK" panose="020B0500040200020003" pitchFamily="34" charset="-34"/>
                <a:cs typeface="TH SarabunPSK" panose="020B0500040200020003" pitchFamily="34" charset="-34"/>
              </a:defRPr>
            </a:lvl3pPr>
            <a:lvl4pPr>
              <a:defRPr>
                <a:latin typeface="TH SarabunPSK" panose="020B0500040200020003" pitchFamily="34" charset="-34"/>
                <a:cs typeface="TH SarabunPSK" panose="020B0500040200020003" pitchFamily="34" charset="-34"/>
              </a:defRPr>
            </a:lvl4pPr>
            <a:lvl5pPr>
              <a:defRPr>
                <a:latin typeface="TH SarabunPSK" panose="020B0500040200020003" pitchFamily="34" charset="-34"/>
                <a:cs typeface="TH SarabunPSK" panose="020B0500040200020003" pitchFamily="34" charset="-34"/>
              </a:defRPr>
            </a:lvl5pPr>
          </a:lstStyle>
          <a:p>
            <a:pPr lvl="0"/>
            <a:r>
              <a:rPr lang="da-DK" dirty="0" smtClean="0"/>
              <a:t>Click to edit Master text styles</a:t>
            </a:r>
          </a:p>
          <a:p>
            <a:pPr lvl="1"/>
            <a:r>
              <a:rPr lang="da-DK" dirty="0" smtClean="0"/>
              <a:t>Second level</a:t>
            </a:r>
          </a:p>
          <a:p>
            <a:pPr lvl="2"/>
            <a:r>
              <a:rPr lang="da-DK" dirty="0" smtClean="0"/>
              <a:t>Third level</a:t>
            </a:r>
          </a:p>
          <a:p>
            <a:pPr lvl="3"/>
            <a:r>
              <a:rPr lang="da-DK" dirty="0" smtClean="0"/>
              <a:t>Fourth level</a:t>
            </a:r>
          </a:p>
          <a:p>
            <a:pPr lvl="4"/>
            <a:r>
              <a:rPr lang="da-DK" dirty="0" smtClean="0"/>
              <a:t>Fifth level</a:t>
            </a:r>
            <a:endParaRPr lang="en-US" dirty="0"/>
          </a:p>
        </p:txBody>
      </p:sp>
      <p:pic>
        <p:nvPicPr>
          <p:cNvPr id="15" name="Picture 94"/>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8662862" y="6624981"/>
            <a:ext cx="180000" cy="1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4" name="Group 33"/>
          <p:cNvGrpSpPr/>
          <p:nvPr/>
        </p:nvGrpSpPr>
        <p:grpSpPr>
          <a:xfrm>
            <a:off x="3175" y="0"/>
            <a:ext cx="9153827" cy="900000"/>
            <a:chOff x="3175" y="0"/>
            <a:chExt cx="9153827" cy="900000"/>
          </a:xfrm>
        </p:grpSpPr>
        <p:sp>
          <p:nvSpPr>
            <p:cNvPr id="25" name="Rectangle 24"/>
            <p:cNvSpPr/>
            <p:nvPr userDrawn="1"/>
          </p:nvSpPr>
          <p:spPr>
            <a:xfrm>
              <a:off x="3175" y="0"/>
              <a:ext cx="9139919" cy="900000"/>
            </a:xfrm>
            <a:prstGeom prst="rect">
              <a:avLst/>
            </a:prstGeom>
            <a:gradFill>
              <a:gsLst>
                <a:gs pos="100000">
                  <a:schemeClr val="accent1">
                    <a:lumMod val="75000"/>
                  </a:schemeClr>
                </a:gs>
                <a:gs pos="0">
                  <a:schemeClr val="accent1">
                    <a:lumMod val="75000"/>
                  </a:schemeClr>
                </a:gs>
              </a:gsLst>
              <a:path path="circle">
                <a:fillToRect l="50000" t="50000" r="50000" b="50000"/>
              </a:path>
            </a:gradFill>
            <a:ln w="3175">
              <a:noFill/>
            </a:ln>
            <a:effectLst>
              <a:outerShdw blurRad="38100" dist="12700" dir="5400000" algn="t" rotWithShape="0">
                <a:prstClr val="black">
                  <a:alpha val="3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TH Sarabun New"/>
              </a:endParaRPr>
            </a:p>
          </p:txBody>
        </p:sp>
        <p:cxnSp>
          <p:nvCxnSpPr>
            <p:cNvPr id="26" name="Straight Connector 25"/>
            <p:cNvCxnSpPr/>
            <p:nvPr userDrawn="1"/>
          </p:nvCxnSpPr>
          <p:spPr>
            <a:xfrm>
              <a:off x="13002" y="757309"/>
              <a:ext cx="9144000" cy="0"/>
            </a:xfrm>
            <a:prstGeom prst="line">
              <a:avLst/>
            </a:prstGeom>
            <a:ln w="6350">
              <a:solidFill>
                <a:schemeClr val="bg1">
                  <a:lumMod val="75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3002" y="180742"/>
              <a:ext cx="9144000" cy="0"/>
            </a:xfrm>
            <a:prstGeom prst="line">
              <a:avLst/>
            </a:prstGeom>
            <a:ln w="6350">
              <a:solidFill>
                <a:schemeClr val="bg1">
                  <a:lumMod val="75000"/>
                </a:schemeClr>
              </a:solidFill>
              <a:prstDash val="dash"/>
            </a:ln>
          </p:spPr>
          <p:style>
            <a:lnRef idx="2">
              <a:schemeClr val="accent1"/>
            </a:lnRef>
            <a:fillRef idx="0">
              <a:schemeClr val="accent1"/>
            </a:fillRef>
            <a:effectRef idx="1">
              <a:schemeClr val="accent1"/>
            </a:effectRef>
            <a:fontRef idx="minor">
              <a:schemeClr val="tx1"/>
            </a:fontRef>
          </p:style>
        </p:cxnSp>
      </p:grpSp>
      <p:sp>
        <p:nvSpPr>
          <p:cNvPr id="10" name="Slide Number Placeholder 5"/>
          <p:cNvSpPr>
            <a:spLocks noGrp="1"/>
          </p:cNvSpPr>
          <p:nvPr>
            <p:ph type="sldNum" sz="quarter" idx="4"/>
          </p:nvPr>
        </p:nvSpPr>
        <p:spPr>
          <a:xfrm>
            <a:off x="8787337" y="4581128"/>
            <a:ext cx="430893" cy="365125"/>
          </a:xfrm>
          <a:prstGeom prst="rect">
            <a:avLst/>
          </a:prstGeom>
        </p:spPr>
        <p:txBody>
          <a:bodyPr vert="horz" lIns="91440" tIns="45720" rIns="91440" bIns="45720" rtlCol="0" anchor="ctr"/>
          <a:lstStyle>
            <a:lvl1pPr algn="r">
              <a:defRPr sz="1600">
                <a:solidFill>
                  <a:schemeClr val="tx1">
                    <a:tint val="75000"/>
                  </a:schemeClr>
                </a:solidFill>
                <a:latin typeface="AngsanaUPC" panose="02020603050405020304" pitchFamily="18" charset="-34"/>
                <a:cs typeface="AngsanaUPC" panose="02020603050405020304" pitchFamily="18" charset="-34"/>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9DA99F2A-1CA3-4175-8486-CAD88CF786FA}" type="slidenum">
              <a:rPr kumimoji="0" lang="en-US"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3308088730"/>
      </p:ext>
    </p:extLst>
  </p:cSld>
  <p:clrMapOvr>
    <a:masterClrMapping/>
  </p:clrMapOvr>
  <p:timing>
    <p:tnLst>
      <p:par>
        <p:cTn id="1" dur="indefinite" restart="never" nodeType="tmRoot"/>
      </p:par>
    </p:tnLst>
  </p:timing>
  <p:hf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sp>
        <p:nvSpPr>
          <p:cNvPr id="2" name="Rectangle 6"/>
          <p:cNvSpPr>
            <a:spLocks noGrp="1" noChangeArrowheads="1"/>
          </p:cNvSpPr>
          <p:nvPr>
            <p:ph type="sldNum" sz="quarter" idx="12"/>
          </p:nvPr>
        </p:nvSpPr>
        <p:spPr>
          <a:xfrm>
            <a:off x="8769207" y="4653136"/>
            <a:ext cx="430893" cy="365125"/>
          </a:xfrm>
          <a:ln/>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9DA99F2A-1CA3-4175-8486-CAD88CF786FA}" type="slidenum">
              <a:rPr kumimoji="0" lang="en-US"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1569297089"/>
      </p:ext>
    </p:extLst>
  </p:cSld>
  <p:clrMapOvr>
    <a:masterClrMapping/>
  </p:clrMapOvr>
  <p:timing>
    <p:tnLst>
      <p:par>
        <p:cTn id="1" dur="indefinite" restart="never" nodeType="tmRoot"/>
      </p:par>
    </p:tnLst>
  </p:timing>
  <p:hf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sp>
        <p:nvSpPr>
          <p:cNvPr id="2" name="Rectangle 6"/>
          <p:cNvSpPr>
            <a:spLocks noGrp="1" noChangeArrowheads="1"/>
          </p:cNvSpPr>
          <p:nvPr>
            <p:ph type="sldNum" sz="quarter" idx="12"/>
          </p:nvPr>
        </p:nvSpPr>
        <p:spPr>
          <a:xfrm>
            <a:off x="8769207" y="4653136"/>
            <a:ext cx="430893" cy="365125"/>
          </a:xfrm>
          <a:ln/>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9DA99F2A-1CA3-4175-8486-CAD88CF786FA}" type="slidenum">
              <a:rPr kumimoji="0" lang="en-US"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1543572793"/>
      </p:ext>
    </p:extLst>
  </p:cSld>
  <p:clrMapOvr>
    <a:masterClrMapping/>
  </p:clrMapOvr>
  <p:timing>
    <p:tnLst>
      <p:par>
        <p:cTn id="1" dur="indefinite" restart="never" nodeType="tmRoot"/>
      </p:par>
    </p:tnLst>
  </p:timing>
  <p:hf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74638"/>
            <a:ext cx="8229600" cy="585152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h-TH"/>
          </a:p>
        </p:txBody>
      </p:sp>
      <p:sp>
        <p:nvSpPr>
          <p:cNvPr id="3" name="Rectangle 4"/>
          <p:cNvSpPr>
            <a:spLocks noGrp="1" noChangeArrowheads="1"/>
          </p:cNvSpPr>
          <p:nvPr>
            <p:ph type="dt" sz="half" idx="10"/>
          </p:nvPr>
        </p:nvSpPr>
        <p:spPr>
          <a:xfrm>
            <a:off x="457200" y="6421438"/>
            <a:ext cx="2133600" cy="365125"/>
          </a:xfrm>
          <a:prstGeom prst="rect">
            <a:avLst/>
          </a:prstGeom>
          <a:ln/>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1200" cap="none" spc="0" normalizeH="0" baseline="0" noProof="0">
              <a:ln>
                <a:noFill/>
              </a:ln>
              <a:solidFill>
                <a:srgbClr val="000000"/>
              </a:solidFill>
              <a:effectLst/>
              <a:uLnTx/>
              <a:uFillTx/>
              <a:latin typeface="Arial" pitchFamily="34" charset="0"/>
              <a:ea typeface="+mn-ea"/>
              <a:cs typeface="Angsana New" pitchFamily="18" charset="-34"/>
            </a:endParaRPr>
          </a:p>
        </p:txBody>
      </p:sp>
      <p:sp>
        <p:nvSpPr>
          <p:cNvPr id="4" name="Rectangle 5"/>
          <p:cNvSpPr>
            <a:spLocks noGrp="1" noChangeArrowheads="1"/>
          </p:cNvSpPr>
          <p:nvPr>
            <p:ph type="ftr" sz="quarter" idx="11"/>
          </p:nvPr>
        </p:nvSpPr>
        <p:spPr>
          <a:xfrm>
            <a:off x="3124200" y="6421438"/>
            <a:ext cx="2895600" cy="365125"/>
          </a:xfrm>
          <a:prstGeom prst="rect">
            <a:avLst/>
          </a:prstGeom>
          <a:ln/>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1200" cap="none" spc="0" normalizeH="0" baseline="0" noProof="0">
              <a:ln>
                <a:noFill/>
              </a:ln>
              <a:solidFill>
                <a:srgbClr val="000000"/>
              </a:solidFill>
              <a:effectLst/>
              <a:uLnTx/>
              <a:uFillTx/>
              <a:latin typeface="Arial" pitchFamily="34" charset="0"/>
              <a:ea typeface="+mn-ea"/>
              <a:cs typeface="Angsana New" pitchFamily="18" charset="-34"/>
            </a:endParaRPr>
          </a:p>
        </p:txBody>
      </p:sp>
      <p:sp>
        <p:nvSpPr>
          <p:cNvPr id="5" name="Rectangle 6"/>
          <p:cNvSpPr>
            <a:spLocks noGrp="1" noChangeArrowheads="1"/>
          </p:cNvSpPr>
          <p:nvPr>
            <p:ph type="sldNum" sz="quarter" idx="12"/>
          </p:nvPr>
        </p:nvSpPr>
        <p:spPr>
          <a:ln/>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CBB82192-A92C-4130-93DB-F9A96142D26E}" type="slidenum">
              <a:rPr kumimoji="0" lang="en-US" sz="1600" b="0" i="0" u="none" strike="noStrike" kern="1200" cap="none" spc="0" normalizeH="0" baseline="0" noProof="0" smtClean="0">
                <a:ln>
                  <a:noFill/>
                </a:ln>
                <a:solidFill>
                  <a:srgbClr val="000000"/>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th-TH" sz="1600" b="0" i="0" u="none" strike="noStrike" kern="1200" cap="none" spc="0" normalizeH="0" baseline="0" noProof="0">
              <a:ln>
                <a:noFill/>
              </a:ln>
              <a:solidFill>
                <a:srgbClr val="000000"/>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3361890827"/>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cSld name="ว่างเปล่า">
    <p:spTree>
      <p:nvGrpSpPr>
        <p:cNvPr id="1" name=""/>
        <p:cNvGrpSpPr/>
        <p:nvPr/>
      </p:nvGrpSpPr>
      <p:grpSpPr>
        <a:xfrm>
          <a:off x="0" y="0"/>
          <a:ext cx="0" cy="0"/>
          <a:chOff x="0" y="0"/>
          <a:chExt cx="0" cy="0"/>
        </a:xfrm>
      </p:grpSpPr>
      <p:sp>
        <p:nvSpPr>
          <p:cNvPr id="2" name="ตัวแทนวันที่ 3"/>
          <p:cNvSpPr>
            <a:spLocks noGrp="1"/>
          </p:cNvSpPr>
          <p:nvPr>
            <p:ph type="dt" sz="half" idx="10"/>
          </p:nvPr>
        </p:nvSpPr>
        <p:spPr>
          <a:xfrm>
            <a:off x="457200" y="6356397"/>
            <a:ext cx="2133600" cy="365125"/>
          </a:xfrm>
          <a:prstGeom prst="rect">
            <a:avLst/>
          </a:prstGeom>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27FF21C6-1C68-4CA3-ABDD-550F45D0D9AB}" type="datetime1">
              <a:rPr kumimoji="0" lang="th-TH" sz="2800" b="0" i="0" u="none" strike="noStrike" kern="1200" cap="none" spc="0" normalizeH="0" baseline="0" noProof="0">
                <a:ln>
                  <a:noFill/>
                </a:ln>
                <a:solidFill>
                  <a:prstClr val="black">
                    <a:tint val="75000"/>
                  </a:prstClr>
                </a:solidFill>
                <a:effectLst/>
                <a:uLnTx/>
                <a:uFillTx/>
                <a:latin typeface="Arial" pitchFamily="34" charset="0"/>
                <a:ea typeface="+mn-ea"/>
                <a:cs typeface="Angsana New" pitchFamily="18" charset="-34"/>
              </a:rPr>
              <a:pPr marL="0" marR="0" lvl="0" indent="0" algn="l" defTabSz="914400" rtl="0" eaLnBrk="1" fontAlgn="base" latinLnBrk="0" hangingPunct="1">
                <a:lnSpc>
                  <a:spcPct val="100000"/>
                </a:lnSpc>
                <a:spcBef>
                  <a:spcPct val="0"/>
                </a:spcBef>
                <a:spcAft>
                  <a:spcPct val="0"/>
                </a:spcAft>
                <a:buClrTx/>
                <a:buSzTx/>
                <a:buFontTx/>
                <a:buNone/>
                <a:tabLst/>
                <a:defRPr/>
              </a:pPr>
              <a:t>21/02/62</a:t>
            </a:fld>
            <a:endParaRPr kumimoji="0" lang="th-TH" sz="2800" b="0" i="0" u="none" strike="noStrike" kern="1200" cap="none" spc="0" normalizeH="0" baseline="0" noProof="0">
              <a:ln>
                <a:noFill/>
              </a:ln>
              <a:solidFill>
                <a:prstClr val="black">
                  <a:tint val="75000"/>
                </a:prstClr>
              </a:solidFill>
              <a:effectLst/>
              <a:uLnTx/>
              <a:uFillTx/>
              <a:latin typeface="Arial" pitchFamily="34" charset="0"/>
              <a:ea typeface="+mn-ea"/>
              <a:cs typeface="Angsana New" pitchFamily="18" charset="-34"/>
            </a:endParaRPr>
          </a:p>
        </p:txBody>
      </p:sp>
      <p:sp>
        <p:nvSpPr>
          <p:cNvPr id="3" name="ตัวแทนท้ายกระดาษ 4"/>
          <p:cNvSpPr>
            <a:spLocks noGrp="1"/>
          </p:cNvSpPr>
          <p:nvPr>
            <p:ph type="ftr" sz="quarter" idx="11"/>
          </p:nvPr>
        </p:nvSpPr>
        <p:spPr>
          <a:xfrm>
            <a:off x="3124200" y="6356397"/>
            <a:ext cx="2895600" cy="365125"/>
          </a:xfrm>
          <a:prstGeom prst="rect">
            <a:avLst/>
          </a:prstGeom>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1200" cap="none" spc="0" normalizeH="0" baseline="0" noProof="0">
              <a:ln>
                <a:noFill/>
              </a:ln>
              <a:solidFill>
                <a:prstClr val="black">
                  <a:tint val="75000"/>
                </a:prstClr>
              </a:solidFill>
              <a:effectLst/>
              <a:uLnTx/>
              <a:uFillTx/>
              <a:latin typeface="Arial" pitchFamily="34" charset="0"/>
              <a:ea typeface="+mn-ea"/>
              <a:cs typeface="Angsana New" pitchFamily="18" charset="-34"/>
            </a:endParaRPr>
          </a:p>
        </p:txBody>
      </p:sp>
      <p:sp>
        <p:nvSpPr>
          <p:cNvPr id="4" name="ตัวแทนหมายเลขภาพนิ่ง 5"/>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EBEC4AB7-1BB9-49CE-8842-E2D8182EE8F3}" type="slidenum">
              <a:rPr kumimoji="0" lang="th-TH" sz="1600" b="0"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th-TH" sz="1600" b="0"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Tree>
    <p:extLst>
      <p:ext uri="{BB962C8B-B14F-4D97-AF65-F5344CB8AC3E}">
        <p14:creationId xmlns:p14="http://schemas.microsoft.com/office/powerpoint/2010/main" val="870606410"/>
      </p:ext>
    </p:extLst>
  </p:cSld>
  <p:clrMapOvr>
    <a:masterClrMapping/>
  </p:clrMapOvr>
  <p:transition spd="med" advClick="0" advTm="7000"/>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015092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070348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025378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27360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theme" Target="../theme/theme3.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3" Type="http://schemas.openxmlformats.org/officeDocument/2006/relationships/slideLayout" Target="../slideLayouts/slideLayout68.xml"/><Relationship Id="rId21" Type="http://schemas.openxmlformats.org/officeDocument/2006/relationships/slideLayout" Target="../slideLayouts/slideLayout86.xml"/><Relationship Id="rId34" Type="http://schemas.openxmlformats.org/officeDocument/2006/relationships/slideLayout" Target="../slideLayouts/slideLayout99.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33" Type="http://schemas.openxmlformats.org/officeDocument/2006/relationships/slideLayout" Target="../slideLayouts/slideLayout98.xml"/><Relationship Id="rId38" Type="http://schemas.openxmlformats.org/officeDocument/2006/relationships/theme" Target="../theme/theme4.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29" Type="http://schemas.openxmlformats.org/officeDocument/2006/relationships/slideLayout" Target="../slideLayouts/slideLayout94.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32" Type="http://schemas.openxmlformats.org/officeDocument/2006/relationships/slideLayout" Target="../slideLayouts/slideLayout97.xml"/><Relationship Id="rId37" Type="http://schemas.openxmlformats.org/officeDocument/2006/relationships/slideLayout" Target="../slideLayouts/slideLayout102.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slideLayout" Target="../slideLayouts/slideLayout93.xml"/><Relationship Id="rId36" Type="http://schemas.openxmlformats.org/officeDocument/2006/relationships/slideLayout" Target="../slideLayouts/slideLayout101.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31" Type="http://schemas.openxmlformats.org/officeDocument/2006/relationships/slideLayout" Target="../slideLayouts/slideLayout96.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 Id="rId30" Type="http://schemas.openxmlformats.org/officeDocument/2006/relationships/slideLayout" Target="../slideLayouts/slideLayout95.xml"/><Relationship Id="rId35" Type="http://schemas.openxmlformats.org/officeDocument/2006/relationships/slideLayout" Target="../slideLayouts/slideLayout10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print">
            <a:lum/>
          </a:blip>
          <a:srcRect/>
          <a:stretch>
            <a:fillRect/>
          </a:stretch>
        </a:blipFill>
        <a:effectLst/>
      </p:bgPr>
    </p:bg>
    <p:spTree>
      <p:nvGrpSpPr>
        <p:cNvPr id="1" name=""/>
        <p:cNvGrpSpPr/>
        <p:nvPr/>
      </p:nvGrpSpPr>
      <p:grpSpPr>
        <a:xfrm>
          <a:off x="0" y="0"/>
          <a:ext cx="0" cy="0"/>
          <a:chOff x="0" y="0"/>
          <a:chExt cx="0" cy="0"/>
        </a:xfrm>
      </p:grpSpPr>
      <p:sp>
        <p:nvSpPr>
          <p:cNvPr id="880642" name="Rectangle 2"/>
          <p:cNvSpPr>
            <a:spLocks noGrp="1" noChangeArrowheads="1"/>
          </p:cNvSpPr>
          <p:nvPr>
            <p:ph type="title"/>
          </p:nvPr>
        </p:nvSpPr>
        <p:spPr bwMode="auto">
          <a:xfrm>
            <a:off x="971550" y="404813"/>
            <a:ext cx="7754938" cy="606425"/>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p>
            <a:pPr lvl="0"/>
            <a:r>
              <a:rPr lang="th-TH" smtClean="0"/>
              <a:t>คลิกเพื่อแก้ไขลักษณะต้นแบบชื่อเรื่อง</a:t>
            </a:r>
          </a:p>
        </p:txBody>
      </p:sp>
      <p:sp>
        <p:nvSpPr>
          <p:cNvPr id="880643" name="Rectangle 3"/>
          <p:cNvSpPr>
            <a:spLocks noGrp="1" noChangeArrowheads="1"/>
          </p:cNvSpPr>
          <p:nvPr>
            <p:ph type="body" idx="1"/>
          </p:nvPr>
        </p:nvSpPr>
        <p:spPr bwMode="auto">
          <a:xfrm>
            <a:off x="569913" y="1676400"/>
            <a:ext cx="8497887" cy="411480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p>
            <a:pPr lvl="0"/>
            <a:r>
              <a:rPr lang="th-TH" smtClean="0"/>
              <a:t>คลิกเพื่อแก้ไขลักษณะของข้อความต้นแบบ</a:t>
            </a:r>
          </a:p>
          <a:p>
            <a:pPr lvl="1"/>
            <a:r>
              <a:rPr lang="th-TH" smtClean="0"/>
              <a:t>ระดับที่สอง</a:t>
            </a:r>
          </a:p>
          <a:p>
            <a:pPr lvl="2"/>
            <a:r>
              <a:rPr lang="th-TH" smtClean="0"/>
              <a:t>ระดับที่สาม</a:t>
            </a:r>
          </a:p>
          <a:p>
            <a:pPr lvl="3"/>
            <a:r>
              <a:rPr lang="th-TH" smtClean="0"/>
              <a:t>ระดับที่สี่</a:t>
            </a:r>
          </a:p>
          <a:p>
            <a:pPr lvl="4"/>
            <a:r>
              <a:rPr lang="th-TH" smtClean="0"/>
              <a:t>ระดับที่ห้า</a:t>
            </a:r>
          </a:p>
        </p:txBody>
      </p:sp>
      <p:sp>
        <p:nvSpPr>
          <p:cNvPr id="880644" name="Rectangle 4"/>
          <p:cNvSpPr>
            <a:spLocks noGrp="1" noChangeArrowheads="1"/>
          </p:cNvSpPr>
          <p:nvPr>
            <p:ph type="dt" sz="half" idx="2"/>
          </p:nvPr>
        </p:nvSpPr>
        <p:spPr bwMode="auto">
          <a:xfrm>
            <a:off x="80963" y="6357938"/>
            <a:ext cx="1905000" cy="457200"/>
          </a:xfrm>
          <a:prstGeom prst="rect">
            <a:avLst/>
          </a:prstGeom>
          <a:noFill/>
          <a:ln w="9525">
            <a:noFill/>
            <a:miter lim="800000"/>
            <a:headEnd/>
            <a:tailEnd/>
          </a:ln>
          <a:effectLst/>
        </p:spPr>
        <p:txBody>
          <a:bodyPr vert="horz" wrap="none" lIns="92075" tIns="46038" rIns="92075" bIns="46038" numCol="1" anchor="ctr" anchorCtr="0" compatLnSpc="1">
            <a:prstTxWarp prst="textNoShape">
              <a:avLst/>
            </a:prstTxWarp>
          </a:bodyPr>
          <a:lstStyle>
            <a:lvl1pPr eaLnBrk="0" hangingPunct="0">
              <a:defRPr sz="1600">
                <a:solidFill>
                  <a:srgbClr val="FFFFFF"/>
                </a:solidFill>
                <a:latin typeface="Angsana New" pitchFamily="18" charset="-34"/>
              </a:defRPr>
            </a:lvl1pPr>
          </a:lstStyle>
          <a:p>
            <a:pPr>
              <a:defRPr/>
            </a:pPr>
            <a:endParaRPr lang="en-US">
              <a:cs typeface="Angsana New"/>
            </a:endParaRPr>
          </a:p>
        </p:txBody>
      </p:sp>
      <p:sp>
        <p:nvSpPr>
          <p:cNvPr id="880645" name="Rectangle 5"/>
          <p:cNvSpPr>
            <a:spLocks noGrp="1" noChangeArrowheads="1"/>
          </p:cNvSpPr>
          <p:nvPr>
            <p:ph type="ftr" sz="quarter" idx="3"/>
          </p:nvPr>
        </p:nvSpPr>
        <p:spPr bwMode="auto">
          <a:xfrm>
            <a:off x="2519363" y="6357938"/>
            <a:ext cx="2895600" cy="457200"/>
          </a:xfrm>
          <a:prstGeom prst="rect">
            <a:avLst/>
          </a:prstGeom>
          <a:noFill/>
          <a:ln w="9525">
            <a:noFill/>
            <a:miter lim="800000"/>
            <a:headEnd/>
            <a:tailEnd/>
          </a:ln>
          <a:effectLst/>
        </p:spPr>
        <p:txBody>
          <a:bodyPr vert="horz" wrap="none" lIns="92075" tIns="46038" rIns="92075" bIns="46038" numCol="1" anchor="ctr" anchorCtr="0" compatLnSpc="1">
            <a:prstTxWarp prst="textNoShape">
              <a:avLst/>
            </a:prstTxWarp>
          </a:bodyPr>
          <a:lstStyle>
            <a:lvl1pPr algn="ctr" eaLnBrk="0" hangingPunct="0">
              <a:defRPr sz="1600">
                <a:solidFill>
                  <a:srgbClr val="FFFFFF"/>
                </a:solidFill>
                <a:latin typeface="Angsana New" pitchFamily="18" charset="-34"/>
              </a:defRPr>
            </a:lvl1pPr>
          </a:lstStyle>
          <a:p>
            <a:pPr>
              <a:defRPr/>
            </a:pPr>
            <a:endParaRPr lang="en-US">
              <a:cs typeface="Angsana New"/>
            </a:endParaRPr>
          </a:p>
        </p:txBody>
      </p:sp>
      <p:sp>
        <p:nvSpPr>
          <p:cNvPr id="880646" name="Rectangle 6"/>
          <p:cNvSpPr>
            <a:spLocks noGrp="1" noChangeArrowheads="1"/>
          </p:cNvSpPr>
          <p:nvPr>
            <p:ph type="sldNum" sz="quarter" idx="4"/>
          </p:nvPr>
        </p:nvSpPr>
        <p:spPr bwMode="auto">
          <a:xfrm>
            <a:off x="6605588" y="6357938"/>
            <a:ext cx="1905000" cy="457200"/>
          </a:xfrm>
          <a:prstGeom prst="rect">
            <a:avLst/>
          </a:prstGeom>
          <a:noFill/>
          <a:ln w="9525">
            <a:noFill/>
            <a:miter lim="800000"/>
            <a:headEnd/>
            <a:tailEnd/>
          </a:ln>
          <a:effectLst/>
        </p:spPr>
        <p:txBody>
          <a:bodyPr vert="horz" wrap="none" lIns="92075" tIns="46038" rIns="92075" bIns="46038" numCol="1" anchor="ctr" anchorCtr="0" compatLnSpc="1">
            <a:prstTxWarp prst="textNoShape">
              <a:avLst/>
            </a:prstTxWarp>
          </a:bodyPr>
          <a:lstStyle>
            <a:lvl1pPr algn="r" eaLnBrk="0" hangingPunct="0">
              <a:defRPr sz="1600">
                <a:solidFill>
                  <a:srgbClr val="1904E0"/>
                </a:solidFill>
                <a:latin typeface="Angsana New" pitchFamily="18" charset="-34"/>
              </a:defRPr>
            </a:lvl1pPr>
          </a:lstStyle>
          <a:p>
            <a:pPr>
              <a:defRPr/>
            </a:pPr>
            <a:fld id="{98967F4A-CE6C-49BC-AEDD-9063E947A891}" type="slidenum">
              <a:rPr lang="en-US">
                <a:cs typeface="Angsana New"/>
              </a:rPr>
              <a:pPr>
                <a:defRPr/>
              </a:pPr>
              <a:t>‹#›</a:t>
            </a:fld>
            <a:endParaRPr lang="th-TH" sz="1800">
              <a:cs typeface="Angsana New"/>
            </a:endParaRPr>
          </a:p>
        </p:txBody>
      </p:sp>
    </p:spTree>
    <p:extLst>
      <p:ext uri="{BB962C8B-B14F-4D97-AF65-F5344CB8AC3E}">
        <p14:creationId xmlns:p14="http://schemas.microsoft.com/office/powerpoint/2010/main" val="2815512370"/>
      </p:ext>
    </p:extLst>
  </p:cSld>
  <p:clrMap bg1="dk2" tx1="lt1" bg2="dk1" tx2="lt2" accent1="accent1" accent2="accent2" accent3="accent3" accent4="accent4" accent5="accent5" accent6="accent6" hlink="hlink" folHlink="folHlink"/>
  <p:sldLayoutIdLst>
    <p:sldLayoutId id="2147485064" r:id="rId1"/>
    <p:sldLayoutId id="2147485065" r:id="rId2"/>
    <p:sldLayoutId id="2147485066" r:id="rId3"/>
    <p:sldLayoutId id="2147485067" r:id="rId4"/>
    <p:sldLayoutId id="2147485068" r:id="rId5"/>
    <p:sldLayoutId id="2147485069" r:id="rId6"/>
    <p:sldLayoutId id="2147485070" r:id="rId7"/>
    <p:sldLayoutId id="2147485071" r:id="rId8"/>
    <p:sldLayoutId id="2147485072" r:id="rId9"/>
    <p:sldLayoutId id="2147485073" r:id="rId10"/>
    <p:sldLayoutId id="2147485074" r:id="rId11"/>
  </p:sldLayoutIdLst>
  <p:timing>
    <p:tnLst>
      <p:par>
        <p:cTn id="1" dur="indefinite" restart="never" nodeType="tmRoot"/>
      </p:par>
    </p:tnLst>
  </p:timing>
  <p:hf hdr="0" ftr="0" dt="0"/>
  <p:txStyles>
    <p:titleStyle>
      <a:lvl1pPr algn="l" rtl="0" eaLnBrk="0" fontAlgn="base" hangingPunct="0">
        <a:spcBef>
          <a:spcPct val="0"/>
        </a:spcBef>
        <a:spcAft>
          <a:spcPct val="0"/>
        </a:spcAft>
        <a:defRPr kumimoji="1" sz="4400" b="1">
          <a:solidFill>
            <a:srgbClr val="FFFFFF"/>
          </a:solidFill>
          <a:effectLst>
            <a:outerShdw blurRad="38100" dist="38100" dir="2700000" algn="tl">
              <a:srgbClr val="000000"/>
            </a:outerShdw>
          </a:effectLst>
          <a:latin typeface="+mj-lt"/>
          <a:ea typeface="+mj-ea"/>
          <a:cs typeface="+mj-cs"/>
        </a:defRPr>
      </a:lvl1pPr>
      <a:lvl2pPr algn="l" rtl="0" eaLnBrk="0" fontAlgn="base" hangingPunct="0">
        <a:spcBef>
          <a:spcPct val="0"/>
        </a:spcBef>
        <a:spcAft>
          <a:spcPct val="0"/>
        </a:spcAft>
        <a:defRPr kumimoji="1" sz="4400" b="1">
          <a:solidFill>
            <a:srgbClr val="FFFFFF"/>
          </a:solidFill>
          <a:effectLst>
            <a:outerShdw blurRad="38100" dist="38100" dir="2700000" algn="tl">
              <a:srgbClr val="000000"/>
            </a:outerShdw>
          </a:effectLst>
          <a:latin typeface="AngsanaUPC" pitchFamily="18" charset="-34"/>
          <a:cs typeface="Angsana New" pitchFamily="18" charset="-34"/>
        </a:defRPr>
      </a:lvl2pPr>
      <a:lvl3pPr algn="l" rtl="0" eaLnBrk="0" fontAlgn="base" hangingPunct="0">
        <a:spcBef>
          <a:spcPct val="0"/>
        </a:spcBef>
        <a:spcAft>
          <a:spcPct val="0"/>
        </a:spcAft>
        <a:defRPr kumimoji="1" sz="4400" b="1">
          <a:solidFill>
            <a:srgbClr val="FFFFFF"/>
          </a:solidFill>
          <a:effectLst>
            <a:outerShdw blurRad="38100" dist="38100" dir="2700000" algn="tl">
              <a:srgbClr val="000000"/>
            </a:outerShdw>
          </a:effectLst>
          <a:latin typeface="AngsanaUPC" pitchFamily="18" charset="-34"/>
          <a:cs typeface="Angsana New" pitchFamily="18" charset="-34"/>
        </a:defRPr>
      </a:lvl3pPr>
      <a:lvl4pPr algn="l" rtl="0" eaLnBrk="0" fontAlgn="base" hangingPunct="0">
        <a:spcBef>
          <a:spcPct val="0"/>
        </a:spcBef>
        <a:spcAft>
          <a:spcPct val="0"/>
        </a:spcAft>
        <a:defRPr kumimoji="1" sz="4400" b="1">
          <a:solidFill>
            <a:srgbClr val="FFFFFF"/>
          </a:solidFill>
          <a:effectLst>
            <a:outerShdw blurRad="38100" dist="38100" dir="2700000" algn="tl">
              <a:srgbClr val="000000"/>
            </a:outerShdw>
          </a:effectLst>
          <a:latin typeface="AngsanaUPC" pitchFamily="18" charset="-34"/>
          <a:cs typeface="Angsana New" pitchFamily="18" charset="-34"/>
        </a:defRPr>
      </a:lvl4pPr>
      <a:lvl5pPr algn="l" rtl="0" eaLnBrk="0" fontAlgn="base" hangingPunct="0">
        <a:spcBef>
          <a:spcPct val="0"/>
        </a:spcBef>
        <a:spcAft>
          <a:spcPct val="0"/>
        </a:spcAft>
        <a:defRPr kumimoji="1" sz="4400" b="1">
          <a:solidFill>
            <a:srgbClr val="FFFFFF"/>
          </a:solidFill>
          <a:effectLst>
            <a:outerShdw blurRad="38100" dist="38100" dir="2700000" algn="tl">
              <a:srgbClr val="000000"/>
            </a:outerShdw>
          </a:effectLst>
          <a:latin typeface="AngsanaUPC" pitchFamily="18" charset="-34"/>
          <a:cs typeface="Angsana New" pitchFamily="18" charset="-34"/>
        </a:defRPr>
      </a:lvl5pPr>
      <a:lvl6pPr marL="457200" algn="l" rtl="0" eaLnBrk="1" fontAlgn="base" hangingPunct="1">
        <a:spcBef>
          <a:spcPct val="0"/>
        </a:spcBef>
        <a:spcAft>
          <a:spcPct val="0"/>
        </a:spcAft>
        <a:defRPr kumimoji="1" sz="4400" b="1">
          <a:solidFill>
            <a:srgbClr val="FFFFFF"/>
          </a:solidFill>
          <a:effectLst>
            <a:outerShdw blurRad="38100" dist="38100" dir="2700000" algn="tl">
              <a:srgbClr val="000000"/>
            </a:outerShdw>
          </a:effectLst>
          <a:latin typeface="AngsanaUPC" pitchFamily="18" charset="-34"/>
          <a:cs typeface="Angsana New" pitchFamily="18" charset="-34"/>
        </a:defRPr>
      </a:lvl6pPr>
      <a:lvl7pPr marL="914400" algn="l" rtl="0" eaLnBrk="1" fontAlgn="base" hangingPunct="1">
        <a:spcBef>
          <a:spcPct val="0"/>
        </a:spcBef>
        <a:spcAft>
          <a:spcPct val="0"/>
        </a:spcAft>
        <a:defRPr kumimoji="1" sz="4400" b="1">
          <a:solidFill>
            <a:srgbClr val="FFFFFF"/>
          </a:solidFill>
          <a:effectLst>
            <a:outerShdw blurRad="38100" dist="38100" dir="2700000" algn="tl">
              <a:srgbClr val="000000"/>
            </a:outerShdw>
          </a:effectLst>
          <a:latin typeface="AngsanaUPC" pitchFamily="18" charset="-34"/>
          <a:cs typeface="Angsana New" pitchFamily="18" charset="-34"/>
        </a:defRPr>
      </a:lvl7pPr>
      <a:lvl8pPr marL="1371600" algn="l" rtl="0" eaLnBrk="1" fontAlgn="base" hangingPunct="1">
        <a:spcBef>
          <a:spcPct val="0"/>
        </a:spcBef>
        <a:spcAft>
          <a:spcPct val="0"/>
        </a:spcAft>
        <a:defRPr kumimoji="1" sz="4400" b="1">
          <a:solidFill>
            <a:srgbClr val="FFFFFF"/>
          </a:solidFill>
          <a:effectLst>
            <a:outerShdw blurRad="38100" dist="38100" dir="2700000" algn="tl">
              <a:srgbClr val="000000"/>
            </a:outerShdw>
          </a:effectLst>
          <a:latin typeface="AngsanaUPC" pitchFamily="18" charset="-34"/>
          <a:cs typeface="Angsana New" pitchFamily="18" charset="-34"/>
        </a:defRPr>
      </a:lvl8pPr>
      <a:lvl9pPr marL="1828800" algn="l" rtl="0" eaLnBrk="1" fontAlgn="base" hangingPunct="1">
        <a:spcBef>
          <a:spcPct val="0"/>
        </a:spcBef>
        <a:spcAft>
          <a:spcPct val="0"/>
        </a:spcAft>
        <a:defRPr kumimoji="1" sz="4400" b="1">
          <a:solidFill>
            <a:srgbClr val="FFFFFF"/>
          </a:solidFill>
          <a:effectLst>
            <a:outerShdw blurRad="38100" dist="38100" dir="2700000" algn="tl">
              <a:srgbClr val="000000"/>
            </a:outerShdw>
          </a:effectLst>
          <a:latin typeface="AngsanaUPC" pitchFamily="18" charset="-34"/>
          <a:cs typeface="Angsana New" pitchFamily="18" charset="-34"/>
        </a:defRPr>
      </a:lvl9pPr>
    </p:titleStyle>
    <p:bodyStyle>
      <a:lvl1pPr marL="342900" indent="-342900" algn="l" rtl="0" eaLnBrk="0" fontAlgn="base" hangingPunct="0">
        <a:spcBef>
          <a:spcPct val="20000"/>
        </a:spcBef>
        <a:spcAft>
          <a:spcPct val="0"/>
        </a:spcAft>
        <a:buClr>
          <a:schemeClr val="accent2"/>
        </a:buClr>
        <a:buChar char="•"/>
        <a:defRPr kumimoji="1" sz="4400" b="1">
          <a:solidFill>
            <a:schemeClr val="tx2"/>
          </a:solidFill>
          <a:effectLst>
            <a:outerShdw blurRad="38100" dist="38100" dir="2700000" algn="tl">
              <a:srgbClr val="000000"/>
            </a:outerShdw>
          </a:effectLst>
          <a:latin typeface="+mn-lt"/>
          <a:ea typeface="+mn-ea"/>
          <a:cs typeface="+mn-cs"/>
        </a:defRPr>
      </a:lvl1pPr>
      <a:lvl2pPr marL="742950" indent="-285750" algn="l" rtl="0" eaLnBrk="0" fontAlgn="base" hangingPunct="0">
        <a:spcBef>
          <a:spcPct val="20000"/>
        </a:spcBef>
        <a:spcAft>
          <a:spcPct val="0"/>
        </a:spcAft>
        <a:buChar char="–"/>
        <a:defRPr kumimoji="1" sz="4000" b="1">
          <a:solidFill>
            <a:schemeClr val="tx2"/>
          </a:solidFill>
          <a:effectLst>
            <a:outerShdw blurRad="38100" dist="38100" dir="2700000" algn="tl">
              <a:srgbClr val="000000"/>
            </a:outerShdw>
          </a:effectLst>
          <a:latin typeface="+mn-lt"/>
          <a:cs typeface="+mn-cs"/>
        </a:defRPr>
      </a:lvl2pPr>
      <a:lvl3pPr marL="1143000" indent="-228600" algn="l" rtl="0" eaLnBrk="0" fontAlgn="base" hangingPunct="0">
        <a:spcBef>
          <a:spcPct val="20000"/>
        </a:spcBef>
        <a:spcAft>
          <a:spcPct val="0"/>
        </a:spcAft>
        <a:buChar char="•"/>
        <a:defRPr kumimoji="1" sz="3600" b="1">
          <a:solidFill>
            <a:schemeClr val="tx2"/>
          </a:solidFill>
          <a:effectLst>
            <a:outerShdw blurRad="38100" dist="38100" dir="2700000" algn="tl">
              <a:srgbClr val="000000"/>
            </a:outerShdw>
          </a:effectLst>
          <a:latin typeface="+mn-lt"/>
          <a:cs typeface="+mn-cs"/>
        </a:defRPr>
      </a:lvl3pPr>
      <a:lvl4pPr marL="1600200" indent="-228600" algn="l" rtl="0" eaLnBrk="0" fontAlgn="base" hangingPunct="0">
        <a:spcBef>
          <a:spcPct val="20000"/>
        </a:spcBef>
        <a:spcAft>
          <a:spcPct val="0"/>
        </a:spcAft>
        <a:buChar char="–"/>
        <a:defRPr kumimoji="1" sz="3200" b="1">
          <a:solidFill>
            <a:schemeClr val="tx2"/>
          </a:solidFill>
          <a:effectLst>
            <a:outerShdw blurRad="38100" dist="38100" dir="2700000" algn="tl">
              <a:srgbClr val="000000"/>
            </a:outerShdw>
          </a:effectLst>
          <a:latin typeface="+mn-lt"/>
          <a:cs typeface="+mn-cs"/>
        </a:defRPr>
      </a:lvl4pPr>
      <a:lvl5pPr marL="2057400" indent="-228600" algn="l" rtl="0" eaLnBrk="0" fontAlgn="base" hangingPunct="0">
        <a:spcBef>
          <a:spcPct val="20000"/>
        </a:spcBef>
        <a:spcAft>
          <a:spcPct val="0"/>
        </a:spcAft>
        <a:buChar char="•"/>
        <a:defRPr kumimoji="1" sz="3200" b="1">
          <a:solidFill>
            <a:schemeClr val="tx2"/>
          </a:solidFill>
          <a:effectLst>
            <a:outerShdw blurRad="38100" dist="38100" dir="2700000" algn="tl">
              <a:srgbClr val="000000"/>
            </a:outerShdw>
          </a:effectLst>
          <a:latin typeface="+mn-lt"/>
          <a:cs typeface="+mn-cs"/>
        </a:defRPr>
      </a:lvl5pPr>
      <a:lvl6pPr marL="2514600" indent="-228600" algn="l" rtl="0" eaLnBrk="1" fontAlgn="base" hangingPunct="1">
        <a:spcBef>
          <a:spcPct val="20000"/>
        </a:spcBef>
        <a:spcAft>
          <a:spcPct val="0"/>
        </a:spcAft>
        <a:buChar char="•"/>
        <a:defRPr kumimoji="1" sz="3200" b="1">
          <a:solidFill>
            <a:schemeClr val="tx2"/>
          </a:solidFill>
          <a:effectLst>
            <a:outerShdw blurRad="38100" dist="38100" dir="2700000" algn="tl">
              <a:srgbClr val="000000"/>
            </a:outerShdw>
          </a:effectLst>
          <a:latin typeface="+mn-lt"/>
          <a:cs typeface="+mn-cs"/>
        </a:defRPr>
      </a:lvl6pPr>
      <a:lvl7pPr marL="2971800" indent="-228600" algn="l" rtl="0" eaLnBrk="1" fontAlgn="base" hangingPunct="1">
        <a:spcBef>
          <a:spcPct val="20000"/>
        </a:spcBef>
        <a:spcAft>
          <a:spcPct val="0"/>
        </a:spcAft>
        <a:buChar char="•"/>
        <a:defRPr kumimoji="1" sz="3200" b="1">
          <a:solidFill>
            <a:schemeClr val="tx2"/>
          </a:solidFill>
          <a:effectLst>
            <a:outerShdw blurRad="38100" dist="38100" dir="2700000" algn="tl">
              <a:srgbClr val="000000"/>
            </a:outerShdw>
          </a:effectLst>
          <a:latin typeface="+mn-lt"/>
          <a:cs typeface="+mn-cs"/>
        </a:defRPr>
      </a:lvl7pPr>
      <a:lvl8pPr marL="3429000" indent="-228600" algn="l" rtl="0" eaLnBrk="1" fontAlgn="base" hangingPunct="1">
        <a:spcBef>
          <a:spcPct val="20000"/>
        </a:spcBef>
        <a:spcAft>
          <a:spcPct val="0"/>
        </a:spcAft>
        <a:buChar char="•"/>
        <a:defRPr kumimoji="1" sz="3200" b="1">
          <a:solidFill>
            <a:schemeClr val="tx2"/>
          </a:solidFill>
          <a:effectLst>
            <a:outerShdw blurRad="38100" dist="38100" dir="2700000" algn="tl">
              <a:srgbClr val="000000"/>
            </a:outerShdw>
          </a:effectLst>
          <a:latin typeface="+mn-lt"/>
          <a:cs typeface="+mn-cs"/>
        </a:defRPr>
      </a:lvl8pPr>
      <a:lvl9pPr marL="3886200" indent="-228600" algn="l" rtl="0" eaLnBrk="1" fontAlgn="base" hangingPunct="1">
        <a:spcBef>
          <a:spcPct val="20000"/>
        </a:spcBef>
        <a:spcAft>
          <a:spcPct val="0"/>
        </a:spcAft>
        <a:buChar char="•"/>
        <a:defRPr kumimoji="1" sz="3200" b="1">
          <a:solidFill>
            <a:schemeClr val="tx2"/>
          </a:solidFill>
          <a:effectLst>
            <a:outerShdw blurRad="38100" dist="38100" dir="2700000" algn="tl">
              <a:srgbClr val="000000"/>
            </a:outerShdw>
          </a:effectLst>
          <a:latin typeface="+mn-lt"/>
          <a:cs typeface="+mn-cs"/>
        </a:defRPr>
      </a:lvl9pPr>
    </p:bodyStyle>
    <p:otherStyle>
      <a:defPPr>
        <a:defRPr lang="th-TH"/>
      </a:defPPr>
      <a:lvl1pPr marL="0" algn="l" defTabSz="914400" rtl="0" eaLnBrk="1" latinLnBrk="0" hangingPunct="1">
        <a:defRPr sz="2800" kern="1200">
          <a:solidFill>
            <a:schemeClr val="tx1"/>
          </a:solidFill>
          <a:latin typeface="+mn-lt"/>
          <a:ea typeface="+mn-ea"/>
          <a:cs typeface="+mn-cs"/>
        </a:defRPr>
      </a:lvl1pPr>
      <a:lvl2pPr marL="457200" algn="l" defTabSz="914400" rtl="0" eaLnBrk="1" latinLnBrk="0" hangingPunct="1">
        <a:defRPr sz="2800" kern="1200">
          <a:solidFill>
            <a:schemeClr val="tx1"/>
          </a:solidFill>
          <a:latin typeface="+mn-lt"/>
          <a:ea typeface="+mn-ea"/>
          <a:cs typeface="+mn-cs"/>
        </a:defRPr>
      </a:lvl2pPr>
      <a:lvl3pPr marL="914400" algn="l" defTabSz="914400" rtl="0" eaLnBrk="1" latinLnBrk="0" hangingPunct="1">
        <a:defRPr sz="2800" kern="1200">
          <a:solidFill>
            <a:schemeClr val="tx1"/>
          </a:solidFill>
          <a:latin typeface="+mn-lt"/>
          <a:ea typeface="+mn-ea"/>
          <a:cs typeface="+mn-cs"/>
        </a:defRPr>
      </a:lvl3pPr>
      <a:lvl4pPr marL="1371600" algn="l" defTabSz="914400" rtl="0" eaLnBrk="1" latinLnBrk="0" hangingPunct="1">
        <a:defRPr sz="2800" kern="1200">
          <a:solidFill>
            <a:schemeClr val="tx1"/>
          </a:solidFill>
          <a:latin typeface="+mn-lt"/>
          <a:ea typeface="+mn-ea"/>
          <a:cs typeface="+mn-cs"/>
        </a:defRPr>
      </a:lvl4pPr>
      <a:lvl5pPr marL="1828800" algn="l" defTabSz="914400" rtl="0" eaLnBrk="1" latinLnBrk="0" hangingPunct="1">
        <a:defRPr sz="2800" kern="1200">
          <a:solidFill>
            <a:schemeClr val="tx1"/>
          </a:solidFill>
          <a:latin typeface="+mn-lt"/>
          <a:ea typeface="+mn-ea"/>
          <a:cs typeface="+mn-cs"/>
        </a:defRPr>
      </a:lvl5pPr>
      <a:lvl6pPr marL="2286000" algn="l" defTabSz="914400" rtl="0" eaLnBrk="1" latinLnBrk="0" hangingPunct="1">
        <a:defRPr sz="2800" kern="1200">
          <a:solidFill>
            <a:schemeClr val="tx1"/>
          </a:solidFill>
          <a:latin typeface="+mn-lt"/>
          <a:ea typeface="+mn-ea"/>
          <a:cs typeface="+mn-cs"/>
        </a:defRPr>
      </a:lvl6pPr>
      <a:lvl7pPr marL="2743200" algn="l" defTabSz="914400" rtl="0" eaLnBrk="1" latinLnBrk="0" hangingPunct="1">
        <a:defRPr sz="2800" kern="1200">
          <a:solidFill>
            <a:schemeClr val="tx1"/>
          </a:solidFill>
          <a:latin typeface="+mn-lt"/>
          <a:ea typeface="+mn-ea"/>
          <a:cs typeface="+mn-cs"/>
        </a:defRPr>
      </a:lvl7pPr>
      <a:lvl8pPr marL="3200400" algn="l" defTabSz="914400" rtl="0" eaLnBrk="1" latinLnBrk="0" hangingPunct="1">
        <a:defRPr sz="2800" kern="1200">
          <a:solidFill>
            <a:schemeClr val="tx1"/>
          </a:solidFill>
          <a:latin typeface="+mn-lt"/>
          <a:ea typeface="+mn-ea"/>
          <a:cs typeface="+mn-cs"/>
        </a:defRPr>
      </a:lvl8pPr>
      <a:lvl9pPr marL="3657600" algn="l" defTabSz="914400" rtl="0" eaLnBrk="1" latinLnBrk="0" hangingPunct="1">
        <a:defRPr sz="2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787337" y="4581128"/>
            <a:ext cx="430893" cy="365125"/>
          </a:xfrm>
          <a:prstGeom prst="rect">
            <a:avLst/>
          </a:prstGeom>
        </p:spPr>
        <p:txBody>
          <a:bodyPr vert="horz" lIns="91440" tIns="45720" rIns="91440" bIns="45720" rtlCol="0" anchor="ctr"/>
          <a:lstStyle>
            <a:lvl1pPr algn="r">
              <a:defRPr sz="1600">
                <a:solidFill>
                  <a:schemeClr val="tx1">
                    <a:tint val="75000"/>
                  </a:schemeClr>
                </a:solidFill>
                <a:latin typeface="AngsanaUPC" panose="02020603050405020304" pitchFamily="18" charset="-34"/>
                <a:cs typeface="AngsanaUPC" panose="02020603050405020304" pitchFamily="18" charset="-34"/>
              </a:defRPr>
            </a:lvl1pPr>
          </a:lstStyle>
          <a:p>
            <a:pPr>
              <a:defRPr/>
            </a:pPr>
            <a:fld id="{9DA99F2A-1CA3-4175-8486-CAD88CF786FA}" type="slidenum">
              <a:rPr lang="en-US" smtClean="0"/>
              <a:pPr>
                <a:defRPr/>
              </a:pPr>
              <a:t>‹#›</a:t>
            </a:fld>
            <a:endParaRPr lang="en-US"/>
          </a:p>
        </p:txBody>
      </p:sp>
      <p:sp>
        <p:nvSpPr>
          <p:cNvPr id="7" name="Rectangle 6"/>
          <p:cNvSpPr/>
          <p:nvPr/>
        </p:nvSpPr>
        <p:spPr>
          <a:xfrm>
            <a:off x="9035454" y="0"/>
            <a:ext cx="107504" cy="3789040"/>
          </a:xfrm>
          <a:prstGeom prst="rect">
            <a:avLst/>
          </a:prstGeom>
          <a:solidFill>
            <a:srgbClr val="FF46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0" dirty="0" smtClean="0">
                <a:solidFill>
                  <a:prstClr val="white"/>
                </a:solidFill>
              </a:rPr>
              <a:t> </a:t>
            </a:r>
            <a:endParaRPr lang="th-TH" b="0" dirty="0">
              <a:solidFill>
                <a:prstClr val="white"/>
              </a:solidFill>
            </a:endParaRPr>
          </a:p>
        </p:txBody>
      </p:sp>
      <p:sp>
        <p:nvSpPr>
          <p:cNvPr id="8" name="Rectangle 7"/>
          <p:cNvSpPr/>
          <p:nvPr/>
        </p:nvSpPr>
        <p:spPr>
          <a:xfrm>
            <a:off x="9035454" y="3789040"/>
            <a:ext cx="107504" cy="432048"/>
          </a:xfrm>
          <a:prstGeom prst="rect">
            <a:avLst/>
          </a:prstGeom>
          <a:solidFill>
            <a:srgbClr val="F9C5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0" dirty="0" smtClean="0">
                <a:solidFill>
                  <a:prstClr val="white"/>
                </a:solidFill>
              </a:rPr>
              <a:t> </a:t>
            </a:r>
            <a:endParaRPr lang="th-TH" b="0" dirty="0">
              <a:solidFill>
                <a:prstClr val="white"/>
              </a:solidFill>
            </a:endParaRPr>
          </a:p>
        </p:txBody>
      </p:sp>
      <p:sp>
        <p:nvSpPr>
          <p:cNvPr id="9" name="Rectangle 8"/>
          <p:cNvSpPr/>
          <p:nvPr/>
        </p:nvSpPr>
        <p:spPr>
          <a:xfrm>
            <a:off x="9035454" y="4221088"/>
            <a:ext cx="107504" cy="432048"/>
          </a:xfrm>
          <a:prstGeom prst="rect">
            <a:avLst/>
          </a:prstGeom>
          <a:solidFill>
            <a:srgbClr val="726F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b="0" dirty="0" smtClean="0">
                <a:solidFill>
                  <a:prstClr val="white"/>
                </a:solidFill>
              </a:rPr>
              <a:t> </a:t>
            </a:r>
            <a:endParaRPr lang="th-TH" b="0" dirty="0">
              <a:solidFill>
                <a:prstClr val="white"/>
              </a:solidFill>
            </a:endParaRPr>
          </a:p>
        </p:txBody>
      </p:sp>
    </p:spTree>
    <p:extLst>
      <p:ext uri="{BB962C8B-B14F-4D97-AF65-F5344CB8AC3E}">
        <p14:creationId xmlns:p14="http://schemas.microsoft.com/office/powerpoint/2010/main" val="3375041684"/>
      </p:ext>
    </p:extLst>
  </p:cSld>
  <p:clrMap bg1="lt1" tx1="dk1" bg2="lt2" tx2="dk2" accent1="accent1" accent2="accent2" accent3="accent3" accent4="accent4" accent5="accent5" accent6="accent6" hlink="hlink" folHlink="folHlink"/>
  <p:sldLayoutIdLst>
    <p:sldLayoutId id="2147485693" r:id="rId1"/>
    <p:sldLayoutId id="2147485694" r:id="rId2"/>
    <p:sldLayoutId id="2147485695" r:id="rId3"/>
    <p:sldLayoutId id="2147485696" r:id="rId4"/>
    <p:sldLayoutId id="2147485697" r:id="rId5"/>
    <p:sldLayoutId id="2147485698" r:id="rId6"/>
    <p:sldLayoutId id="2147485699" r:id="rId7"/>
    <p:sldLayoutId id="2147485700" r:id="rId8"/>
    <p:sldLayoutId id="2147485701" r:id="rId9"/>
    <p:sldLayoutId id="2147485702" r:id="rId10"/>
    <p:sldLayoutId id="2147485704" r:id="rId11"/>
    <p:sldLayoutId id="2147485705" r:id="rId12"/>
    <p:sldLayoutId id="2147485706" r:id="rId13"/>
    <p:sldLayoutId id="2147485707" r:id="rId14"/>
    <p:sldLayoutId id="2147485708" r:id="rId15"/>
    <p:sldLayoutId id="2147485709" r:id="rId16"/>
    <p:sldLayoutId id="2147485710" r:id="rId17"/>
    <p:sldLayoutId id="2147485711" r:id="rId18"/>
    <p:sldLayoutId id="2147485712" r:id="rId19"/>
    <p:sldLayoutId id="2147485713" r:id="rId20"/>
    <p:sldLayoutId id="2147485714" r:id="rId21"/>
    <p:sldLayoutId id="2147485715" r:id="rId22"/>
    <p:sldLayoutId id="2147485716" r:id="rId23"/>
    <p:sldLayoutId id="2147485717" r:id="rId24"/>
    <p:sldLayoutId id="2147485718" r:id="rId25"/>
    <p:sldLayoutId id="2147485719" r:id="rId26"/>
    <p:sldLayoutId id="2147485720" r:id="rId27"/>
    <p:sldLayoutId id="2147485721" r:id="rId28"/>
    <p:sldLayoutId id="2147484388" r:id="rId29"/>
    <p:sldLayoutId id="2147485564" r:id="rId30"/>
    <p:sldLayoutId id="2147485370" r:id="rId31"/>
    <p:sldLayoutId id="2147485343" r:id="rId32"/>
    <p:sldLayoutId id="2147485676" r:id="rId33"/>
    <p:sldLayoutId id="2147485357" r:id="rId34"/>
    <p:sldLayoutId id="2147484677" r:id="rId35"/>
    <p:sldLayoutId id="2147485780" r:id="rId36"/>
    <p:sldLayoutId id="2147485781" r:id="rId3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226">
          <p15:clr>
            <a:srgbClr val="F26B43"/>
          </p15:clr>
        </p15:guide>
        <p15:guide id="2" pos="5534">
          <p15:clr>
            <a:srgbClr val="F26B43"/>
          </p15:clr>
        </p15:guide>
        <p15:guide id="3" orient="horz" pos="187">
          <p15:clr>
            <a:srgbClr val="F26B43"/>
          </p15:clr>
        </p15:guide>
        <p15:guide id="4" orient="horz" pos="39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787337" y="4581128"/>
            <a:ext cx="430893" cy="365125"/>
          </a:xfrm>
          <a:prstGeom prst="rect">
            <a:avLst/>
          </a:prstGeom>
        </p:spPr>
        <p:txBody>
          <a:bodyPr vert="horz" lIns="91440" tIns="45720" rIns="91440" bIns="45720" rtlCol="0" anchor="ctr"/>
          <a:lstStyle>
            <a:lvl1pPr algn="r">
              <a:defRPr sz="1600">
                <a:solidFill>
                  <a:schemeClr val="tx1">
                    <a:tint val="75000"/>
                  </a:schemeClr>
                </a:solidFill>
                <a:latin typeface="AngsanaUPC" panose="02020603050405020304" pitchFamily="18" charset="-34"/>
                <a:cs typeface="AngsanaUPC" panose="02020603050405020304" pitchFamily="18" charset="-34"/>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892B0ED-4054-42B7-A893-2D57CE8DC8A6}" type="slidenum">
              <a:rPr kumimoji="0" lang="th-TH"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th-TH" sz="1600" b="0" i="0" u="none" strike="noStrike" kern="1200" cap="none" spc="0" normalizeH="0" baseline="0" noProof="0" dirty="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
        <p:nvSpPr>
          <p:cNvPr id="7" name="Rectangle 6"/>
          <p:cNvSpPr/>
          <p:nvPr/>
        </p:nvSpPr>
        <p:spPr>
          <a:xfrm>
            <a:off x="9035454" y="0"/>
            <a:ext cx="107504" cy="3789040"/>
          </a:xfrm>
          <a:prstGeom prst="rect">
            <a:avLst/>
          </a:prstGeom>
          <a:solidFill>
            <a:srgbClr val="FF46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smtClean="0">
                <a:ln>
                  <a:noFill/>
                </a:ln>
                <a:solidFill>
                  <a:prstClr val="white"/>
                </a:solidFill>
                <a:effectLst/>
                <a:uLnTx/>
                <a:uFillTx/>
                <a:latin typeface="AngsanaUPC" panose="02020603050405020304" pitchFamily="18" charset="-34"/>
                <a:ea typeface="+mn-ea"/>
                <a:cs typeface="TH Sarabun New"/>
              </a:rPr>
              <a:t> </a:t>
            </a:r>
            <a:endParaRPr kumimoji="0" lang="th-TH" sz="2800" b="0" i="0" u="none" strike="noStrike" kern="1200" cap="none" spc="0" normalizeH="0" baseline="0" noProof="0" dirty="0">
              <a:ln>
                <a:noFill/>
              </a:ln>
              <a:solidFill>
                <a:prstClr val="white"/>
              </a:solidFill>
              <a:effectLst/>
              <a:uLnTx/>
              <a:uFillTx/>
              <a:latin typeface="AngsanaUPC" panose="02020603050405020304" pitchFamily="18" charset="-34"/>
              <a:ea typeface="+mn-ea"/>
              <a:cs typeface="TH Sarabun New"/>
            </a:endParaRPr>
          </a:p>
        </p:txBody>
      </p:sp>
      <p:sp>
        <p:nvSpPr>
          <p:cNvPr id="8" name="Rectangle 7"/>
          <p:cNvSpPr/>
          <p:nvPr/>
        </p:nvSpPr>
        <p:spPr>
          <a:xfrm>
            <a:off x="9035454" y="3789040"/>
            <a:ext cx="107504" cy="432048"/>
          </a:xfrm>
          <a:prstGeom prst="rect">
            <a:avLst/>
          </a:prstGeom>
          <a:solidFill>
            <a:srgbClr val="F9C5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smtClean="0">
                <a:ln>
                  <a:noFill/>
                </a:ln>
                <a:solidFill>
                  <a:prstClr val="white"/>
                </a:solidFill>
                <a:effectLst/>
                <a:uLnTx/>
                <a:uFillTx/>
                <a:latin typeface="AngsanaUPC" panose="02020603050405020304" pitchFamily="18" charset="-34"/>
                <a:ea typeface="+mn-ea"/>
                <a:cs typeface="TH Sarabun New"/>
              </a:rPr>
              <a:t> </a:t>
            </a:r>
            <a:endParaRPr kumimoji="0" lang="th-TH" sz="2800" b="0" i="0" u="none" strike="noStrike" kern="1200" cap="none" spc="0" normalizeH="0" baseline="0" noProof="0" dirty="0">
              <a:ln>
                <a:noFill/>
              </a:ln>
              <a:solidFill>
                <a:prstClr val="white"/>
              </a:solidFill>
              <a:effectLst/>
              <a:uLnTx/>
              <a:uFillTx/>
              <a:latin typeface="AngsanaUPC" panose="02020603050405020304" pitchFamily="18" charset="-34"/>
              <a:ea typeface="+mn-ea"/>
              <a:cs typeface="TH Sarabun New"/>
            </a:endParaRPr>
          </a:p>
        </p:txBody>
      </p:sp>
      <p:sp>
        <p:nvSpPr>
          <p:cNvPr id="9" name="Rectangle 8"/>
          <p:cNvSpPr/>
          <p:nvPr/>
        </p:nvSpPr>
        <p:spPr>
          <a:xfrm>
            <a:off x="9035454" y="4221088"/>
            <a:ext cx="107504" cy="432048"/>
          </a:xfrm>
          <a:prstGeom prst="rect">
            <a:avLst/>
          </a:prstGeom>
          <a:solidFill>
            <a:srgbClr val="726F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smtClean="0">
                <a:ln>
                  <a:noFill/>
                </a:ln>
                <a:solidFill>
                  <a:prstClr val="white"/>
                </a:solidFill>
                <a:effectLst/>
                <a:uLnTx/>
                <a:uFillTx/>
                <a:latin typeface="AngsanaUPC" panose="02020603050405020304" pitchFamily="18" charset="-34"/>
                <a:ea typeface="+mn-ea"/>
                <a:cs typeface="TH Sarabun New"/>
              </a:rPr>
              <a:t> </a:t>
            </a:r>
            <a:endParaRPr kumimoji="0" lang="th-TH" sz="2800" b="0" i="0" u="none" strike="noStrike" kern="1200" cap="none" spc="0" normalizeH="0" baseline="0" noProof="0" dirty="0">
              <a:ln>
                <a:noFill/>
              </a:ln>
              <a:solidFill>
                <a:prstClr val="white"/>
              </a:solidFill>
              <a:effectLst/>
              <a:uLnTx/>
              <a:uFillTx/>
              <a:latin typeface="AngsanaUPC" panose="02020603050405020304" pitchFamily="18" charset="-34"/>
              <a:ea typeface="+mn-ea"/>
              <a:cs typeface="TH Sarabun New"/>
            </a:endParaRPr>
          </a:p>
        </p:txBody>
      </p:sp>
    </p:spTree>
    <p:extLst>
      <p:ext uri="{BB962C8B-B14F-4D97-AF65-F5344CB8AC3E}">
        <p14:creationId xmlns:p14="http://schemas.microsoft.com/office/powerpoint/2010/main" val="1572421020"/>
      </p:ext>
    </p:extLst>
  </p:cSld>
  <p:clrMap bg1="lt1" tx1="dk1" bg2="lt2" tx2="dk2" accent1="accent1" accent2="accent2" accent3="accent3" accent4="accent4" accent5="accent5" accent6="accent6" hlink="hlink" folHlink="folHlink"/>
  <p:sldLayoutIdLst>
    <p:sldLayoutId id="2147485724" r:id="rId1"/>
    <p:sldLayoutId id="2147485725" r:id="rId2"/>
    <p:sldLayoutId id="2147485726" r:id="rId3"/>
    <p:sldLayoutId id="2147485727" r:id="rId4"/>
    <p:sldLayoutId id="2147485728" r:id="rId5"/>
    <p:sldLayoutId id="2147485729" r:id="rId6"/>
    <p:sldLayoutId id="2147485730" r:id="rId7"/>
    <p:sldLayoutId id="2147485731" r:id="rId8"/>
    <p:sldLayoutId id="2147485732" r:id="rId9"/>
    <p:sldLayoutId id="2147485733" r:id="rId10"/>
    <p:sldLayoutId id="2147485734" r:id="rId11"/>
    <p:sldLayoutId id="2147485735" r:id="rId12"/>
    <p:sldLayoutId id="2147485736" r:id="rId13"/>
    <p:sldLayoutId id="2147485737" r:id="rId14"/>
    <p:sldLayoutId id="2147485738" r:id="rId15"/>
    <p:sldLayoutId id="2147485739" r:id="rId16"/>
    <p:sldLayoutId id="2147485740" r:id="rId1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226">
          <p15:clr>
            <a:srgbClr val="F26B43"/>
          </p15:clr>
        </p15:guide>
        <p15:guide id="2" pos="5534">
          <p15:clr>
            <a:srgbClr val="F26B43"/>
          </p15:clr>
        </p15:guide>
        <p15:guide id="3" orient="horz" pos="187">
          <p15:clr>
            <a:srgbClr val="F26B43"/>
          </p15:clr>
        </p15:guide>
        <p15:guide id="4" orient="horz" pos="39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787337" y="4581128"/>
            <a:ext cx="430893" cy="365125"/>
          </a:xfrm>
          <a:prstGeom prst="rect">
            <a:avLst/>
          </a:prstGeom>
        </p:spPr>
        <p:txBody>
          <a:bodyPr vert="horz" lIns="91440" tIns="45720" rIns="91440" bIns="45720" rtlCol="0" anchor="ctr"/>
          <a:lstStyle>
            <a:lvl1pPr algn="r">
              <a:defRPr sz="1600">
                <a:solidFill>
                  <a:schemeClr val="tx1">
                    <a:tint val="75000"/>
                  </a:schemeClr>
                </a:solidFill>
                <a:latin typeface="AngsanaUPC" panose="02020603050405020304" pitchFamily="18" charset="-34"/>
                <a:cs typeface="AngsanaUPC" panose="02020603050405020304" pitchFamily="18" charset="-34"/>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9DA99F2A-1CA3-4175-8486-CAD88CF786FA}" type="slidenum">
              <a:rPr kumimoji="0" lang="en-US"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
        <p:nvSpPr>
          <p:cNvPr id="7" name="Rectangle 6"/>
          <p:cNvSpPr/>
          <p:nvPr/>
        </p:nvSpPr>
        <p:spPr>
          <a:xfrm>
            <a:off x="9035454" y="0"/>
            <a:ext cx="107504" cy="3789040"/>
          </a:xfrm>
          <a:prstGeom prst="rect">
            <a:avLst/>
          </a:prstGeom>
          <a:solidFill>
            <a:srgbClr val="FF46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smtClean="0">
                <a:ln>
                  <a:noFill/>
                </a:ln>
                <a:solidFill>
                  <a:prstClr val="white"/>
                </a:solidFill>
                <a:effectLst/>
                <a:uLnTx/>
                <a:uFillTx/>
                <a:latin typeface="Open Sans"/>
                <a:ea typeface="+mn-ea"/>
                <a:cs typeface="TH Sarabun New"/>
              </a:rPr>
              <a:t> </a:t>
            </a:r>
            <a:endParaRPr kumimoji="0" lang="th-TH" sz="2800" b="0" i="0" u="none" strike="noStrike" kern="1200" cap="none" spc="0" normalizeH="0" baseline="0" noProof="0" dirty="0">
              <a:ln>
                <a:noFill/>
              </a:ln>
              <a:solidFill>
                <a:prstClr val="white"/>
              </a:solidFill>
              <a:effectLst/>
              <a:uLnTx/>
              <a:uFillTx/>
              <a:latin typeface="Open Sans"/>
              <a:ea typeface="+mn-ea"/>
              <a:cs typeface="TH Sarabun New"/>
            </a:endParaRPr>
          </a:p>
        </p:txBody>
      </p:sp>
      <p:sp>
        <p:nvSpPr>
          <p:cNvPr id="8" name="Rectangle 7"/>
          <p:cNvSpPr/>
          <p:nvPr/>
        </p:nvSpPr>
        <p:spPr>
          <a:xfrm>
            <a:off x="9035454" y="3789040"/>
            <a:ext cx="107504" cy="432048"/>
          </a:xfrm>
          <a:prstGeom prst="rect">
            <a:avLst/>
          </a:prstGeom>
          <a:solidFill>
            <a:srgbClr val="F9C5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smtClean="0">
                <a:ln>
                  <a:noFill/>
                </a:ln>
                <a:solidFill>
                  <a:prstClr val="white"/>
                </a:solidFill>
                <a:effectLst/>
                <a:uLnTx/>
                <a:uFillTx/>
                <a:latin typeface="Open Sans"/>
                <a:ea typeface="+mn-ea"/>
                <a:cs typeface="TH Sarabun New"/>
              </a:rPr>
              <a:t> </a:t>
            </a:r>
            <a:endParaRPr kumimoji="0" lang="th-TH" sz="2800" b="0" i="0" u="none" strike="noStrike" kern="1200" cap="none" spc="0" normalizeH="0" baseline="0" noProof="0" dirty="0">
              <a:ln>
                <a:noFill/>
              </a:ln>
              <a:solidFill>
                <a:prstClr val="white"/>
              </a:solidFill>
              <a:effectLst/>
              <a:uLnTx/>
              <a:uFillTx/>
              <a:latin typeface="Open Sans"/>
              <a:ea typeface="+mn-ea"/>
              <a:cs typeface="TH Sarabun New"/>
            </a:endParaRPr>
          </a:p>
        </p:txBody>
      </p:sp>
      <p:sp>
        <p:nvSpPr>
          <p:cNvPr id="9" name="Rectangle 8"/>
          <p:cNvSpPr/>
          <p:nvPr/>
        </p:nvSpPr>
        <p:spPr>
          <a:xfrm>
            <a:off x="9035454" y="4221088"/>
            <a:ext cx="107504" cy="432048"/>
          </a:xfrm>
          <a:prstGeom prst="rect">
            <a:avLst/>
          </a:prstGeom>
          <a:solidFill>
            <a:srgbClr val="726F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smtClean="0">
                <a:ln>
                  <a:noFill/>
                </a:ln>
                <a:solidFill>
                  <a:prstClr val="white"/>
                </a:solidFill>
                <a:effectLst/>
                <a:uLnTx/>
                <a:uFillTx/>
                <a:latin typeface="Open Sans"/>
                <a:ea typeface="+mn-ea"/>
                <a:cs typeface="TH Sarabun New"/>
              </a:rPr>
              <a:t> </a:t>
            </a:r>
            <a:endParaRPr kumimoji="0" lang="th-TH" sz="2800" b="0" i="0" u="none" strike="noStrike" kern="1200" cap="none" spc="0" normalizeH="0" baseline="0" noProof="0" dirty="0">
              <a:ln>
                <a:noFill/>
              </a:ln>
              <a:solidFill>
                <a:prstClr val="white"/>
              </a:solidFill>
              <a:effectLst/>
              <a:uLnTx/>
              <a:uFillTx/>
              <a:latin typeface="Open Sans"/>
              <a:ea typeface="+mn-ea"/>
              <a:cs typeface="TH Sarabun New"/>
            </a:endParaRPr>
          </a:p>
        </p:txBody>
      </p:sp>
    </p:spTree>
    <p:extLst>
      <p:ext uri="{BB962C8B-B14F-4D97-AF65-F5344CB8AC3E}">
        <p14:creationId xmlns:p14="http://schemas.microsoft.com/office/powerpoint/2010/main" val="63076678"/>
      </p:ext>
    </p:extLst>
  </p:cSld>
  <p:clrMap bg1="lt1" tx1="dk1" bg2="lt2" tx2="dk2" accent1="accent1" accent2="accent2" accent3="accent3" accent4="accent4" accent5="accent5" accent6="accent6" hlink="hlink" folHlink="folHlink"/>
  <p:sldLayoutIdLst>
    <p:sldLayoutId id="2147485743" r:id="rId1"/>
    <p:sldLayoutId id="2147485744" r:id="rId2"/>
    <p:sldLayoutId id="2147485745" r:id="rId3"/>
    <p:sldLayoutId id="2147485746" r:id="rId4"/>
    <p:sldLayoutId id="2147485747" r:id="rId5"/>
    <p:sldLayoutId id="2147485748" r:id="rId6"/>
    <p:sldLayoutId id="2147485749" r:id="rId7"/>
    <p:sldLayoutId id="2147485750" r:id="rId8"/>
    <p:sldLayoutId id="2147485751" r:id="rId9"/>
    <p:sldLayoutId id="2147485752" r:id="rId10"/>
    <p:sldLayoutId id="2147485753" r:id="rId11"/>
    <p:sldLayoutId id="2147485754" r:id="rId12"/>
    <p:sldLayoutId id="2147485755" r:id="rId13"/>
    <p:sldLayoutId id="2147485756" r:id="rId14"/>
    <p:sldLayoutId id="2147485757" r:id="rId15"/>
    <p:sldLayoutId id="2147485758" r:id="rId16"/>
    <p:sldLayoutId id="2147485759" r:id="rId17"/>
    <p:sldLayoutId id="2147485760" r:id="rId18"/>
    <p:sldLayoutId id="2147485761" r:id="rId19"/>
    <p:sldLayoutId id="2147485762" r:id="rId20"/>
    <p:sldLayoutId id="2147485763" r:id="rId21"/>
    <p:sldLayoutId id="2147485764" r:id="rId22"/>
    <p:sldLayoutId id="2147485765" r:id="rId23"/>
    <p:sldLayoutId id="2147485766" r:id="rId24"/>
    <p:sldLayoutId id="2147485767" r:id="rId25"/>
    <p:sldLayoutId id="2147485768" r:id="rId26"/>
    <p:sldLayoutId id="2147485769" r:id="rId27"/>
    <p:sldLayoutId id="2147485770" r:id="rId28"/>
    <p:sldLayoutId id="2147485771" r:id="rId29"/>
    <p:sldLayoutId id="2147485772" r:id="rId30"/>
    <p:sldLayoutId id="2147485773" r:id="rId31"/>
    <p:sldLayoutId id="2147485774" r:id="rId32"/>
    <p:sldLayoutId id="2147485775" r:id="rId33"/>
    <p:sldLayoutId id="2147485776" r:id="rId34"/>
    <p:sldLayoutId id="2147485777" r:id="rId35"/>
    <p:sldLayoutId id="2147485778" r:id="rId36"/>
    <p:sldLayoutId id="2147485779" r:id="rId3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226">
          <p15:clr>
            <a:srgbClr val="F26B43"/>
          </p15:clr>
        </p15:guide>
        <p15:guide id="2" pos="5534">
          <p15:clr>
            <a:srgbClr val="F26B43"/>
          </p15:clr>
        </p15:guide>
        <p15:guide id="3" orient="horz" pos="187">
          <p15:clr>
            <a:srgbClr val="F26B43"/>
          </p15:clr>
        </p15:guide>
        <p15:guide id="4" orient="horz" pos="390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2.xml"/><Relationship Id="rId1" Type="http://schemas.openxmlformats.org/officeDocument/2006/relationships/themeOverride" Target="../theme/themeOverride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0.xml"/><Relationship Id="rId1" Type="http://schemas.openxmlformats.org/officeDocument/2006/relationships/slideLayout" Target="../slideLayouts/slideLayout22.xml"/><Relationship Id="rId5" Type="http://schemas.openxmlformats.org/officeDocument/2006/relationships/image" Target="../media/image42.png"/><Relationship Id="rId4" Type="http://schemas.openxmlformats.org/officeDocument/2006/relationships/hyperlink" Target="http://www.businessweek.com/magazine/toc/05_34/B3948chinaindia.htm"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47.xml"/><Relationship Id="rId5" Type="http://schemas.openxmlformats.org/officeDocument/2006/relationships/image" Target="../media/image45.png"/><Relationship Id="rId4" Type="http://schemas.openxmlformats.org/officeDocument/2006/relationships/image" Target="../media/image44.png"/></Relationships>
</file>

<file path=ppt/slides/_rels/slide1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12.xml"/><Relationship Id="rId1" Type="http://schemas.openxmlformats.org/officeDocument/2006/relationships/slideLayout" Target="../slideLayouts/slideLayout47.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14.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3.xml"/><Relationship Id="rId1" Type="http://schemas.openxmlformats.org/officeDocument/2006/relationships/slideLayout" Target="../slideLayouts/slideLayout47.xml"/></Relationships>
</file>

<file path=ppt/slides/_rels/slide15.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4.xml"/><Relationship Id="rId1" Type="http://schemas.openxmlformats.org/officeDocument/2006/relationships/slideLayout" Target="../slideLayouts/slideLayout47.xml"/><Relationship Id="rId5" Type="http://schemas.openxmlformats.org/officeDocument/2006/relationships/image" Target="../media/image45.png"/><Relationship Id="rId4" Type="http://schemas.openxmlformats.org/officeDocument/2006/relationships/image" Target="../media/image44.png"/></Relationships>
</file>

<file path=ppt/slides/_rels/slide16.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5.xml"/><Relationship Id="rId1" Type="http://schemas.openxmlformats.org/officeDocument/2006/relationships/slideLayout" Target="../slideLayouts/slideLayout47.xml"/></Relationships>
</file>

<file path=ppt/slides/_rels/slide1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47.xml"/></Relationships>
</file>

<file path=ppt/slides/_rels/slide18.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6.xml"/><Relationship Id="rId1" Type="http://schemas.openxmlformats.org/officeDocument/2006/relationships/slideLayout" Target="../slideLayouts/slideLayout47.xml"/></Relationships>
</file>

<file path=ppt/slides/_rels/slide1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7.xml"/></Relationships>
</file>

<file path=ppt/slides/_rels/slide20.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slideLayout" Target="../slideLayouts/slideLayout22.xml"/><Relationship Id="rId1" Type="http://schemas.openxmlformats.org/officeDocument/2006/relationships/themeOverride" Target="../theme/themeOverride2.xml"/></Relationships>
</file>

<file path=ppt/slides/_rels/slide21.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57.png"/><Relationship Id="rId2" Type="http://schemas.openxmlformats.org/officeDocument/2006/relationships/slideLayout" Target="../slideLayouts/slideLayout47.xml"/><Relationship Id="rId1" Type="http://schemas.openxmlformats.org/officeDocument/2006/relationships/themeOverride" Target="../theme/themeOverride3.xml"/><Relationship Id="rId6" Type="http://schemas.openxmlformats.org/officeDocument/2006/relationships/image" Target="../media/image62.png"/><Relationship Id="rId5" Type="http://schemas.openxmlformats.org/officeDocument/2006/relationships/image" Target="../media/image61.gif"/><Relationship Id="rId4" Type="http://schemas.openxmlformats.org/officeDocument/2006/relationships/image" Target="../media/image60.png"/></Relationships>
</file>

<file path=ppt/slides/_rels/slide2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18.xml"/><Relationship Id="rId7" Type="http://schemas.openxmlformats.org/officeDocument/2006/relationships/image" Target="../media/image57.png"/><Relationship Id="rId2" Type="http://schemas.openxmlformats.org/officeDocument/2006/relationships/slideLayout" Target="../slideLayouts/slideLayout22.xml"/><Relationship Id="rId1" Type="http://schemas.openxmlformats.org/officeDocument/2006/relationships/themeOverride" Target="../theme/themeOverride4.xml"/><Relationship Id="rId6" Type="http://schemas.openxmlformats.org/officeDocument/2006/relationships/image" Target="../media/image66.jpeg"/><Relationship Id="rId5" Type="http://schemas.openxmlformats.org/officeDocument/2006/relationships/image" Target="../media/image65.jpeg"/><Relationship Id="rId4" Type="http://schemas.openxmlformats.org/officeDocument/2006/relationships/image" Target="../media/image64.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69.png"/><Relationship Id="rId2" Type="http://schemas.openxmlformats.org/officeDocument/2006/relationships/tags" Target="../tags/tag14.xml"/><Relationship Id="rId1" Type="http://schemas.openxmlformats.org/officeDocument/2006/relationships/themeOverride" Target="../theme/themeOverride5.xml"/><Relationship Id="rId6" Type="http://schemas.openxmlformats.org/officeDocument/2006/relationships/image" Target="../media/image68.png"/><Relationship Id="rId5" Type="http://schemas.openxmlformats.org/officeDocument/2006/relationships/image" Target="../media/image67.jpeg"/><Relationship Id="rId4" Type="http://schemas.openxmlformats.org/officeDocument/2006/relationships/notesSlide" Target="../notesSlides/notesSlide19.xml"/></Relationships>
</file>

<file path=ppt/slides/_rels/slide2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76.xml"/></Relationships>
</file>

<file path=ppt/slides/_rels/slide2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76.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7.xml"/><Relationship Id="rId1" Type="http://schemas.openxmlformats.org/officeDocument/2006/relationships/themeOverride" Target="../theme/themeOverride6.xml"/><Relationship Id="rId4" Type="http://schemas.openxmlformats.org/officeDocument/2006/relationships/image" Target="../media/image71.jpg"/></Relationships>
</file>

<file path=ppt/slides/_rels/slide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1.xml"/><Relationship Id="rId1" Type="http://schemas.openxmlformats.org/officeDocument/2006/relationships/slideLayout" Target="../slideLayouts/slideLayout22.xml"/><Relationship Id="rId4" Type="http://schemas.openxmlformats.org/officeDocument/2006/relationships/image" Target="../media/image5.png"/></Relationships>
</file>

<file path=ppt/slides/_rels/slide29.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22.xml"/><Relationship Id="rId1" Type="http://schemas.openxmlformats.org/officeDocument/2006/relationships/slideLayout" Target="../slideLayouts/slideLayout59.xm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image" Target="../media/image7.png"/><Relationship Id="rId7" Type="http://schemas.openxmlformats.org/officeDocument/2006/relationships/image" Target="../media/image11.jpeg"/><Relationship Id="rId12" Type="http://schemas.openxmlformats.org/officeDocument/2006/relationships/image" Target="../media/image16.jpeg"/><Relationship Id="rId17" Type="http://schemas.microsoft.com/office/2007/relationships/hdphoto" Target="../media/hdphoto1.wdp"/><Relationship Id="rId2" Type="http://schemas.openxmlformats.org/officeDocument/2006/relationships/notesSlide" Target="../notesSlides/notesSlide3.xml"/><Relationship Id="rId16" Type="http://schemas.openxmlformats.org/officeDocument/2006/relationships/image" Target="../media/image19.png"/><Relationship Id="rId1" Type="http://schemas.openxmlformats.org/officeDocument/2006/relationships/slideLayout" Target="../slideLayouts/slideLayout47.xml"/><Relationship Id="rId6" Type="http://schemas.openxmlformats.org/officeDocument/2006/relationships/image" Target="../media/image10.png"/><Relationship Id="rId11" Type="http://schemas.openxmlformats.org/officeDocument/2006/relationships/image" Target="../media/image15.jpeg"/><Relationship Id="rId5" Type="http://schemas.openxmlformats.org/officeDocument/2006/relationships/image" Target="../media/image9.jpeg"/><Relationship Id="rId15" Type="http://schemas.openxmlformats.org/officeDocument/2006/relationships/image" Target="../media/image18.png"/><Relationship Id="rId10" Type="http://schemas.openxmlformats.org/officeDocument/2006/relationships/image" Target="../media/image14.jpe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4.png"/></Relationships>
</file>

<file path=ppt/slides/_rels/slide3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3.xml"/><Relationship Id="rId1" Type="http://schemas.openxmlformats.org/officeDocument/2006/relationships/slideLayout" Target="../slideLayouts/slideLayout59.xml"/></Relationships>
</file>

<file path=ppt/slides/_rels/slide3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24.xml"/><Relationship Id="rId1" Type="http://schemas.openxmlformats.org/officeDocument/2006/relationships/slideLayout" Target="../slideLayouts/slideLayout59.xml"/></Relationships>
</file>

<file path=ppt/slides/_rels/slide32.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25.xml"/><Relationship Id="rId1" Type="http://schemas.openxmlformats.org/officeDocument/2006/relationships/slideLayout" Target="../slideLayouts/slideLayout59.xml"/></Relationships>
</file>

<file path=ppt/slides/_rels/slide3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38.png"/><Relationship Id="rId1" Type="http://schemas.openxmlformats.org/officeDocument/2006/relationships/slideLayout" Target="../slideLayouts/slideLayout59.xml"/></Relationships>
</file>

<file path=ppt/slides/_rels/slide34.xml.rels><?xml version="1.0" encoding="UTF-8" standalone="yes"?>
<Relationships xmlns="http://schemas.openxmlformats.org/package/2006/relationships"><Relationship Id="rId3" Type="http://schemas.openxmlformats.org/officeDocument/2006/relationships/hyperlink" Target="../../../&#3586;&#3657;&#3629;&#3617;&#3641;&#3621;&#3626;&#3635;&#3588;&#3633;&#3597;/EEC/EASTERN%20ECONOMIC%20CORRIDOR%20%5bTHAI%20VERSION%5d.mp4" TargetMode="External"/><Relationship Id="rId2" Type="http://schemas.openxmlformats.org/officeDocument/2006/relationships/image" Target="../media/image77.jpg"/><Relationship Id="rId1" Type="http://schemas.openxmlformats.org/officeDocument/2006/relationships/slideLayout" Target="../slideLayouts/slideLayout59.xml"/><Relationship Id="rId5" Type="http://schemas.openxmlformats.org/officeDocument/2006/relationships/image" Target="../media/image79.png"/><Relationship Id="rId4" Type="http://schemas.openxmlformats.org/officeDocument/2006/relationships/image" Target="../media/image78.jpg"/></Relationships>
</file>

<file path=ppt/slides/_rels/slide35.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Layout" Target="../slideLayouts/slideLayout59.xml"/></Relationships>
</file>

<file path=ppt/slides/_rels/slide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9.xml"/></Relationships>
</file>

<file path=ppt/slides/_rels/slide3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6.xml"/><Relationship Id="rId1" Type="http://schemas.openxmlformats.org/officeDocument/2006/relationships/slideLayout" Target="../slideLayouts/slideLayout59.xml"/></Relationships>
</file>

<file path=ppt/slides/_rels/slide3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7.xml"/><Relationship Id="rId1" Type="http://schemas.openxmlformats.org/officeDocument/2006/relationships/slideLayout" Target="../slideLayouts/slideLayout59.xml"/><Relationship Id="rId4" Type="http://schemas.openxmlformats.org/officeDocument/2006/relationships/image" Target="../media/image83.jpeg"/></Relationships>
</file>

<file path=ppt/slides/_rels/slide39.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28.png"/><Relationship Id="rId7" Type="http://schemas.openxmlformats.org/officeDocument/2006/relationships/image" Target="../media/image87.jpeg"/><Relationship Id="rId2" Type="http://schemas.openxmlformats.org/officeDocument/2006/relationships/notesSlide" Target="../notesSlides/notesSlide28.xml"/><Relationship Id="rId1" Type="http://schemas.openxmlformats.org/officeDocument/2006/relationships/slideLayout" Target="../slideLayouts/slideLayout54.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7.xml"/></Relationships>
</file>

<file path=ppt/slides/_rels/slide4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9.xml"/><Relationship Id="rId1" Type="http://schemas.openxmlformats.org/officeDocument/2006/relationships/slideLayout" Target="../slideLayouts/slideLayout17.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png"/></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4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7.xml"/></Relationships>
</file>

<file path=ppt/slides/_rels/slide7.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image" Target="../media/image21.jpeg"/><Relationship Id="rId7"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48.xml"/><Relationship Id="rId6" Type="http://schemas.openxmlformats.org/officeDocument/2006/relationships/image" Target="../media/image24.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s>
</file>

<file path=ppt/slides/_rels/slide8.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33.png"/><Relationship Id="rId3" Type="http://schemas.openxmlformats.org/officeDocument/2006/relationships/image" Target="../media/image29.jpeg"/><Relationship Id="rId7" Type="http://schemas.openxmlformats.org/officeDocument/2006/relationships/image" Target="../media/image22.png"/><Relationship Id="rId12"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48.xml"/><Relationship Id="rId6" Type="http://schemas.openxmlformats.org/officeDocument/2006/relationships/image" Target="../media/image32.png"/><Relationship Id="rId11" Type="http://schemas.openxmlformats.org/officeDocument/2006/relationships/image" Target="../media/image26.jpeg"/><Relationship Id="rId5" Type="http://schemas.openxmlformats.org/officeDocument/2006/relationships/image" Target="../media/image31.png"/><Relationship Id="rId10" Type="http://schemas.openxmlformats.org/officeDocument/2006/relationships/image" Target="../media/image25.png"/><Relationship Id="rId4" Type="http://schemas.openxmlformats.org/officeDocument/2006/relationships/image" Target="../media/image30.png"/><Relationship Id="rId9" Type="http://schemas.openxmlformats.org/officeDocument/2006/relationships/image" Target="../media/image24.png"/></Relationships>
</file>

<file path=ppt/slides/_rels/slide9.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4.png"/><Relationship Id="rId7" Type="http://schemas.openxmlformats.org/officeDocument/2006/relationships/image" Target="../media/image26.jpeg"/><Relationship Id="rId2" Type="http://schemas.openxmlformats.org/officeDocument/2006/relationships/notesSlide" Target="../notesSlides/notesSlide9.xml"/><Relationship Id="rId1" Type="http://schemas.openxmlformats.org/officeDocument/2006/relationships/slideLayout" Target="../slideLayouts/slideLayout47.xml"/><Relationship Id="rId6" Type="http://schemas.openxmlformats.org/officeDocument/2006/relationships/image" Target="../media/image37.png"/><Relationship Id="rId5" Type="http://schemas.openxmlformats.org/officeDocument/2006/relationships/image" Target="../media/image36.png"/><Relationship Id="rId10" Type="http://schemas.openxmlformats.org/officeDocument/2006/relationships/image" Target="../media/image40.jpeg"/><Relationship Id="rId4" Type="http://schemas.openxmlformats.org/officeDocument/2006/relationships/image" Target="../media/image35.png"/><Relationship Id="rId9" Type="http://schemas.openxmlformats.org/officeDocument/2006/relationships/image" Target="../media/image39.jpeg"/></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extBox 1"/>
          <p:cNvSpPr txBox="1"/>
          <p:nvPr/>
        </p:nvSpPr>
        <p:spPr>
          <a:xfrm>
            <a:off x="168938" y="5895353"/>
            <a:ext cx="1271502" cy="400110"/>
          </a:xfrm>
          <a:prstGeom prst="rect">
            <a:avLst/>
          </a:prstGeom>
          <a:noFill/>
        </p:spPr>
        <p:txBody>
          <a:bodyPr wrap="none" rtlCol="0">
            <a:spAutoFit/>
          </a:bodyPr>
          <a:lstStyle/>
          <a:p>
            <a:r>
              <a:rPr lang="en-US" sz="2000" b="1" dirty="0" smtClean="0">
                <a:solidFill>
                  <a:schemeClr val="bg1"/>
                </a:solidFill>
                <a:latin typeface="AngsanaUPC" panose="02020603050405020304" pitchFamily="18" charset="-34"/>
                <a:cs typeface="AngsanaUPC" panose="02020603050405020304" pitchFamily="18" charset="-34"/>
              </a:rPr>
              <a:t>20 </a:t>
            </a:r>
            <a:r>
              <a:rPr lang="th-TH" sz="2000" b="1" dirty="0" smtClean="0">
                <a:solidFill>
                  <a:schemeClr val="bg1"/>
                </a:solidFill>
                <a:latin typeface="AngsanaUPC" panose="02020603050405020304" pitchFamily="18" charset="-34"/>
                <a:cs typeface="AngsanaUPC" panose="02020603050405020304" pitchFamily="18" charset="-34"/>
              </a:rPr>
              <a:t>ตุลาคม 25</a:t>
            </a:r>
            <a:r>
              <a:rPr lang="en-US" sz="2000" b="1" dirty="0" smtClean="0">
                <a:solidFill>
                  <a:schemeClr val="bg1"/>
                </a:solidFill>
                <a:latin typeface="AngsanaUPC" panose="02020603050405020304" pitchFamily="18" charset="-34"/>
                <a:cs typeface="AngsanaUPC" panose="02020603050405020304" pitchFamily="18" charset="-34"/>
              </a:rPr>
              <a:t>60</a:t>
            </a:r>
            <a:endParaRPr lang="th-TH" sz="2000" b="1" dirty="0">
              <a:solidFill>
                <a:schemeClr val="bg1"/>
              </a:solidFill>
              <a:latin typeface="AngsanaUPC" panose="02020603050405020304" pitchFamily="18" charset="-34"/>
              <a:cs typeface="AngsanaUPC" panose="02020603050405020304" pitchFamily="18" charset="-34"/>
            </a:endParaRPr>
          </a:p>
        </p:txBody>
      </p:sp>
      <p:sp>
        <p:nvSpPr>
          <p:cNvPr id="11" name="TextBox 10"/>
          <p:cNvSpPr txBox="1"/>
          <p:nvPr/>
        </p:nvSpPr>
        <p:spPr>
          <a:xfrm>
            <a:off x="168938" y="6173029"/>
            <a:ext cx="4847802" cy="646331"/>
          </a:xfrm>
          <a:prstGeom prst="rect">
            <a:avLst/>
          </a:prstGeom>
          <a:noFill/>
        </p:spPr>
        <p:txBody>
          <a:bodyPr wrap="none" rtlCol="0">
            <a:spAutoFit/>
          </a:bodyPr>
          <a:lstStyle/>
          <a:p>
            <a:r>
              <a:rPr lang="th-TH" sz="1800" b="1" dirty="0" smtClean="0">
                <a:solidFill>
                  <a:schemeClr val="bg1"/>
                </a:solidFill>
                <a:latin typeface="Angsana New" panose="02020603050405020304" pitchFamily="18" charset="-34"/>
              </a:rPr>
              <a:t>ณ สำนักงาน ก.พ.ร.ศูนย์ราชการเฉลิมพระเกียรติ </a:t>
            </a:r>
            <a:r>
              <a:rPr lang="en-US" sz="1800" b="1" dirty="0" smtClean="0">
                <a:solidFill>
                  <a:schemeClr val="bg1"/>
                </a:solidFill>
                <a:latin typeface="Angsana New" panose="02020603050405020304" pitchFamily="18" charset="-34"/>
              </a:rPr>
              <a:t>80 </a:t>
            </a:r>
            <a:r>
              <a:rPr lang="th-TH" sz="1800" b="1" dirty="0" smtClean="0">
                <a:solidFill>
                  <a:schemeClr val="bg1"/>
                </a:solidFill>
                <a:latin typeface="Angsana New" panose="02020603050405020304" pitchFamily="18" charset="-34"/>
              </a:rPr>
              <a:t>พรรษา </a:t>
            </a:r>
            <a:r>
              <a:rPr lang="en-US" sz="1800" b="1" dirty="0" smtClean="0">
                <a:solidFill>
                  <a:schemeClr val="bg1"/>
                </a:solidFill>
                <a:latin typeface="Angsana New" panose="02020603050405020304" pitchFamily="18" charset="-34"/>
              </a:rPr>
              <a:t>5 </a:t>
            </a:r>
            <a:r>
              <a:rPr lang="th-TH" sz="1800" b="1" dirty="0" smtClean="0">
                <a:solidFill>
                  <a:schemeClr val="bg1"/>
                </a:solidFill>
                <a:latin typeface="Angsana New" panose="02020603050405020304" pitchFamily="18" charset="-34"/>
              </a:rPr>
              <a:t>ธันวาคม </a:t>
            </a:r>
            <a:r>
              <a:rPr lang="en-US" sz="1800" b="1" dirty="0" smtClean="0">
                <a:solidFill>
                  <a:schemeClr val="bg1"/>
                </a:solidFill>
                <a:latin typeface="Angsana New" panose="02020603050405020304" pitchFamily="18" charset="-34"/>
              </a:rPr>
              <a:t>2560</a:t>
            </a:r>
            <a:endParaRPr lang="th-TH" sz="1800" b="1" dirty="0" smtClean="0">
              <a:solidFill>
                <a:schemeClr val="bg1"/>
              </a:solidFill>
              <a:latin typeface="Angsana New" panose="02020603050405020304" pitchFamily="18" charset="-34"/>
            </a:endParaRPr>
          </a:p>
          <a:p>
            <a:r>
              <a:rPr lang="th-TH" sz="1800" b="1" dirty="0" smtClean="0">
                <a:solidFill>
                  <a:schemeClr val="bg1"/>
                </a:solidFill>
                <a:latin typeface="Angsana New" panose="02020603050405020304" pitchFamily="18" charset="-34"/>
              </a:rPr>
              <a:t>ชั้น </a:t>
            </a:r>
            <a:r>
              <a:rPr lang="en-US" sz="1800" b="1" dirty="0" smtClean="0">
                <a:solidFill>
                  <a:schemeClr val="bg1"/>
                </a:solidFill>
                <a:latin typeface="Angsana New" panose="02020603050405020304" pitchFamily="18" charset="-34"/>
              </a:rPr>
              <a:t>9 </a:t>
            </a:r>
            <a:r>
              <a:rPr lang="th-TH" sz="1800" b="1" dirty="0" smtClean="0">
                <a:solidFill>
                  <a:schemeClr val="bg1"/>
                </a:solidFill>
                <a:latin typeface="Angsana New" panose="02020603050405020304" pitchFamily="18" charset="-34"/>
              </a:rPr>
              <a:t>อาคารรัฐประศาสนภักดี </a:t>
            </a:r>
          </a:p>
        </p:txBody>
      </p:sp>
      <p:graphicFrame>
        <p:nvGraphicFramePr>
          <p:cNvPr id="10" name="Table 9"/>
          <p:cNvGraphicFramePr>
            <a:graphicFrameLocks noGrp="1"/>
          </p:cNvGraphicFramePr>
          <p:nvPr>
            <p:extLst>
              <p:ext uri="{D42A27DB-BD31-4B8C-83A1-F6EECF244321}">
                <p14:modId xmlns:p14="http://schemas.microsoft.com/office/powerpoint/2010/main" val="133183013"/>
              </p:ext>
            </p:extLst>
          </p:nvPr>
        </p:nvGraphicFramePr>
        <p:xfrm>
          <a:off x="1903095" y="307173"/>
          <a:ext cx="6915441" cy="2074006"/>
        </p:xfrm>
        <a:graphic>
          <a:graphicData uri="http://schemas.openxmlformats.org/drawingml/2006/table">
            <a:tbl>
              <a:tblPr firstRow="1" bandRow="1">
                <a:tableStyleId>{5C22544A-7EE6-4342-B048-85BDC9FD1C3A}</a:tableStyleId>
              </a:tblPr>
              <a:tblGrid>
                <a:gridCol w="1737730">
                  <a:extLst>
                    <a:ext uri="{9D8B030D-6E8A-4147-A177-3AD203B41FA5}">
                      <a16:colId xmlns:a16="http://schemas.microsoft.com/office/drawing/2014/main" xmlns="" val="20000"/>
                    </a:ext>
                  </a:extLst>
                </a:gridCol>
                <a:gridCol w="5177711">
                  <a:extLst>
                    <a:ext uri="{9D8B030D-6E8A-4147-A177-3AD203B41FA5}">
                      <a16:colId xmlns:a16="http://schemas.microsoft.com/office/drawing/2014/main" xmlns="" val="20001"/>
                    </a:ext>
                  </a:extLst>
                </a:gridCol>
              </a:tblGrid>
              <a:tr h="1183164">
                <a:tc>
                  <a:txBody>
                    <a:bodyPr/>
                    <a:lstStyle/>
                    <a:p>
                      <a:pPr algn="ctr"/>
                      <a:r>
                        <a:rPr kumimoji="0" lang="th-TH" sz="2800" u="none" strike="noStrike" kern="1200" cap="none" spc="0" normalizeH="0" baseline="0" dirty="0" smtClean="0">
                          <a:ln>
                            <a:noFill/>
                          </a:ln>
                          <a:effectLst>
                            <a:outerShdw blurRad="38100" dist="38100" dir="2700000" algn="tl">
                              <a:srgbClr val="000000">
                                <a:alpha val="43137"/>
                              </a:srgbClr>
                            </a:outerShdw>
                          </a:effectLst>
                          <a:uLnTx/>
                          <a:uFillTx/>
                          <a:latin typeface="AngsanaUPC" panose="02020603050405020304" pitchFamily="18" charset="-34"/>
                          <a:cs typeface="AngsanaUPC" panose="02020603050405020304" pitchFamily="18" charset="-34"/>
                        </a:rPr>
                        <a:t>สัมมนาเชิงปฏิบัติการ</a:t>
                      </a:r>
                      <a:endParaRPr kumimoji="0" lang="th-TH" sz="2800" b="0" i="0" u="none" strike="noStrike" kern="1200" cap="none" spc="0" normalizeH="0" baseline="0" dirty="0">
                        <a:ln>
                          <a:noFill/>
                        </a:ln>
                        <a:solidFill>
                          <a:prstClr val="white"/>
                        </a:solidFill>
                        <a:effectLst>
                          <a:outerShdw blurRad="38100" dist="38100" dir="2700000" algn="tl">
                            <a:srgbClr val="000000">
                              <a:alpha val="43137"/>
                            </a:srgbClr>
                          </a:outerShdw>
                        </a:effectLst>
                        <a:uLnTx/>
                        <a:uFillTx/>
                        <a:latin typeface="AngsanaUPC" panose="02020603050405020304" pitchFamily="18" charset="-34"/>
                        <a:ea typeface="+mn-ea"/>
                        <a:cs typeface="AngsanaUPC" panose="02020603050405020304" pitchFamily="18" charset="-34"/>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2800" u="none" strike="noStrike" kern="1200" cap="none" spc="0" normalizeH="0" baseline="0" dirty="0" smtClean="0">
                          <a:ln>
                            <a:noFill/>
                          </a:ln>
                          <a:effectLst>
                            <a:outerShdw blurRad="38100" dist="38100" dir="2700000" algn="tl">
                              <a:srgbClr val="000000">
                                <a:alpha val="43137"/>
                              </a:srgbClr>
                            </a:outerShdw>
                          </a:effectLst>
                          <a:uLnTx/>
                          <a:uFillTx/>
                          <a:latin typeface="AngsanaUPC" panose="02020603050405020304" pitchFamily="18" charset="-34"/>
                          <a:cs typeface="AngsanaUPC" panose="02020603050405020304" pitchFamily="18" charset="-34"/>
                        </a:rPr>
                        <a:t>การพัฒนาสวัสดิการภายในกองทัพเรือ</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2800" b="1" i="0" u="none" strike="noStrike" kern="1200" cap="none" spc="0" normalizeH="0" baseline="0" dirty="0" smtClean="0">
                          <a:ln>
                            <a:noFill/>
                          </a:ln>
                          <a:solidFill>
                            <a:prstClr val="white"/>
                          </a:solidFill>
                          <a:effectLst>
                            <a:outerShdw blurRad="38100" dist="38100" dir="2700000" algn="tl">
                              <a:srgbClr val="000000">
                                <a:alpha val="43137"/>
                              </a:srgbClr>
                            </a:outerShdw>
                          </a:effectLst>
                          <a:uLnTx/>
                          <a:uFillTx/>
                          <a:latin typeface="AngsanaUPC" panose="02020603050405020304" pitchFamily="18" charset="-34"/>
                          <a:ea typeface="+mn-ea"/>
                          <a:cs typeface="AngsanaUPC" panose="02020603050405020304" pitchFamily="18" charset="-34"/>
                        </a:rPr>
                        <a:t>รองรับการขับเคลื่อนโครงการ </a:t>
                      </a:r>
                      <a:r>
                        <a:rPr kumimoji="0" lang="en-US" sz="2800" b="1" i="0" u="none" strike="noStrike" kern="1200" cap="none" spc="0" normalizeH="0" baseline="0" dirty="0" smtClean="0">
                          <a:ln>
                            <a:noFill/>
                          </a:ln>
                          <a:solidFill>
                            <a:prstClr val="white"/>
                          </a:solidFill>
                          <a:effectLst>
                            <a:outerShdw blurRad="38100" dist="38100" dir="2700000" algn="tl">
                              <a:srgbClr val="000000">
                                <a:alpha val="43137"/>
                              </a:srgbClr>
                            </a:outerShdw>
                          </a:effectLst>
                          <a:uLnTx/>
                          <a:uFillTx/>
                          <a:latin typeface="AngsanaUPC" panose="02020603050405020304" pitchFamily="18" charset="-34"/>
                          <a:ea typeface="+mn-ea"/>
                          <a:cs typeface="AngsanaUPC" panose="02020603050405020304" pitchFamily="18" charset="-34"/>
                        </a:rPr>
                        <a:t>EEC</a:t>
                      </a:r>
                      <a:endParaRPr kumimoji="0" lang="th-TH" sz="2800" b="1" i="0" u="none" strike="noStrike" kern="1200" cap="none" spc="0" normalizeH="0" baseline="0" dirty="0" smtClean="0">
                        <a:ln>
                          <a:noFill/>
                        </a:ln>
                        <a:solidFill>
                          <a:prstClr val="white"/>
                        </a:solidFill>
                        <a:effectLst>
                          <a:outerShdw blurRad="38100" dist="38100" dir="2700000" algn="tl">
                            <a:srgbClr val="000000">
                              <a:alpha val="43137"/>
                            </a:srgbClr>
                          </a:outerShdw>
                        </a:effectLst>
                        <a:uLnTx/>
                        <a:uFillTx/>
                        <a:latin typeface="AngsanaUPC" panose="02020603050405020304" pitchFamily="18" charset="-34"/>
                        <a:ea typeface="+mn-ea"/>
                        <a:cs typeface="AngsanaUPC" panose="02020603050405020304" pitchFamily="18" charset="-34"/>
                      </a:endParaRPr>
                    </a:p>
                  </a:txBody>
                  <a:tcPr anchor="ctr"/>
                </a:tc>
                <a:extLst>
                  <a:ext uri="{0D108BD9-81ED-4DB2-BD59-A6C34878D82A}">
                    <a16:rowId xmlns:a16="http://schemas.microsoft.com/office/drawing/2014/main" xmlns="" val="10000"/>
                  </a:ext>
                </a:extLst>
              </a:tr>
              <a:tr h="89084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2800" u="none" strike="noStrike" kern="1200" cap="none" spc="0" normalizeH="0" baseline="0" noProof="0" dirty="0" smtClean="0">
                          <a:ln>
                            <a:noFill/>
                          </a:ln>
                          <a:effectLst>
                            <a:outerShdw blurRad="38100" dist="38100" dir="2700000" algn="tl">
                              <a:srgbClr val="000000">
                                <a:alpha val="43137"/>
                              </a:srgbClr>
                            </a:outerShdw>
                          </a:effectLst>
                          <a:uLnTx/>
                          <a:uFillTx/>
                          <a:latin typeface="AngsanaUPC" panose="02020603050405020304" pitchFamily="18" charset="-34"/>
                          <a:cs typeface="AngsanaUPC" panose="02020603050405020304" pitchFamily="18" charset="-34"/>
                        </a:rPr>
                        <a:t>หัวข้อ</a:t>
                      </a:r>
                      <a:endParaRPr lang="th-TH" sz="1800" dirty="0">
                        <a:effectLst>
                          <a:outerShdw blurRad="38100" dist="38100" dir="2700000" algn="tl">
                            <a:srgbClr val="000000">
                              <a:alpha val="43137"/>
                            </a:srgbClr>
                          </a:outerShdw>
                        </a:effectLst>
                        <a:latin typeface="AngsanaUPC" panose="02020603050405020304" pitchFamily="18" charset="-34"/>
                        <a:cs typeface="AngsanaUPC" panose="02020603050405020304" pitchFamily="18" charset="-34"/>
                      </a:endParaRPr>
                    </a:p>
                  </a:txBody>
                  <a:tcPr anchor="ct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th-TH" sz="3600" u="none" strike="noStrike" kern="1200" cap="none" spc="0" normalizeH="0" baseline="0" noProof="0" dirty="0" smtClean="0">
                          <a:ln>
                            <a:noFill/>
                          </a:ln>
                          <a:effectLst>
                            <a:outerShdw blurRad="38100" dist="38100" dir="2700000" algn="tl">
                              <a:srgbClr val="000000">
                                <a:alpha val="43137"/>
                              </a:srgbClr>
                            </a:outerShdw>
                          </a:effectLst>
                          <a:uLnTx/>
                          <a:uFillTx/>
                          <a:latin typeface="AngsanaUPC" panose="02020603050405020304" pitchFamily="18" charset="-34"/>
                          <a:cs typeface="AngsanaUPC" panose="02020603050405020304" pitchFamily="18" charset="-34"/>
                        </a:rPr>
                        <a:t>การบริหารการเปลี่ยนแปลง</a:t>
                      </a:r>
                      <a:endParaRPr kumimoji="0" lang="th-TH" sz="36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AngsanaUPC" panose="02020603050405020304" pitchFamily="18" charset="-34"/>
                        <a:ea typeface="+mn-ea"/>
                        <a:cs typeface="AngsanaUPC" panose="02020603050405020304" pitchFamily="18" charset="-34"/>
                      </a:endParaRPr>
                    </a:p>
                  </a:txBody>
                  <a:tcPr anchor="ctr"/>
                </a:tc>
                <a:extLst>
                  <a:ext uri="{0D108BD9-81ED-4DB2-BD59-A6C34878D82A}">
                    <a16:rowId xmlns:a16="http://schemas.microsoft.com/office/drawing/2014/main" xmlns="" val="10001"/>
                  </a:ext>
                </a:extLst>
              </a:tr>
            </a:tbl>
          </a:graphicData>
        </a:graphic>
      </p:graphicFrame>
      <p:sp>
        <p:nvSpPr>
          <p:cNvPr id="8" name="Rectangle 3"/>
          <p:cNvSpPr txBox="1">
            <a:spLocks noChangeArrowheads="1"/>
          </p:cNvSpPr>
          <p:nvPr/>
        </p:nvSpPr>
        <p:spPr bwMode="auto">
          <a:xfrm>
            <a:off x="4514849" y="5637378"/>
            <a:ext cx="4417985" cy="1090576"/>
          </a:xfrm>
          <a:prstGeom prst="rect">
            <a:avLst/>
          </a:prstGeom>
          <a:noFill/>
          <a:ln w="9525">
            <a:noFill/>
            <a:miter lim="800000"/>
            <a:headEnd/>
            <a:tailEnd/>
          </a:ln>
        </p:spPr>
        <p:txBody>
          <a:bodyPr vert="horz" wrap="square" lIns="91440" tIns="0" rIns="45720" bIns="0" numCol="1" anchor="b" anchorCtr="0" compatLnSpc="1">
            <a:prstTxWarp prst="textNoShape">
              <a:avLst/>
            </a:prstTxWarp>
            <a:normAutofit fontScale="85000" lnSpcReduction="20000"/>
          </a:bodyPr>
          <a:lstStyle>
            <a:lvl1pPr marL="0" indent="0" algn="r" rtl="0" eaLnBrk="0" fontAlgn="base" hangingPunct="0">
              <a:spcBef>
                <a:spcPct val="20000"/>
              </a:spcBef>
              <a:spcAft>
                <a:spcPct val="0"/>
              </a:spcAft>
              <a:buClr>
                <a:schemeClr val="accent1"/>
              </a:buClr>
              <a:buSzPct val="80000"/>
              <a:buFont typeface="Wingdings 2" pitchFamily="18" charset="2"/>
              <a:buNone/>
              <a:defRPr sz="2000" kern="1200">
                <a:solidFill>
                  <a:schemeClr val="tx1"/>
                </a:solidFill>
                <a:effectLst/>
                <a:latin typeface="+mn-lt"/>
                <a:ea typeface="+mn-ea"/>
                <a:cs typeface="+mn-cs"/>
              </a:defRPr>
            </a:lvl1pPr>
            <a:lvl2pPr marL="457200" indent="0" algn="ctr" rtl="0" eaLnBrk="0" fontAlgn="base" hangingPunct="0">
              <a:spcBef>
                <a:spcPct val="20000"/>
              </a:spcBef>
              <a:spcAft>
                <a:spcPct val="0"/>
              </a:spcAft>
              <a:buClr>
                <a:schemeClr val="accent1"/>
              </a:buClr>
              <a:buSzPct val="90000"/>
              <a:buFont typeface="Wingdings 2" pitchFamily="18" charset="2"/>
              <a:buNone/>
              <a:defRPr sz="2600" kern="1200">
                <a:solidFill>
                  <a:schemeClr val="tx1"/>
                </a:solidFill>
                <a:latin typeface="+mn-lt"/>
                <a:ea typeface="+mn-ea"/>
                <a:cs typeface="+mn-cs"/>
              </a:defRPr>
            </a:lvl2pPr>
            <a:lvl3pPr marL="914400" indent="0" algn="ctr" rtl="0" eaLnBrk="0" fontAlgn="base" hangingPunct="0">
              <a:spcBef>
                <a:spcPct val="20000"/>
              </a:spcBef>
              <a:spcAft>
                <a:spcPct val="0"/>
              </a:spcAft>
              <a:buClr>
                <a:schemeClr val="accent2"/>
              </a:buClr>
              <a:buSzPct val="85000"/>
              <a:buFont typeface="Arial" pitchFamily="34" charset="0"/>
              <a:buNone/>
              <a:defRPr sz="2400" kern="1200">
                <a:solidFill>
                  <a:schemeClr val="tx1"/>
                </a:solidFill>
                <a:latin typeface="+mn-lt"/>
                <a:ea typeface="+mn-ea"/>
                <a:cs typeface="+mn-cs"/>
              </a:defRPr>
            </a:lvl3pPr>
            <a:lvl4pPr marL="1371600" indent="0" algn="ctr" rtl="0" eaLnBrk="0" fontAlgn="base" hangingPunct="0">
              <a:spcBef>
                <a:spcPct val="20000"/>
              </a:spcBef>
              <a:spcAft>
                <a:spcPct val="0"/>
              </a:spcAft>
              <a:buClr>
                <a:srgbClr val="8D89A4"/>
              </a:buClr>
              <a:buSzPct val="90000"/>
              <a:buFont typeface="Wingdings 2" pitchFamily="18" charset="2"/>
              <a:buNone/>
              <a:defRPr sz="2000" kern="1200">
                <a:solidFill>
                  <a:schemeClr val="tx1"/>
                </a:solidFill>
                <a:latin typeface="+mn-lt"/>
                <a:ea typeface="+mn-ea"/>
                <a:cs typeface="+mn-cs"/>
              </a:defRPr>
            </a:lvl4pPr>
            <a:lvl5pPr marL="1828800" indent="0" algn="ctr" rtl="0" eaLnBrk="0" fontAlgn="base" hangingPunct="0">
              <a:spcBef>
                <a:spcPct val="20000"/>
              </a:spcBef>
              <a:spcAft>
                <a:spcPct val="0"/>
              </a:spcAft>
              <a:buClr>
                <a:srgbClr val="748560"/>
              </a:buClr>
              <a:buSzPct val="100000"/>
              <a:buFont typeface="Arial" pitchFamily="34" charset="0"/>
              <a:buNone/>
              <a:defRPr sz="2000" kern="1200">
                <a:solidFill>
                  <a:schemeClr val="tx1"/>
                </a:solidFill>
                <a:latin typeface="+mn-lt"/>
                <a:ea typeface="+mn-ea"/>
                <a:cs typeface="+mn-cs"/>
              </a:defRPr>
            </a:lvl5pPr>
            <a:lvl6pPr marL="2286000" indent="0" algn="ctr" rtl="0" eaLnBrk="1" latinLnBrk="0" hangingPunct="1">
              <a:spcBef>
                <a:spcPct val="20000"/>
              </a:spcBef>
              <a:buClr>
                <a:schemeClr val="accent5"/>
              </a:buClr>
              <a:buFont typeface="Arial"/>
              <a:buNone/>
              <a:defRPr kumimoji="0" sz="2000" kern="1200" baseline="0">
                <a:solidFill>
                  <a:schemeClr val="tx1"/>
                </a:solidFill>
                <a:latin typeface="+mn-lt"/>
                <a:ea typeface="+mn-ea"/>
                <a:cs typeface="+mn-cs"/>
              </a:defRPr>
            </a:lvl6pPr>
            <a:lvl7pPr marL="2743200" indent="0" algn="ctr" rtl="0" eaLnBrk="1" latinLnBrk="0" hangingPunct="1">
              <a:spcBef>
                <a:spcPct val="20000"/>
              </a:spcBef>
              <a:buClr>
                <a:schemeClr val="accent6"/>
              </a:buClr>
              <a:buSzPct val="100000"/>
              <a:buFont typeface="Arial"/>
              <a:buNone/>
              <a:defRPr kumimoji="0" sz="1800" kern="1200" baseline="0">
                <a:solidFill>
                  <a:schemeClr val="tx1"/>
                </a:solidFill>
                <a:latin typeface="+mn-lt"/>
                <a:ea typeface="+mn-ea"/>
                <a:cs typeface="+mn-cs"/>
              </a:defRPr>
            </a:lvl7pPr>
            <a:lvl8pPr marL="3200400" indent="0" algn="ctr" rtl="0" eaLnBrk="1" latinLnBrk="0" hangingPunct="1">
              <a:spcBef>
                <a:spcPct val="20000"/>
              </a:spcBef>
              <a:buClr>
                <a:schemeClr val="accent6"/>
              </a:buClr>
              <a:buFont typeface="Arial"/>
              <a:buNone/>
              <a:defRPr kumimoji="0" sz="1600" kern="1200">
                <a:solidFill>
                  <a:schemeClr val="tx1"/>
                </a:solidFill>
                <a:latin typeface="+mn-lt"/>
                <a:ea typeface="+mn-ea"/>
                <a:cs typeface="+mn-cs"/>
              </a:defRPr>
            </a:lvl8pPr>
            <a:lvl9pPr marL="3657600" indent="0" algn="ctr" rtl="0" eaLnBrk="1" latinLnBrk="0" hangingPunct="1">
              <a:spcBef>
                <a:spcPct val="20000"/>
              </a:spcBef>
              <a:buClr>
                <a:schemeClr val="accent6"/>
              </a:buClr>
              <a:buFont typeface="Arial"/>
              <a:buNone/>
              <a:defRPr kumimoji="0" sz="1600" kern="1200">
                <a:solidFill>
                  <a:schemeClr val="tx1"/>
                </a:solidFill>
                <a:latin typeface="+mn-lt"/>
                <a:ea typeface="+mn-ea"/>
                <a:cs typeface="+mn-cs"/>
              </a:defRPr>
            </a:lvl9pPr>
          </a:lstStyle>
          <a:p>
            <a:pPr eaLnBrk="1" fontAlgn="auto" hangingPunct="1">
              <a:spcAft>
                <a:spcPts val="0"/>
              </a:spcAft>
              <a:buFont typeface="Wingdings 2"/>
              <a:buNone/>
              <a:defRPr/>
            </a:pPr>
            <a:r>
              <a:rPr lang="th-TH" sz="3000" b="1" dirty="0" smtClean="0">
                <a:solidFill>
                  <a:srgbClr val="002060"/>
                </a:solidFill>
                <a:cs typeface="AngsanaUPC" pitchFamily="18" charset="-34"/>
              </a:rPr>
              <a:t>ธนิตสรณ์  จิระพรชัย     </a:t>
            </a:r>
          </a:p>
          <a:p>
            <a:pPr eaLnBrk="1" fontAlgn="auto" hangingPunct="1">
              <a:lnSpc>
                <a:spcPts val="2000"/>
              </a:lnSpc>
              <a:spcAft>
                <a:spcPts val="0"/>
              </a:spcAft>
              <a:buFont typeface="Wingdings 2"/>
              <a:buNone/>
              <a:defRPr/>
            </a:pPr>
            <a:r>
              <a:rPr lang="th-TH" sz="2600" b="1" dirty="0" smtClean="0">
                <a:cs typeface="AngsanaUPC" pitchFamily="18" charset="-34"/>
              </a:rPr>
              <a:t>รองอธิการบดีฝ่ายแผนและสารสนเทศ</a:t>
            </a:r>
          </a:p>
          <a:p>
            <a:pPr eaLnBrk="1" fontAlgn="auto" hangingPunct="1">
              <a:spcAft>
                <a:spcPts val="0"/>
              </a:spcAft>
              <a:buFont typeface="Wingdings 2"/>
              <a:buNone/>
              <a:defRPr/>
            </a:pPr>
            <a:r>
              <a:rPr lang="th-TH" sz="3000" b="1" dirty="0" smtClean="0">
                <a:solidFill>
                  <a:srgbClr val="FF6600"/>
                </a:solidFill>
                <a:latin typeface="Angsana New" pitchFamily="18" charset="-34"/>
                <a:cs typeface="Angsana New" pitchFamily="18" charset="-34"/>
              </a:rPr>
              <a:t>มหาวิทยาลัยเทคโนโลยีพระจอมเกล้าธนบุรี</a:t>
            </a:r>
            <a:r>
              <a:rPr lang="th-TH" sz="2200" b="1" dirty="0" smtClean="0">
                <a:solidFill>
                  <a:srgbClr val="FF6600"/>
                </a:solidFill>
                <a:latin typeface="Angsana New" pitchFamily="18" charset="-34"/>
                <a:cs typeface="Angsana New" pitchFamily="18" charset="-34"/>
              </a:rPr>
              <a:t> </a:t>
            </a:r>
            <a:endParaRPr lang="th-TH" sz="2600" b="1" dirty="0" smtClean="0">
              <a:solidFill>
                <a:srgbClr val="FF6600"/>
              </a:solidFill>
              <a:latin typeface="Angsana New" pitchFamily="18" charset="-34"/>
              <a:cs typeface="Angsana New" pitchFamily="18" charset="-34"/>
            </a:endParaRPr>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9071" y="132503"/>
            <a:ext cx="1326859" cy="2653717"/>
          </a:xfrm>
          <a:prstGeom prst="rect">
            <a:avLst/>
          </a:prstGeom>
        </p:spPr>
      </p:pic>
      <p:sp>
        <p:nvSpPr>
          <p:cNvPr id="17" name="TextBox 16"/>
          <p:cNvSpPr txBox="1"/>
          <p:nvPr/>
        </p:nvSpPr>
        <p:spPr>
          <a:xfrm>
            <a:off x="233335" y="5725613"/>
            <a:ext cx="3795739" cy="523220"/>
          </a:xfrm>
          <a:prstGeom prst="rect">
            <a:avLst/>
          </a:prstGeom>
          <a:noFill/>
        </p:spPr>
        <p:txBody>
          <a:bodyPr wrap="square" rtlCol="0">
            <a:spAutoFit/>
          </a:bodyPr>
          <a:lstStyle/>
          <a:p>
            <a:pPr lvl="0"/>
            <a:r>
              <a:rPr lang="en-US" dirty="0" smtClean="0">
                <a:solidFill>
                  <a:srgbClr val="002060"/>
                </a:solidFill>
                <a:latin typeface="AngsanaUPC" panose="02020603050405020304" pitchFamily="18" charset="-34"/>
                <a:cs typeface="AngsanaUPC" panose="02020603050405020304" pitchFamily="18" charset="-34"/>
              </a:rPr>
              <a:t>5 </a:t>
            </a:r>
            <a:r>
              <a:rPr lang="th-TH" dirty="0" smtClean="0">
                <a:solidFill>
                  <a:srgbClr val="002060"/>
                </a:solidFill>
                <a:latin typeface="AngsanaUPC" panose="02020603050405020304" pitchFamily="18" charset="-34"/>
                <a:cs typeface="AngsanaUPC" panose="02020603050405020304" pitchFamily="18" charset="-34"/>
              </a:rPr>
              <a:t>มีนาคม </a:t>
            </a:r>
            <a:r>
              <a:rPr lang="th-TH" dirty="0">
                <a:solidFill>
                  <a:srgbClr val="002060"/>
                </a:solidFill>
                <a:latin typeface="AngsanaUPC" panose="02020603050405020304" pitchFamily="18" charset="-34"/>
                <a:cs typeface="AngsanaUPC" panose="02020603050405020304" pitchFamily="18" charset="-34"/>
              </a:rPr>
              <a:t>25</a:t>
            </a:r>
            <a:r>
              <a:rPr lang="en-US" dirty="0" smtClean="0">
                <a:solidFill>
                  <a:srgbClr val="002060"/>
                </a:solidFill>
                <a:latin typeface="AngsanaUPC" panose="02020603050405020304" pitchFamily="18" charset="-34"/>
                <a:cs typeface="AngsanaUPC" panose="02020603050405020304" pitchFamily="18" charset="-34"/>
              </a:rPr>
              <a:t>62 : 8.30-12.00 </a:t>
            </a:r>
            <a:r>
              <a:rPr lang="th-TH" dirty="0" smtClean="0">
                <a:solidFill>
                  <a:srgbClr val="002060"/>
                </a:solidFill>
                <a:latin typeface="AngsanaUPC" panose="02020603050405020304" pitchFamily="18" charset="-34"/>
                <a:cs typeface="AngsanaUPC" panose="02020603050405020304" pitchFamily="18" charset="-34"/>
              </a:rPr>
              <a:t>น.</a:t>
            </a:r>
            <a:endParaRPr lang="th-TH" dirty="0">
              <a:solidFill>
                <a:srgbClr val="002060"/>
              </a:solidFill>
              <a:latin typeface="AngsanaUPC" panose="02020603050405020304" pitchFamily="18" charset="-34"/>
              <a:cs typeface="AngsanaUPC" panose="02020603050405020304" pitchFamily="18" charset="-34"/>
            </a:endParaRPr>
          </a:p>
        </p:txBody>
      </p:sp>
      <p:sp>
        <p:nvSpPr>
          <p:cNvPr id="18" name="TextBox 17"/>
          <p:cNvSpPr txBox="1"/>
          <p:nvPr/>
        </p:nvSpPr>
        <p:spPr>
          <a:xfrm>
            <a:off x="272581" y="6239403"/>
            <a:ext cx="3977243" cy="523220"/>
          </a:xfrm>
          <a:prstGeom prst="rect">
            <a:avLst/>
          </a:prstGeom>
          <a:noFill/>
        </p:spPr>
        <p:txBody>
          <a:bodyPr wrap="square" rtlCol="0">
            <a:spAutoFit/>
          </a:bodyPr>
          <a:lstStyle/>
          <a:p>
            <a:r>
              <a:rPr lang="th-TH" dirty="0">
                <a:solidFill>
                  <a:srgbClr val="002060"/>
                </a:solidFill>
                <a:latin typeface="Angsana New" panose="02020603050405020304" pitchFamily="18" charset="-34"/>
              </a:rPr>
              <a:t>ณ </a:t>
            </a:r>
            <a:r>
              <a:rPr lang="th-TH" dirty="0" smtClean="0">
                <a:solidFill>
                  <a:srgbClr val="002060"/>
                </a:solidFill>
                <a:latin typeface="Angsana New" panose="02020603050405020304" pitchFamily="18" charset="-34"/>
              </a:rPr>
              <a:t>โรงแรม เดอะ รอยัล ริเวอร์ กทม.</a:t>
            </a:r>
            <a:endParaRPr lang="th-TH" dirty="0">
              <a:solidFill>
                <a:srgbClr val="002060"/>
              </a:solidFill>
              <a:latin typeface="Angsana New" panose="02020603050405020304" pitchFamily="18" charset="-34"/>
            </a:endParaRPr>
          </a:p>
        </p:txBody>
      </p:sp>
      <p:pic>
        <p:nvPicPr>
          <p:cNvPr id="3" name="Picture 2"/>
          <p:cNvPicPr>
            <a:picLocks noChangeAspect="1"/>
          </p:cNvPicPr>
          <p:nvPr/>
        </p:nvPicPr>
        <p:blipFill rotWithShape="1">
          <a:blip r:embed="rId5"/>
          <a:srcRect r="2890"/>
          <a:stretch/>
        </p:blipFill>
        <p:spPr>
          <a:xfrm>
            <a:off x="5453763" y="2743548"/>
            <a:ext cx="3348809" cy="2337083"/>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0943" y="2954651"/>
            <a:ext cx="5856941" cy="2395081"/>
          </a:xfrm>
          <a:prstGeom prst="rect">
            <a:avLst/>
          </a:prstGeom>
        </p:spPr>
      </p:pic>
    </p:spTree>
    <p:extLst>
      <p:ext uri="{BB962C8B-B14F-4D97-AF65-F5344CB8AC3E}">
        <p14:creationId xmlns:p14="http://schemas.microsoft.com/office/powerpoint/2010/main" val="908840055"/>
      </p:ext>
    </p:extLst>
  </p:cSld>
  <p:clrMapOvr>
    <a:overrideClrMapping bg1="lt1" tx1="dk1" bg2="lt2" tx2="dk2" accent1="accent1" accent2="accent2" accent3="accent3" accent4="accent4" accent5="accent5" accent6="accent6" hlink="hlink" folHlink="folHlink"/>
  </p:clrMapOvr>
  <p:transition>
    <p:fade thruBlk="1"/>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0" descr="HJ 9 Era Map"/>
          <p:cNvPicPr>
            <a:picLocks noChangeAspect="1" noChangeArrowheads="1"/>
          </p:cNvPicPr>
          <p:nvPr/>
        </p:nvPicPr>
        <p:blipFill rotWithShape="1">
          <a:blip r:embed="rId2" cstate="print">
            <a:clrChange>
              <a:clrFrom>
                <a:srgbClr val="FFFFFF"/>
              </a:clrFrom>
              <a:clrTo>
                <a:srgbClr val="FFFFFF">
                  <a:alpha val="0"/>
                </a:srgbClr>
              </a:clrTo>
            </a:clrChange>
            <a:duotone>
              <a:prstClr val="black"/>
              <a:schemeClr val="accent5">
                <a:tint val="45000"/>
                <a:satMod val="400000"/>
              </a:schemeClr>
            </a:duotone>
          </a:blip>
          <a:srcRect b="13029"/>
          <a:stretch/>
        </p:blipFill>
        <p:spPr bwMode="auto">
          <a:xfrm>
            <a:off x="0" y="-159220"/>
            <a:ext cx="9120188" cy="4730155"/>
          </a:xfrm>
          <a:prstGeom prst="flowChartAlternateProcess">
            <a:avLst/>
          </a:prstGeom>
          <a:solidFill>
            <a:srgbClr val="FFFF99">
              <a:alpha val="50000"/>
            </a:srgbClr>
          </a:solidFill>
          <a:ln w="9525">
            <a:noFill/>
            <a:miter lim="800000"/>
            <a:headEnd/>
            <a:tailEnd/>
          </a:ln>
          <a:effectLst>
            <a:softEdge rad="317500"/>
          </a:effectLst>
        </p:spPr>
      </p:pic>
      <p:grpSp>
        <p:nvGrpSpPr>
          <p:cNvPr id="33" name="Group 32"/>
          <p:cNvGrpSpPr/>
          <p:nvPr/>
        </p:nvGrpSpPr>
        <p:grpSpPr>
          <a:xfrm rot="1295413">
            <a:off x="2713391" y="3170592"/>
            <a:ext cx="3382018" cy="3382018"/>
            <a:chOff x="2634868" y="1124744"/>
            <a:chExt cx="3382018" cy="3382018"/>
          </a:xfrm>
        </p:grpSpPr>
        <p:sp>
          <p:nvSpPr>
            <p:cNvPr id="9" name="Oval 8"/>
            <p:cNvSpPr/>
            <p:nvPr/>
          </p:nvSpPr>
          <p:spPr>
            <a:xfrm>
              <a:off x="3628235" y="2118111"/>
              <a:ext cx="1395283" cy="1395283"/>
            </a:xfrm>
            <a:prstGeom prst="ellipse">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0" name="Oval 9"/>
            <p:cNvSpPr/>
            <p:nvPr/>
          </p:nvSpPr>
          <p:spPr>
            <a:xfrm>
              <a:off x="3131370" y="1621246"/>
              <a:ext cx="2389013" cy="2389013"/>
            </a:xfrm>
            <a:prstGeom prst="ellipse">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cxnSp>
          <p:nvCxnSpPr>
            <p:cNvPr id="13" name="Straight Connector 12"/>
            <p:cNvCxnSpPr>
              <a:stCxn id="11" idx="0"/>
              <a:endCxn id="8" idx="0"/>
            </p:cNvCxnSpPr>
            <p:nvPr/>
          </p:nvCxnSpPr>
          <p:spPr>
            <a:xfrm>
              <a:off x="4325877" y="1124744"/>
              <a:ext cx="0" cy="1491683"/>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a:stCxn id="8" idx="6"/>
              <a:endCxn id="11" idx="6"/>
            </p:cNvCxnSpPr>
            <p:nvPr/>
          </p:nvCxnSpPr>
          <p:spPr>
            <a:xfrm>
              <a:off x="4525203" y="2815753"/>
              <a:ext cx="149168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p:cNvCxnSpPr>
              <a:stCxn id="8" idx="5"/>
              <a:endCxn id="11" idx="5"/>
            </p:cNvCxnSpPr>
            <p:nvPr/>
          </p:nvCxnSpPr>
          <p:spPr>
            <a:xfrm>
              <a:off x="4466822" y="2956698"/>
              <a:ext cx="1054779" cy="1054779"/>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11" idx="7"/>
              <a:endCxn id="8" idx="7"/>
            </p:cNvCxnSpPr>
            <p:nvPr/>
          </p:nvCxnSpPr>
          <p:spPr>
            <a:xfrm flipH="1">
              <a:off x="4466822" y="1620029"/>
              <a:ext cx="1054779" cy="1054779"/>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8" idx="1"/>
              <a:endCxn id="11" idx="1"/>
            </p:cNvCxnSpPr>
            <p:nvPr/>
          </p:nvCxnSpPr>
          <p:spPr>
            <a:xfrm flipH="1" flipV="1">
              <a:off x="3130153" y="1620029"/>
              <a:ext cx="1054779" cy="1054779"/>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p:cNvCxnSpPr>
              <a:stCxn id="8" idx="2"/>
              <a:endCxn id="11" idx="2"/>
            </p:cNvCxnSpPr>
            <p:nvPr/>
          </p:nvCxnSpPr>
          <p:spPr>
            <a:xfrm flipH="1">
              <a:off x="2634868" y="2815753"/>
              <a:ext cx="149168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8" idx="3"/>
              <a:endCxn id="11" idx="3"/>
            </p:cNvCxnSpPr>
            <p:nvPr/>
          </p:nvCxnSpPr>
          <p:spPr>
            <a:xfrm flipH="1">
              <a:off x="3130153" y="2956698"/>
              <a:ext cx="1054779" cy="1054779"/>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8" idx="4"/>
              <a:endCxn id="11" idx="4"/>
            </p:cNvCxnSpPr>
            <p:nvPr/>
          </p:nvCxnSpPr>
          <p:spPr>
            <a:xfrm>
              <a:off x="4325877" y="3015079"/>
              <a:ext cx="0" cy="1491683"/>
            </a:xfrm>
            <a:prstGeom prst="line">
              <a:avLst/>
            </a:prstGeom>
          </p:spPr>
          <p:style>
            <a:lnRef idx="1">
              <a:schemeClr val="accent1"/>
            </a:lnRef>
            <a:fillRef idx="0">
              <a:schemeClr val="accent1"/>
            </a:fillRef>
            <a:effectRef idx="0">
              <a:schemeClr val="accent1"/>
            </a:effectRef>
            <a:fontRef idx="minor">
              <a:schemeClr val="tx1"/>
            </a:fontRef>
          </p:style>
        </p:cxnSp>
        <p:sp>
          <p:nvSpPr>
            <p:cNvPr id="8" name="Oval 7"/>
            <p:cNvSpPr/>
            <p:nvPr/>
          </p:nvSpPr>
          <p:spPr>
            <a:xfrm>
              <a:off x="4126551" y="2616427"/>
              <a:ext cx="398652" cy="398652"/>
            </a:xfrm>
            <a:prstGeom prst="ellipse">
              <a:avLst/>
            </a:prstGeom>
            <a:no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1" name="Oval 10"/>
            <p:cNvSpPr/>
            <p:nvPr/>
          </p:nvSpPr>
          <p:spPr>
            <a:xfrm>
              <a:off x="2634868" y="1124744"/>
              <a:ext cx="3382018" cy="3382018"/>
            </a:xfrm>
            <a:prstGeom prst="ellipse">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grpSp>
      <p:sp>
        <p:nvSpPr>
          <p:cNvPr id="47" name="Oval 46"/>
          <p:cNvSpPr/>
          <p:nvPr/>
        </p:nvSpPr>
        <p:spPr>
          <a:xfrm>
            <a:off x="5308066" y="4576203"/>
            <a:ext cx="576064" cy="576064"/>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fontAlgn="auto">
              <a:spcBef>
                <a:spcPts val="0"/>
              </a:spcBef>
              <a:spcAft>
                <a:spcPts val="0"/>
              </a:spcAft>
            </a:pPr>
            <a:r>
              <a:rPr lang="en-US" dirty="0" smtClean="0">
                <a:solidFill>
                  <a:prstClr val="white"/>
                </a:solidFill>
              </a:rPr>
              <a:t>1</a:t>
            </a:r>
            <a:endParaRPr lang="en-US" dirty="0">
              <a:solidFill>
                <a:prstClr val="white"/>
              </a:solidFill>
            </a:endParaRPr>
          </a:p>
        </p:txBody>
      </p:sp>
      <p:sp>
        <p:nvSpPr>
          <p:cNvPr id="48" name="Oval 47"/>
          <p:cNvSpPr/>
          <p:nvPr/>
        </p:nvSpPr>
        <p:spPr>
          <a:xfrm>
            <a:off x="3237514" y="3747103"/>
            <a:ext cx="576064" cy="576064"/>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fontAlgn="auto">
              <a:spcBef>
                <a:spcPts val="0"/>
              </a:spcBef>
              <a:spcAft>
                <a:spcPts val="0"/>
              </a:spcAft>
            </a:pPr>
            <a:r>
              <a:rPr lang="en-US" dirty="0">
                <a:solidFill>
                  <a:prstClr val="white"/>
                </a:solidFill>
              </a:rPr>
              <a:t>2</a:t>
            </a:r>
          </a:p>
        </p:txBody>
      </p:sp>
      <p:sp>
        <p:nvSpPr>
          <p:cNvPr id="49" name="Oval 48"/>
          <p:cNvSpPr/>
          <p:nvPr/>
        </p:nvSpPr>
        <p:spPr>
          <a:xfrm>
            <a:off x="4117185" y="5728968"/>
            <a:ext cx="576064" cy="576064"/>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fontAlgn="auto">
              <a:spcBef>
                <a:spcPts val="0"/>
              </a:spcBef>
              <a:spcAft>
                <a:spcPts val="0"/>
              </a:spcAft>
            </a:pPr>
            <a:r>
              <a:rPr lang="en-US" dirty="0" smtClean="0">
                <a:solidFill>
                  <a:prstClr val="white"/>
                </a:solidFill>
              </a:rPr>
              <a:t>3</a:t>
            </a:r>
            <a:endParaRPr lang="en-US" dirty="0">
              <a:solidFill>
                <a:prstClr val="white"/>
              </a:solidFill>
            </a:endParaRPr>
          </a:p>
        </p:txBody>
      </p:sp>
      <p:sp>
        <p:nvSpPr>
          <p:cNvPr id="50" name="Oval 49"/>
          <p:cNvSpPr/>
          <p:nvPr/>
        </p:nvSpPr>
        <p:spPr>
          <a:xfrm>
            <a:off x="3281023" y="5441178"/>
            <a:ext cx="576064" cy="576064"/>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fontAlgn="auto">
              <a:spcBef>
                <a:spcPts val="0"/>
              </a:spcBef>
              <a:spcAft>
                <a:spcPts val="0"/>
              </a:spcAft>
            </a:pPr>
            <a:r>
              <a:rPr lang="en-US" dirty="0" smtClean="0">
                <a:solidFill>
                  <a:prstClr val="white"/>
                </a:solidFill>
              </a:rPr>
              <a:t>4</a:t>
            </a:r>
            <a:endParaRPr lang="en-US" dirty="0">
              <a:solidFill>
                <a:prstClr val="white"/>
              </a:solidFill>
            </a:endParaRPr>
          </a:p>
        </p:txBody>
      </p:sp>
      <p:sp>
        <p:nvSpPr>
          <p:cNvPr id="52" name="Oval 51"/>
          <p:cNvSpPr/>
          <p:nvPr/>
        </p:nvSpPr>
        <p:spPr>
          <a:xfrm>
            <a:off x="4982215" y="3747072"/>
            <a:ext cx="576064" cy="576064"/>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fontAlgn="auto">
              <a:spcBef>
                <a:spcPts val="0"/>
              </a:spcBef>
              <a:spcAft>
                <a:spcPts val="0"/>
              </a:spcAft>
            </a:pPr>
            <a:r>
              <a:rPr lang="en-US" dirty="0" smtClean="0">
                <a:solidFill>
                  <a:prstClr val="white"/>
                </a:solidFill>
              </a:rPr>
              <a:t>6</a:t>
            </a:r>
            <a:endParaRPr lang="en-US" dirty="0">
              <a:solidFill>
                <a:prstClr val="white"/>
              </a:solidFill>
            </a:endParaRPr>
          </a:p>
        </p:txBody>
      </p:sp>
      <p:sp>
        <p:nvSpPr>
          <p:cNvPr id="53" name="Oval 52"/>
          <p:cNvSpPr/>
          <p:nvPr/>
        </p:nvSpPr>
        <p:spPr>
          <a:xfrm>
            <a:off x="4117185" y="3459071"/>
            <a:ext cx="576064" cy="576064"/>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fontAlgn="auto">
              <a:spcBef>
                <a:spcPts val="0"/>
              </a:spcBef>
              <a:spcAft>
                <a:spcPts val="0"/>
              </a:spcAft>
            </a:pPr>
            <a:r>
              <a:rPr lang="en-US" dirty="0" smtClean="0">
                <a:solidFill>
                  <a:prstClr val="white"/>
                </a:solidFill>
              </a:rPr>
              <a:t>7</a:t>
            </a:r>
            <a:endParaRPr lang="en-US" dirty="0">
              <a:solidFill>
                <a:prstClr val="white"/>
              </a:solidFill>
            </a:endParaRPr>
          </a:p>
        </p:txBody>
      </p:sp>
      <p:sp>
        <p:nvSpPr>
          <p:cNvPr id="54" name="Oval 53"/>
          <p:cNvSpPr/>
          <p:nvPr/>
        </p:nvSpPr>
        <p:spPr>
          <a:xfrm>
            <a:off x="4995221" y="5439324"/>
            <a:ext cx="576064" cy="576064"/>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fontAlgn="auto">
              <a:spcBef>
                <a:spcPts val="0"/>
              </a:spcBef>
              <a:spcAft>
                <a:spcPts val="0"/>
              </a:spcAft>
            </a:pPr>
            <a:r>
              <a:rPr lang="en-US" dirty="0" smtClean="0">
                <a:solidFill>
                  <a:prstClr val="white"/>
                </a:solidFill>
              </a:rPr>
              <a:t>8</a:t>
            </a:r>
            <a:endParaRPr lang="en-US" dirty="0">
              <a:solidFill>
                <a:prstClr val="white"/>
              </a:solidFill>
            </a:endParaRPr>
          </a:p>
        </p:txBody>
      </p:sp>
      <p:sp>
        <p:nvSpPr>
          <p:cNvPr id="56" name="TextBox 55"/>
          <p:cNvSpPr txBox="1"/>
          <p:nvPr/>
        </p:nvSpPr>
        <p:spPr>
          <a:xfrm>
            <a:off x="2325203" y="5363056"/>
            <a:ext cx="627095" cy="461665"/>
          </a:xfrm>
          <a:prstGeom prst="rect">
            <a:avLst/>
          </a:prstGeom>
          <a:noFill/>
        </p:spPr>
        <p:txBody>
          <a:bodyPr wrap="none" rtlCol="0">
            <a:spAutoFit/>
          </a:bodyPr>
          <a:lstStyle/>
          <a:p>
            <a:pPr fontAlgn="auto">
              <a:spcBef>
                <a:spcPts val="0"/>
              </a:spcBef>
              <a:spcAft>
                <a:spcPts val="0"/>
              </a:spcAft>
            </a:pPr>
            <a:r>
              <a:rPr lang="en-US" sz="2400" dirty="0" smtClean="0">
                <a:solidFill>
                  <a:prstClr val="black"/>
                </a:solidFill>
                <a:latin typeface="Cordia New" pitchFamily="34" charset="-34"/>
                <a:cs typeface="Cordia New" pitchFamily="34" charset="-34"/>
              </a:rPr>
              <a:t>15</a:t>
            </a:r>
            <a:r>
              <a:rPr lang="th-TH" sz="2400" baseline="30000" dirty="0">
                <a:solidFill>
                  <a:prstClr val="black"/>
                </a:solidFill>
                <a:latin typeface="Calibri"/>
                <a:cs typeface="Cordia New" panose="020B0304020202020204" pitchFamily="34" charset="-34"/>
              </a:rPr>
              <a:t>๐</a:t>
            </a:r>
            <a:r>
              <a:rPr lang="en-US" sz="2400" dirty="0">
                <a:solidFill>
                  <a:prstClr val="black"/>
                </a:solidFill>
                <a:latin typeface="Cordia New" pitchFamily="34" charset="-34"/>
                <a:cs typeface="Cordia New" pitchFamily="34" charset="-34"/>
              </a:rPr>
              <a:t>E</a:t>
            </a:r>
            <a:endParaRPr lang="en-US" sz="2400" baseline="30000" dirty="0">
              <a:solidFill>
                <a:prstClr val="black"/>
              </a:solidFill>
              <a:latin typeface="Calibri"/>
              <a:cs typeface="Arial" pitchFamily="34" charset="0"/>
            </a:endParaRPr>
          </a:p>
        </p:txBody>
      </p:sp>
      <p:sp>
        <p:nvSpPr>
          <p:cNvPr id="57" name="TextBox 56"/>
          <p:cNvSpPr txBox="1"/>
          <p:nvPr/>
        </p:nvSpPr>
        <p:spPr>
          <a:xfrm>
            <a:off x="3272416" y="6325461"/>
            <a:ext cx="627095" cy="461665"/>
          </a:xfrm>
          <a:prstGeom prst="rect">
            <a:avLst/>
          </a:prstGeom>
          <a:noFill/>
        </p:spPr>
        <p:txBody>
          <a:bodyPr wrap="none" rtlCol="0">
            <a:spAutoFit/>
          </a:bodyPr>
          <a:lstStyle/>
          <a:p>
            <a:pPr fontAlgn="auto">
              <a:spcBef>
                <a:spcPts val="0"/>
              </a:spcBef>
              <a:spcAft>
                <a:spcPts val="0"/>
              </a:spcAft>
            </a:pPr>
            <a:r>
              <a:rPr lang="th-TH" sz="2400" dirty="0" smtClean="0">
                <a:solidFill>
                  <a:prstClr val="black"/>
                </a:solidFill>
                <a:latin typeface="Calibri"/>
                <a:cs typeface="Cordia New" panose="020B0304020202020204" pitchFamily="34" charset="-34"/>
              </a:rPr>
              <a:t>60</a:t>
            </a:r>
            <a:r>
              <a:rPr lang="th-TH" sz="2400" baseline="30000" dirty="0" smtClean="0">
                <a:solidFill>
                  <a:prstClr val="black"/>
                </a:solidFill>
                <a:latin typeface="Calibri"/>
                <a:cs typeface="Cordia New" panose="020B0304020202020204" pitchFamily="34" charset="-34"/>
              </a:rPr>
              <a:t>๐</a:t>
            </a:r>
            <a:r>
              <a:rPr lang="en-US" sz="2400" dirty="0" smtClean="0">
                <a:solidFill>
                  <a:prstClr val="black"/>
                </a:solidFill>
                <a:latin typeface="Cordia New" pitchFamily="34" charset="-34"/>
                <a:cs typeface="Cordia New" pitchFamily="34" charset="-34"/>
              </a:rPr>
              <a:t>E</a:t>
            </a:r>
            <a:endParaRPr lang="en-US" sz="2400" baseline="30000" dirty="0">
              <a:solidFill>
                <a:prstClr val="black"/>
              </a:solidFill>
              <a:latin typeface="Calibri"/>
              <a:cs typeface="Arial" pitchFamily="34" charset="0"/>
            </a:endParaRPr>
          </a:p>
        </p:txBody>
      </p:sp>
      <p:sp>
        <p:nvSpPr>
          <p:cNvPr id="58" name="TextBox 57"/>
          <p:cNvSpPr txBox="1"/>
          <p:nvPr/>
        </p:nvSpPr>
        <p:spPr>
          <a:xfrm>
            <a:off x="4889407" y="6297820"/>
            <a:ext cx="739305" cy="461665"/>
          </a:xfrm>
          <a:prstGeom prst="rect">
            <a:avLst/>
          </a:prstGeom>
          <a:noFill/>
        </p:spPr>
        <p:txBody>
          <a:bodyPr wrap="none" rtlCol="0">
            <a:spAutoFit/>
          </a:bodyPr>
          <a:lstStyle/>
          <a:p>
            <a:pPr fontAlgn="auto">
              <a:spcBef>
                <a:spcPts val="0"/>
              </a:spcBef>
              <a:spcAft>
                <a:spcPts val="0"/>
              </a:spcAft>
            </a:pPr>
            <a:r>
              <a:rPr lang="en-US" sz="2400" dirty="0" smtClean="0">
                <a:solidFill>
                  <a:prstClr val="black"/>
                </a:solidFill>
                <a:latin typeface="Cordia New" pitchFamily="34" charset="-34"/>
                <a:cs typeface="Cordia New" pitchFamily="34" charset="-34"/>
              </a:rPr>
              <a:t>105</a:t>
            </a:r>
            <a:r>
              <a:rPr lang="th-TH" sz="2400" baseline="30000" dirty="0" smtClean="0">
                <a:solidFill>
                  <a:prstClr val="black"/>
                </a:solidFill>
                <a:latin typeface="Calibri"/>
                <a:cs typeface="Cordia New" panose="020B0304020202020204" pitchFamily="34" charset="-34"/>
              </a:rPr>
              <a:t>๐</a:t>
            </a:r>
            <a:r>
              <a:rPr lang="en-US" sz="2400" dirty="0" smtClean="0">
                <a:solidFill>
                  <a:prstClr val="black"/>
                </a:solidFill>
                <a:latin typeface="Cordia New" pitchFamily="34" charset="-34"/>
                <a:cs typeface="Cordia New" pitchFamily="34" charset="-34"/>
              </a:rPr>
              <a:t>E</a:t>
            </a:r>
            <a:endParaRPr lang="en-US" sz="2400" baseline="30000" dirty="0">
              <a:solidFill>
                <a:prstClr val="black"/>
              </a:solidFill>
              <a:latin typeface="Calibri"/>
              <a:cs typeface="Arial" pitchFamily="34" charset="0"/>
            </a:endParaRPr>
          </a:p>
        </p:txBody>
      </p:sp>
      <p:sp>
        <p:nvSpPr>
          <p:cNvPr id="59" name="TextBox 58"/>
          <p:cNvSpPr txBox="1"/>
          <p:nvPr/>
        </p:nvSpPr>
        <p:spPr>
          <a:xfrm>
            <a:off x="5881631" y="5353256"/>
            <a:ext cx="739305" cy="461665"/>
          </a:xfrm>
          <a:prstGeom prst="rect">
            <a:avLst/>
          </a:prstGeom>
          <a:noFill/>
        </p:spPr>
        <p:txBody>
          <a:bodyPr wrap="none" rtlCol="0">
            <a:spAutoFit/>
          </a:bodyPr>
          <a:lstStyle/>
          <a:p>
            <a:pPr fontAlgn="auto">
              <a:spcBef>
                <a:spcPts val="0"/>
              </a:spcBef>
              <a:spcAft>
                <a:spcPts val="0"/>
              </a:spcAft>
            </a:pPr>
            <a:r>
              <a:rPr lang="en-US" sz="2400" dirty="0" smtClean="0">
                <a:solidFill>
                  <a:prstClr val="black"/>
                </a:solidFill>
                <a:latin typeface="Cordia New" pitchFamily="34" charset="-34"/>
                <a:cs typeface="Cordia New" pitchFamily="34" charset="-34"/>
              </a:rPr>
              <a:t>150</a:t>
            </a:r>
            <a:r>
              <a:rPr lang="th-TH" sz="2400" baseline="30000" dirty="0" smtClean="0">
                <a:solidFill>
                  <a:prstClr val="black"/>
                </a:solidFill>
                <a:latin typeface="Calibri"/>
                <a:cs typeface="Cordia New" panose="020B0304020202020204" pitchFamily="34" charset="-34"/>
              </a:rPr>
              <a:t>๐</a:t>
            </a:r>
            <a:r>
              <a:rPr lang="en-US" sz="2400" dirty="0" smtClean="0">
                <a:solidFill>
                  <a:prstClr val="black"/>
                </a:solidFill>
                <a:latin typeface="Cordia New" pitchFamily="34" charset="-34"/>
                <a:cs typeface="Cordia New" pitchFamily="34" charset="-34"/>
              </a:rPr>
              <a:t>E</a:t>
            </a:r>
            <a:endParaRPr lang="en-US" sz="2400" baseline="30000" dirty="0">
              <a:solidFill>
                <a:prstClr val="black"/>
              </a:solidFill>
              <a:latin typeface="Calibri"/>
              <a:cs typeface="Arial" pitchFamily="34" charset="0"/>
            </a:endParaRPr>
          </a:p>
        </p:txBody>
      </p:sp>
      <p:sp>
        <p:nvSpPr>
          <p:cNvPr id="60" name="TextBox 59"/>
          <p:cNvSpPr txBox="1"/>
          <p:nvPr/>
        </p:nvSpPr>
        <p:spPr>
          <a:xfrm>
            <a:off x="2258017" y="4015028"/>
            <a:ext cx="683200" cy="461665"/>
          </a:xfrm>
          <a:prstGeom prst="rect">
            <a:avLst/>
          </a:prstGeom>
          <a:noFill/>
        </p:spPr>
        <p:txBody>
          <a:bodyPr wrap="none" rtlCol="0">
            <a:spAutoFit/>
          </a:bodyPr>
          <a:lstStyle/>
          <a:p>
            <a:pPr fontAlgn="auto">
              <a:spcBef>
                <a:spcPts val="0"/>
              </a:spcBef>
              <a:spcAft>
                <a:spcPts val="0"/>
              </a:spcAft>
            </a:pPr>
            <a:r>
              <a:rPr lang="en-US" sz="2400" dirty="0" smtClean="0">
                <a:solidFill>
                  <a:prstClr val="black"/>
                </a:solidFill>
                <a:latin typeface="Cordia New" pitchFamily="34" charset="-34"/>
                <a:cs typeface="Cordia New" pitchFamily="34" charset="-34"/>
              </a:rPr>
              <a:t>30</a:t>
            </a:r>
            <a:r>
              <a:rPr lang="th-TH" sz="2400" baseline="30000" dirty="0" smtClean="0">
                <a:solidFill>
                  <a:prstClr val="black"/>
                </a:solidFill>
                <a:latin typeface="Calibri"/>
                <a:cs typeface="Cordia New" panose="020B0304020202020204" pitchFamily="34" charset="-34"/>
              </a:rPr>
              <a:t>๐</a:t>
            </a:r>
            <a:r>
              <a:rPr lang="en-US" sz="2400" dirty="0" smtClean="0">
                <a:solidFill>
                  <a:prstClr val="black"/>
                </a:solidFill>
                <a:latin typeface="Cordia New" pitchFamily="34" charset="-34"/>
                <a:cs typeface="Cordia New" pitchFamily="34" charset="-34"/>
              </a:rPr>
              <a:t>W</a:t>
            </a:r>
            <a:endParaRPr lang="en-US" sz="2400" baseline="30000" dirty="0">
              <a:solidFill>
                <a:prstClr val="black"/>
              </a:solidFill>
              <a:latin typeface="Calibri"/>
              <a:cs typeface="Arial" pitchFamily="34" charset="0"/>
            </a:endParaRPr>
          </a:p>
        </p:txBody>
      </p:sp>
      <p:sp>
        <p:nvSpPr>
          <p:cNvPr id="61" name="TextBox 60"/>
          <p:cNvSpPr txBox="1"/>
          <p:nvPr/>
        </p:nvSpPr>
        <p:spPr>
          <a:xfrm>
            <a:off x="3206512" y="2991898"/>
            <a:ext cx="683200" cy="461665"/>
          </a:xfrm>
          <a:prstGeom prst="rect">
            <a:avLst/>
          </a:prstGeom>
          <a:noFill/>
        </p:spPr>
        <p:txBody>
          <a:bodyPr wrap="none" rtlCol="0">
            <a:spAutoFit/>
          </a:bodyPr>
          <a:lstStyle/>
          <a:p>
            <a:pPr fontAlgn="auto">
              <a:spcBef>
                <a:spcPts val="0"/>
              </a:spcBef>
              <a:spcAft>
                <a:spcPts val="0"/>
              </a:spcAft>
            </a:pPr>
            <a:r>
              <a:rPr lang="en-US" sz="2400" dirty="0" smtClean="0">
                <a:solidFill>
                  <a:prstClr val="black"/>
                </a:solidFill>
                <a:latin typeface="Cordia New" pitchFamily="34" charset="-34"/>
                <a:cs typeface="Cordia New" pitchFamily="34" charset="-34"/>
              </a:rPr>
              <a:t>75</a:t>
            </a:r>
            <a:r>
              <a:rPr lang="th-TH" sz="2400" baseline="30000" dirty="0" smtClean="0">
                <a:solidFill>
                  <a:prstClr val="black"/>
                </a:solidFill>
                <a:latin typeface="Calibri"/>
                <a:cs typeface="Cordia New" panose="020B0304020202020204" pitchFamily="34" charset="-34"/>
              </a:rPr>
              <a:t>๐</a:t>
            </a:r>
            <a:r>
              <a:rPr lang="en-US" sz="2400" dirty="0" smtClean="0">
                <a:solidFill>
                  <a:prstClr val="black"/>
                </a:solidFill>
                <a:latin typeface="Cordia New" pitchFamily="34" charset="-34"/>
                <a:cs typeface="Cordia New" pitchFamily="34" charset="-34"/>
              </a:rPr>
              <a:t>W</a:t>
            </a:r>
            <a:endParaRPr lang="en-US" sz="2400" baseline="30000" dirty="0">
              <a:solidFill>
                <a:prstClr val="black"/>
              </a:solidFill>
              <a:latin typeface="Calibri"/>
              <a:cs typeface="Arial" pitchFamily="34" charset="0"/>
            </a:endParaRPr>
          </a:p>
        </p:txBody>
      </p:sp>
      <p:sp>
        <p:nvSpPr>
          <p:cNvPr id="62" name="TextBox 61"/>
          <p:cNvSpPr txBox="1"/>
          <p:nvPr/>
        </p:nvSpPr>
        <p:spPr>
          <a:xfrm>
            <a:off x="4610262" y="2921043"/>
            <a:ext cx="795411" cy="461665"/>
          </a:xfrm>
          <a:prstGeom prst="rect">
            <a:avLst/>
          </a:prstGeom>
          <a:noFill/>
        </p:spPr>
        <p:txBody>
          <a:bodyPr wrap="none" rtlCol="0">
            <a:spAutoFit/>
          </a:bodyPr>
          <a:lstStyle/>
          <a:p>
            <a:pPr fontAlgn="auto">
              <a:spcBef>
                <a:spcPts val="0"/>
              </a:spcBef>
              <a:spcAft>
                <a:spcPts val="0"/>
              </a:spcAft>
            </a:pPr>
            <a:r>
              <a:rPr lang="en-US" sz="2400" dirty="0" smtClean="0">
                <a:solidFill>
                  <a:prstClr val="black"/>
                </a:solidFill>
                <a:latin typeface="Cordia New" pitchFamily="34" charset="-34"/>
                <a:cs typeface="Cordia New" pitchFamily="34" charset="-34"/>
              </a:rPr>
              <a:t>120</a:t>
            </a:r>
            <a:r>
              <a:rPr lang="th-TH" sz="2400" baseline="30000" dirty="0" smtClean="0">
                <a:solidFill>
                  <a:prstClr val="black"/>
                </a:solidFill>
                <a:latin typeface="Calibri"/>
                <a:cs typeface="Cordia New" panose="020B0304020202020204" pitchFamily="34" charset="-34"/>
              </a:rPr>
              <a:t>๐</a:t>
            </a:r>
            <a:r>
              <a:rPr lang="en-US" sz="2400" dirty="0" smtClean="0">
                <a:solidFill>
                  <a:prstClr val="black"/>
                </a:solidFill>
                <a:latin typeface="Cordia New" pitchFamily="34" charset="-34"/>
                <a:cs typeface="Cordia New" pitchFamily="34" charset="-34"/>
              </a:rPr>
              <a:t>W</a:t>
            </a:r>
            <a:endParaRPr lang="en-US" sz="2400" baseline="30000" dirty="0">
              <a:solidFill>
                <a:prstClr val="black"/>
              </a:solidFill>
              <a:latin typeface="Calibri"/>
              <a:cs typeface="Arial" pitchFamily="34" charset="0"/>
            </a:endParaRPr>
          </a:p>
        </p:txBody>
      </p:sp>
      <p:sp>
        <p:nvSpPr>
          <p:cNvPr id="63" name="TextBox 62"/>
          <p:cNvSpPr txBox="1"/>
          <p:nvPr/>
        </p:nvSpPr>
        <p:spPr>
          <a:xfrm>
            <a:off x="5880026" y="3988942"/>
            <a:ext cx="795411" cy="461665"/>
          </a:xfrm>
          <a:prstGeom prst="rect">
            <a:avLst/>
          </a:prstGeom>
          <a:noFill/>
        </p:spPr>
        <p:txBody>
          <a:bodyPr wrap="none" rtlCol="0">
            <a:spAutoFit/>
          </a:bodyPr>
          <a:lstStyle/>
          <a:p>
            <a:pPr fontAlgn="auto">
              <a:spcBef>
                <a:spcPts val="0"/>
              </a:spcBef>
              <a:spcAft>
                <a:spcPts val="0"/>
              </a:spcAft>
            </a:pPr>
            <a:r>
              <a:rPr lang="en-US" sz="2400" dirty="0" smtClean="0">
                <a:solidFill>
                  <a:prstClr val="black"/>
                </a:solidFill>
                <a:latin typeface="Cordia New" pitchFamily="34" charset="-34"/>
                <a:cs typeface="Cordia New" pitchFamily="34" charset="-34"/>
              </a:rPr>
              <a:t>165</a:t>
            </a:r>
            <a:r>
              <a:rPr lang="th-TH" sz="2400" baseline="30000" dirty="0" smtClean="0">
                <a:solidFill>
                  <a:prstClr val="black"/>
                </a:solidFill>
                <a:latin typeface="Calibri"/>
                <a:cs typeface="Cordia New" panose="020B0304020202020204" pitchFamily="34" charset="-34"/>
              </a:rPr>
              <a:t>๐</a:t>
            </a:r>
            <a:r>
              <a:rPr lang="en-US" sz="2400" dirty="0" smtClean="0">
                <a:solidFill>
                  <a:prstClr val="black"/>
                </a:solidFill>
                <a:latin typeface="Cordia New" pitchFamily="34" charset="-34"/>
                <a:cs typeface="Cordia New" pitchFamily="34" charset="-34"/>
              </a:rPr>
              <a:t>W</a:t>
            </a:r>
            <a:endParaRPr lang="en-US" sz="2400" baseline="30000" dirty="0">
              <a:solidFill>
                <a:prstClr val="black"/>
              </a:solidFill>
              <a:latin typeface="Calibri"/>
              <a:cs typeface="Arial" pitchFamily="34" charset="0"/>
            </a:endParaRPr>
          </a:p>
        </p:txBody>
      </p:sp>
      <p:cxnSp>
        <p:nvCxnSpPr>
          <p:cNvPr id="65" name="Straight Connector 64"/>
          <p:cNvCxnSpPr/>
          <p:nvPr/>
        </p:nvCxnSpPr>
        <p:spPr>
          <a:xfrm flipH="1">
            <a:off x="2731352" y="4864235"/>
            <a:ext cx="1673865" cy="256053"/>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
        <p:nvSpPr>
          <p:cNvPr id="51" name="Oval 50"/>
          <p:cNvSpPr/>
          <p:nvPr/>
        </p:nvSpPr>
        <p:spPr>
          <a:xfrm>
            <a:off x="4117185" y="4576203"/>
            <a:ext cx="576064" cy="576064"/>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fontAlgn="auto">
              <a:spcBef>
                <a:spcPts val="0"/>
              </a:spcBef>
              <a:spcAft>
                <a:spcPts val="0"/>
              </a:spcAft>
            </a:pPr>
            <a:r>
              <a:rPr lang="en-US" dirty="0" smtClean="0">
                <a:solidFill>
                  <a:prstClr val="white"/>
                </a:solidFill>
              </a:rPr>
              <a:t>5</a:t>
            </a:r>
            <a:endParaRPr lang="en-US" dirty="0">
              <a:solidFill>
                <a:prstClr val="white"/>
              </a:solidFill>
            </a:endParaRPr>
          </a:p>
        </p:txBody>
      </p:sp>
      <p:sp>
        <p:nvSpPr>
          <p:cNvPr id="55" name="Oval 54"/>
          <p:cNvSpPr/>
          <p:nvPr/>
        </p:nvSpPr>
        <p:spPr>
          <a:xfrm>
            <a:off x="2916004" y="4576203"/>
            <a:ext cx="576064" cy="576064"/>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fontAlgn="auto">
              <a:spcBef>
                <a:spcPts val="0"/>
              </a:spcBef>
              <a:spcAft>
                <a:spcPts val="0"/>
              </a:spcAft>
            </a:pPr>
            <a:r>
              <a:rPr lang="en-US" dirty="0" smtClean="0">
                <a:solidFill>
                  <a:prstClr val="white"/>
                </a:solidFill>
              </a:rPr>
              <a:t>9</a:t>
            </a:r>
            <a:endParaRPr lang="en-US" dirty="0">
              <a:solidFill>
                <a:prstClr val="white"/>
              </a:solidFill>
            </a:endParaRPr>
          </a:p>
        </p:txBody>
      </p:sp>
      <p:pic>
        <p:nvPicPr>
          <p:cNvPr id="36" name="Picture 31" descr="Fengsui logo"/>
          <p:cNvPicPr>
            <a:picLocks noChangeAspect="1" noChangeArrowheads="1"/>
          </p:cNvPicPr>
          <p:nvPr/>
        </p:nvPicPr>
        <p:blipFill>
          <a:blip r:embed="rId3" cstate="print">
            <a:clrChange>
              <a:clrFrom>
                <a:srgbClr val="F9F9F9"/>
              </a:clrFrom>
              <a:clrTo>
                <a:srgbClr val="F9F9F9">
                  <a:alpha val="0"/>
                </a:srgbClr>
              </a:clrTo>
            </a:clrChange>
            <a:lum contrast="40000"/>
          </a:blip>
          <a:srcRect/>
          <a:stretch>
            <a:fillRect/>
          </a:stretch>
        </p:blipFill>
        <p:spPr bwMode="auto">
          <a:xfrm>
            <a:off x="-185459" y="-2388593"/>
            <a:ext cx="1295400" cy="990600"/>
          </a:xfrm>
          <a:prstGeom prst="flowChartAlternateProcess">
            <a:avLst/>
          </a:prstGeom>
          <a:noFill/>
          <a:ln w="9525">
            <a:noFill/>
            <a:miter lim="800000"/>
            <a:headEnd/>
            <a:tailEnd/>
          </a:ln>
        </p:spPr>
      </p:pic>
      <p:sp>
        <p:nvSpPr>
          <p:cNvPr id="37" name="TextBox 36"/>
          <p:cNvSpPr txBox="1"/>
          <p:nvPr/>
        </p:nvSpPr>
        <p:spPr>
          <a:xfrm>
            <a:off x="2341139" y="4865808"/>
            <a:ext cx="391454" cy="461665"/>
          </a:xfrm>
          <a:prstGeom prst="rect">
            <a:avLst/>
          </a:prstGeom>
          <a:noFill/>
        </p:spPr>
        <p:txBody>
          <a:bodyPr wrap="none" rtlCol="0">
            <a:spAutoFit/>
          </a:bodyPr>
          <a:lstStyle/>
          <a:p>
            <a:pPr fontAlgn="auto">
              <a:spcBef>
                <a:spcPts val="0"/>
              </a:spcBef>
              <a:spcAft>
                <a:spcPts val="0"/>
              </a:spcAft>
            </a:pPr>
            <a:r>
              <a:rPr lang="en-US" sz="2400" dirty="0">
                <a:solidFill>
                  <a:prstClr val="black"/>
                </a:solidFill>
                <a:latin typeface="Cordia New" pitchFamily="34" charset="-34"/>
                <a:cs typeface="Cordia New" pitchFamily="34" charset="-34"/>
              </a:rPr>
              <a:t>0</a:t>
            </a:r>
            <a:r>
              <a:rPr lang="th-TH" sz="2400" baseline="30000" dirty="0" smtClean="0">
                <a:solidFill>
                  <a:prstClr val="black"/>
                </a:solidFill>
                <a:latin typeface="Calibri"/>
                <a:cs typeface="Cordia New" panose="020B0304020202020204" pitchFamily="34" charset="-34"/>
              </a:rPr>
              <a:t>๐</a:t>
            </a:r>
            <a:endParaRPr lang="en-US" sz="2400" baseline="30000" dirty="0">
              <a:solidFill>
                <a:prstClr val="black"/>
              </a:solidFill>
              <a:latin typeface="Calibri"/>
              <a:cs typeface="Arial" pitchFamily="34" charset="0"/>
            </a:endParaRPr>
          </a:p>
        </p:txBody>
      </p:sp>
      <p:graphicFrame>
        <p:nvGraphicFramePr>
          <p:cNvPr id="67" name="Table 66"/>
          <p:cNvGraphicFramePr>
            <a:graphicFrameLocks noGrp="1"/>
          </p:cNvGraphicFramePr>
          <p:nvPr>
            <p:extLst/>
          </p:nvPr>
        </p:nvGraphicFramePr>
        <p:xfrm>
          <a:off x="6888039" y="4404979"/>
          <a:ext cx="2234349" cy="1920810"/>
        </p:xfrm>
        <a:graphic>
          <a:graphicData uri="http://schemas.openxmlformats.org/drawingml/2006/table">
            <a:tbl>
              <a:tblPr firstRow="1" bandRow="1">
                <a:tableStyleId>{93296810-A885-4BE3-A3E7-6D5BEEA58F35}</a:tableStyleId>
              </a:tblPr>
              <a:tblGrid>
                <a:gridCol w="744783">
                  <a:extLst>
                    <a:ext uri="{9D8B030D-6E8A-4147-A177-3AD203B41FA5}">
                      <a16:colId xmlns:a16="http://schemas.microsoft.com/office/drawing/2014/main" xmlns="" val="20000"/>
                    </a:ext>
                  </a:extLst>
                </a:gridCol>
                <a:gridCol w="744783">
                  <a:extLst>
                    <a:ext uri="{9D8B030D-6E8A-4147-A177-3AD203B41FA5}">
                      <a16:colId xmlns:a16="http://schemas.microsoft.com/office/drawing/2014/main" xmlns="" val="20001"/>
                    </a:ext>
                  </a:extLst>
                </a:gridCol>
                <a:gridCol w="744783">
                  <a:extLst>
                    <a:ext uri="{9D8B030D-6E8A-4147-A177-3AD203B41FA5}">
                      <a16:colId xmlns:a16="http://schemas.microsoft.com/office/drawing/2014/main" xmlns="" val="20002"/>
                    </a:ext>
                  </a:extLst>
                </a:gridCol>
              </a:tblGrid>
              <a:tr h="640270">
                <a:tc>
                  <a:txBody>
                    <a:bodyPr/>
                    <a:lstStyle/>
                    <a:p>
                      <a:endParaRPr lang="th-TH" sz="1300" dirty="0"/>
                    </a:p>
                  </a:txBody>
                  <a:tcPr marL="45832" marR="45832" marT="22916" marB="22916"/>
                </a:tc>
                <a:tc>
                  <a:txBody>
                    <a:bodyPr/>
                    <a:lstStyle/>
                    <a:p>
                      <a:endParaRPr lang="th-TH" sz="1300"/>
                    </a:p>
                  </a:txBody>
                  <a:tcPr marL="45832" marR="45832" marT="22916" marB="22916"/>
                </a:tc>
                <a:tc>
                  <a:txBody>
                    <a:bodyPr/>
                    <a:lstStyle/>
                    <a:p>
                      <a:endParaRPr lang="th-TH" sz="1300"/>
                    </a:p>
                  </a:txBody>
                  <a:tcPr marL="45832" marR="45832" marT="22916" marB="22916"/>
                </a:tc>
                <a:extLst>
                  <a:ext uri="{0D108BD9-81ED-4DB2-BD59-A6C34878D82A}">
                    <a16:rowId xmlns:a16="http://schemas.microsoft.com/office/drawing/2014/main" xmlns="" val="10000"/>
                  </a:ext>
                </a:extLst>
              </a:tr>
              <a:tr h="640270">
                <a:tc>
                  <a:txBody>
                    <a:bodyPr/>
                    <a:lstStyle/>
                    <a:p>
                      <a:endParaRPr lang="th-TH" sz="1300"/>
                    </a:p>
                  </a:txBody>
                  <a:tcPr marL="45832" marR="45832" marT="22916" marB="22916"/>
                </a:tc>
                <a:tc>
                  <a:txBody>
                    <a:bodyPr/>
                    <a:lstStyle/>
                    <a:p>
                      <a:endParaRPr lang="th-TH" sz="1300"/>
                    </a:p>
                  </a:txBody>
                  <a:tcPr marL="45832" marR="45832" marT="22916" marB="22916"/>
                </a:tc>
                <a:tc>
                  <a:txBody>
                    <a:bodyPr/>
                    <a:lstStyle/>
                    <a:p>
                      <a:endParaRPr lang="th-TH" sz="1300"/>
                    </a:p>
                  </a:txBody>
                  <a:tcPr marL="45832" marR="45832" marT="22916" marB="22916"/>
                </a:tc>
                <a:extLst>
                  <a:ext uri="{0D108BD9-81ED-4DB2-BD59-A6C34878D82A}">
                    <a16:rowId xmlns:a16="http://schemas.microsoft.com/office/drawing/2014/main" xmlns="" val="10001"/>
                  </a:ext>
                </a:extLst>
              </a:tr>
              <a:tr h="640270">
                <a:tc>
                  <a:txBody>
                    <a:bodyPr/>
                    <a:lstStyle/>
                    <a:p>
                      <a:endParaRPr lang="th-TH" sz="1300"/>
                    </a:p>
                  </a:txBody>
                  <a:tcPr marL="45832" marR="45832" marT="22916" marB="22916"/>
                </a:tc>
                <a:tc>
                  <a:txBody>
                    <a:bodyPr/>
                    <a:lstStyle/>
                    <a:p>
                      <a:endParaRPr lang="th-TH" sz="1300" dirty="0"/>
                    </a:p>
                  </a:txBody>
                  <a:tcPr marL="45832" marR="45832" marT="22916" marB="22916"/>
                </a:tc>
                <a:tc>
                  <a:txBody>
                    <a:bodyPr/>
                    <a:lstStyle/>
                    <a:p>
                      <a:endParaRPr lang="th-TH" sz="1300" dirty="0"/>
                    </a:p>
                  </a:txBody>
                  <a:tcPr marL="45832" marR="45832" marT="22916" marB="22916"/>
                </a:tc>
                <a:extLst>
                  <a:ext uri="{0D108BD9-81ED-4DB2-BD59-A6C34878D82A}">
                    <a16:rowId xmlns:a16="http://schemas.microsoft.com/office/drawing/2014/main" xmlns="" val="10002"/>
                  </a:ext>
                </a:extLst>
              </a:tr>
            </a:tbl>
          </a:graphicData>
        </a:graphic>
      </p:graphicFrame>
      <p:sp>
        <p:nvSpPr>
          <p:cNvPr id="68" name="TextBox 67"/>
          <p:cNvSpPr txBox="1"/>
          <p:nvPr/>
        </p:nvSpPr>
        <p:spPr>
          <a:xfrm>
            <a:off x="7756685" y="5084115"/>
            <a:ext cx="531743" cy="523220"/>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en-US" dirty="0" smtClean="0">
                <a:solidFill>
                  <a:prstClr val="white"/>
                </a:solidFill>
              </a:rPr>
              <a:t>5</a:t>
            </a:r>
            <a:endParaRPr lang="th-TH" dirty="0">
              <a:solidFill>
                <a:prstClr val="white"/>
              </a:solidFill>
            </a:endParaRPr>
          </a:p>
        </p:txBody>
      </p:sp>
      <p:sp>
        <p:nvSpPr>
          <p:cNvPr id="69" name="TextBox 68"/>
          <p:cNvSpPr txBox="1"/>
          <p:nvPr/>
        </p:nvSpPr>
        <p:spPr>
          <a:xfrm>
            <a:off x="6999994" y="4464323"/>
            <a:ext cx="531743" cy="523220"/>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en-US" dirty="0" smtClean="0">
                <a:solidFill>
                  <a:prstClr val="white"/>
                </a:solidFill>
              </a:rPr>
              <a:t>6</a:t>
            </a:r>
            <a:endParaRPr lang="th-TH" dirty="0">
              <a:solidFill>
                <a:prstClr val="white"/>
              </a:solidFill>
            </a:endParaRPr>
          </a:p>
        </p:txBody>
      </p:sp>
      <p:sp>
        <p:nvSpPr>
          <p:cNvPr id="70" name="TextBox 69"/>
          <p:cNvSpPr txBox="1"/>
          <p:nvPr/>
        </p:nvSpPr>
        <p:spPr>
          <a:xfrm>
            <a:off x="6999994" y="5084115"/>
            <a:ext cx="531743" cy="523220"/>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en-US" dirty="0" smtClean="0">
                <a:solidFill>
                  <a:prstClr val="white"/>
                </a:solidFill>
              </a:rPr>
              <a:t>7</a:t>
            </a:r>
            <a:endParaRPr lang="th-TH" dirty="0">
              <a:solidFill>
                <a:prstClr val="white"/>
              </a:solidFill>
            </a:endParaRPr>
          </a:p>
        </p:txBody>
      </p:sp>
      <p:sp>
        <p:nvSpPr>
          <p:cNvPr id="71" name="TextBox 70"/>
          <p:cNvSpPr txBox="1"/>
          <p:nvPr/>
        </p:nvSpPr>
        <p:spPr>
          <a:xfrm>
            <a:off x="8482897" y="4464323"/>
            <a:ext cx="531743" cy="523220"/>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en-US" dirty="0" smtClean="0">
                <a:solidFill>
                  <a:prstClr val="white"/>
                </a:solidFill>
              </a:rPr>
              <a:t>8</a:t>
            </a:r>
            <a:endParaRPr lang="th-TH" dirty="0">
              <a:solidFill>
                <a:prstClr val="white"/>
              </a:solidFill>
            </a:endParaRPr>
          </a:p>
        </p:txBody>
      </p:sp>
      <p:sp>
        <p:nvSpPr>
          <p:cNvPr id="72" name="TextBox 71"/>
          <p:cNvSpPr txBox="1"/>
          <p:nvPr/>
        </p:nvSpPr>
        <p:spPr>
          <a:xfrm>
            <a:off x="7756685" y="5727313"/>
            <a:ext cx="531743" cy="523220"/>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en-US" dirty="0" smtClean="0">
                <a:solidFill>
                  <a:prstClr val="white"/>
                </a:solidFill>
              </a:rPr>
              <a:t>9</a:t>
            </a:r>
            <a:endParaRPr lang="th-TH" dirty="0">
              <a:solidFill>
                <a:prstClr val="white"/>
              </a:solidFill>
            </a:endParaRPr>
          </a:p>
        </p:txBody>
      </p:sp>
      <p:sp>
        <p:nvSpPr>
          <p:cNvPr id="73" name="TextBox 72"/>
          <p:cNvSpPr txBox="1"/>
          <p:nvPr/>
        </p:nvSpPr>
        <p:spPr>
          <a:xfrm>
            <a:off x="7756685" y="4464323"/>
            <a:ext cx="531743" cy="523220"/>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en-US" dirty="0" smtClean="0">
                <a:solidFill>
                  <a:prstClr val="white"/>
                </a:solidFill>
              </a:rPr>
              <a:t>1</a:t>
            </a:r>
            <a:endParaRPr lang="th-TH" dirty="0">
              <a:solidFill>
                <a:prstClr val="white"/>
              </a:solidFill>
            </a:endParaRPr>
          </a:p>
        </p:txBody>
      </p:sp>
      <p:sp>
        <p:nvSpPr>
          <p:cNvPr id="74" name="TextBox 73"/>
          <p:cNvSpPr txBox="1"/>
          <p:nvPr/>
        </p:nvSpPr>
        <p:spPr>
          <a:xfrm>
            <a:off x="6999994" y="5727313"/>
            <a:ext cx="531743" cy="523220"/>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en-US" dirty="0" smtClean="0">
                <a:solidFill>
                  <a:prstClr val="white"/>
                </a:solidFill>
              </a:rPr>
              <a:t>2</a:t>
            </a:r>
            <a:endParaRPr lang="th-TH" dirty="0">
              <a:solidFill>
                <a:prstClr val="white"/>
              </a:solidFill>
            </a:endParaRPr>
          </a:p>
        </p:txBody>
      </p:sp>
      <p:sp>
        <p:nvSpPr>
          <p:cNvPr id="75" name="TextBox 74"/>
          <p:cNvSpPr txBox="1"/>
          <p:nvPr/>
        </p:nvSpPr>
        <p:spPr>
          <a:xfrm>
            <a:off x="8482897" y="5084115"/>
            <a:ext cx="531743" cy="523220"/>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en-US" dirty="0" smtClean="0">
                <a:solidFill>
                  <a:prstClr val="white"/>
                </a:solidFill>
              </a:rPr>
              <a:t>3</a:t>
            </a:r>
            <a:endParaRPr lang="th-TH" dirty="0">
              <a:solidFill>
                <a:prstClr val="white"/>
              </a:solidFill>
            </a:endParaRPr>
          </a:p>
        </p:txBody>
      </p:sp>
      <p:sp>
        <p:nvSpPr>
          <p:cNvPr id="76" name="TextBox 75"/>
          <p:cNvSpPr txBox="1"/>
          <p:nvPr/>
        </p:nvSpPr>
        <p:spPr>
          <a:xfrm>
            <a:off x="8482897" y="5727313"/>
            <a:ext cx="531743" cy="523220"/>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en-US" dirty="0" smtClean="0">
                <a:solidFill>
                  <a:prstClr val="white"/>
                </a:solidFill>
              </a:rPr>
              <a:t>4</a:t>
            </a:r>
            <a:endParaRPr lang="th-TH" dirty="0">
              <a:solidFill>
                <a:prstClr val="white"/>
              </a:solidFill>
            </a:endParaRPr>
          </a:p>
        </p:txBody>
      </p:sp>
      <p:cxnSp>
        <p:nvCxnSpPr>
          <p:cNvPr id="77" name="Straight Arrow Connector 76"/>
          <p:cNvCxnSpPr/>
          <p:nvPr/>
        </p:nvCxnSpPr>
        <p:spPr>
          <a:xfrm flipH="1" flipV="1">
            <a:off x="7265865" y="4181775"/>
            <a:ext cx="487638" cy="2825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a:off x="7274277" y="4188809"/>
            <a:ext cx="0" cy="15282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flipH="1" flipV="1">
            <a:off x="6390528" y="5329598"/>
            <a:ext cx="605262" cy="3916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endCxn id="75" idx="1"/>
          </p:cNvCxnSpPr>
          <p:nvPr/>
        </p:nvCxnSpPr>
        <p:spPr>
          <a:xfrm>
            <a:off x="6399890" y="5329598"/>
            <a:ext cx="2083007" cy="161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endCxn id="76" idx="0"/>
          </p:cNvCxnSpPr>
          <p:nvPr/>
        </p:nvCxnSpPr>
        <p:spPr>
          <a:xfrm>
            <a:off x="8748768" y="5607335"/>
            <a:ext cx="1" cy="1199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flipH="1" flipV="1">
            <a:off x="8288429" y="5607335"/>
            <a:ext cx="181850" cy="1139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flipH="1" flipV="1">
            <a:off x="7509684" y="4945906"/>
            <a:ext cx="243819" cy="1587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7337783" y="4964137"/>
            <a:ext cx="1" cy="1199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flipH="1" flipV="1">
            <a:off x="6428840" y="4746871"/>
            <a:ext cx="566950" cy="3577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a:off x="6428840" y="4755015"/>
            <a:ext cx="2041439" cy="79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flipH="1" flipV="1">
            <a:off x="8016759" y="4200388"/>
            <a:ext cx="487638" cy="2825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8028991" y="4192993"/>
            <a:ext cx="0" cy="15282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5590808" y="977173"/>
            <a:ext cx="1311258" cy="3170099"/>
          </a:xfrm>
          <a:prstGeom prst="rect">
            <a:avLst/>
          </a:prstGeom>
        </p:spPr>
        <p:txBody>
          <a:bodyPr wrap="square">
            <a:spAutoFit/>
          </a:bodyPr>
          <a:lstStyle/>
          <a:p>
            <a:pPr algn="ctr">
              <a:lnSpc>
                <a:spcPts val="2400"/>
              </a:lnSpc>
              <a:spcAft>
                <a:spcPts val="800"/>
              </a:spcAft>
            </a:pPr>
            <a:r>
              <a:rPr lang="th-TH" sz="2000" dirty="0">
                <a:solidFill>
                  <a:prstClr val="black"/>
                </a:solidFill>
                <a:latin typeface="AngsanaUPC" panose="02020603050405020304" pitchFamily="18" charset="-34"/>
                <a:ea typeface="Calibri" panose="020F0502020204030204" pitchFamily="34" charset="0"/>
                <a:cs typeface="AngsanaUPC" panose="02020603050405020304" pitchFamily="18" charset="-34"/>
              </a:rPr>
              <a:t>ยุค </a:t>
            </a:r>
            <a:r>
              <a:rPr lang="en-US" sz="2000" dirty="0" smtClean="0">
                <a:solidFill>
                  <a:prstClr val="black"/>
                </a:solidFill>
                <a:latin typeface="AngsanaUPC" panose="02020603050405020304" pitchFamily="18" charset="-34"/>
                <a:ea typeface="Calibri" panose="020F0502020204030204" pitchFamily="34" charset="0"/>
                <a:cs typeface="AngsanaUPC" panose="02020603050405020304" pitchFamily="18" charset="-34"/>
              </a:rPr>
              <a:t>3</a:t>
            </a:r>
            <a:r>
              <a:rPr lang="th-TH" sz="2000" dirty="0" smtClean="0">
                <a:solidFill>
                  <a:prstClr val="black"/>
                </a:solidFill>
                <a:latin typeface="AngsanaUPC" panose="02020603050405020304" pitchFamily="18" charset="-34"/>
                <a:ea typeface="Calibri" panose="020F0502020204030204" pitchFamily="34" charset="0"/>
                <a:cs typeface="AngsanaUPC" panose="02020603050405020304" pitchFamily="18" charset="-34"/>
              </a:rPr>
              <a:t> อินเดีย </a:t>
            </a:r>
            <a:r>
              <a:rPr lang="th-TH" sz="2000" dirty="0">
                <a:solidFill>
                  <a:prstClr val="black"/>
                </a:solidFill>
                <a:latin typeface="AngsanaUPC" panose="02020603050405020304" pitchFamily="18" charset="-34"/>
                <a:ea typeface="Calibri" panose="020F0502020204030204" pitchFamily="34" charset="0"/>
                <a:cs typeface="AngsanaUPC" panose="02020603050405020304" pitchFamily="18" charset="-34"/>
              </a:rPr>
              <a:t>ปากีสถาน เนปาล อัฟกานิสถาน บังคลาเทศ รัสเซีย มองโกลเลีย จีนตะวันตก พม่า </a:t>
            </a:r>
            <a:r>
              <a:rPr lang="th-TH" sz="2000" dirty="0" smtClean="0">
                <a:solidFill>
                  <a:prstClr val="black"/>
                </a:solidFill>
                <a:latin typeface="AngsanaUPC" panose="02020603050405020304" pitchFamily="18" charset="-34"/>
                <a:ea typeface="Calibri" panose="020F0502020204030204" pitchFamily="34" charset="0"/>
                <a:cs typeface="AngsanaUPC" panose="02020603050405020304" pitchFamily="18" charset="-34"/>
              </a:rPr>
              <a:t>ไทย กัมพูชา มาเลเซีย </a:t>
            </a:r>
            <a:r>
              <a:rPr lang="th-TH" sz="2000" dirty="0">
                <a:solidFill>
                  <a:prstClr val="black"/>
                </a:solidFill>
                <a:latin typeface="AngsanaUPC" panose="02020603050405020304" pitchFamily="18" charset="-34"/>
                <a:ea typeface="Calibri" panose="020F0502020204030204" pitchFamily="34" charset="0"/>
                <a:cs typeface="AngsanaUPC" panose="02020603050405020304" pitchFamily="18" charset="-34"/>
              </a:rPr>
              <a:t>สิงคโปร์</a:t>
            </a:r>
            <a:endParaRPr lang="en-US" sz="2000" dirty="0">
              <a:solidFill>
                <a:prstClr val="black"/>
              </a:solidFill>
              <a:latin typeface="AngsanaUPC" panose="02020603050405020304" pitchFamily="18" charset="-34"/>
              <a:ea typeface="Calibri" panose="020F0502020204030204" pitchFamily="34" charset="0"/>
              <a:cs typeface="AngsanaUPC" panose="02020603050405020304" pitchFamily="18" charset="-34"/>
            </a:endParaRPr>
          </a:p>
        </p:txBody>
      </p:sp>
      <p:sp>
        <p:nvSpPr>
          <p:cNvPr id="3" name="Rectangle 2"/>
          <p:cNvSpPr/>
          <p:nvPr/>
        </p:nvSpPr>
        <p:spPr>
          <a:xfrm>
            <a:off x="509235" y="1959287"/>
            <a:ext cx="1163338" cy="804066"/>
          </a:xfrm>
          <a:prstGeom prst="rect">
            <a:avLst/>
          </a:prstGeom>
        </p:spPr>
        <p:txBody>
          <a:bodyPr wrap="square">
            <a:spAutoFit/>
          </a:bodyPr>
          <a:lstStyle/>
          <a:p>
            <a:pPr algn="ctr">
              <a:lnSpc>
                <a:spcPts val="1800"/>
              </a:lnSpc>
              <a:spcAft>
                <a:spcPts val="800"/>
              </a:spcAft>
            </a:pPr>
            <a:r>
              <a:rPr lang="th-TH" sz="2000" dirty="0" smtClean="0">
                <a:solidFill>
                  <a:prstClr val="black"/>
                </a:solidFill>
                <a:latin typeface="AngsanaUPC" panose="02020603050405020304" pitchFamily="18" charset="-34"/>
                <a:ea typeface="Calibri" panose="020F0502020204030204" pitchFamily="34" charset="0"/>
                <a:cs typeface="AngsanaUPC" panose="02020603050405020304" pitchFamily="18" charset="-34"/>
              </a:rPr>
              <a:t>ยุค </a:t>
            </a:r>
            <a:r>
              <a:rPr lang="en-US" sz="2000" dirty="0" smtClean="0">
                <a:solidFill>
                  <a:prstClr val="black"/>
                </a:solidFill>
                <a:latin typeface="AngsanaUPC" panose="02020603050405020304" pitchFamily="18" charset="-34"/>
                <a:ea typeface="Calibri" panose="020F0502020204030204" pitchFamily="34" charset="0"/>
                <a:cs typeface="AngsanaUPC" panose="02020603050405020304" pitchFamily="18" charset="-34"/>
              </a:rPr>
              <a:t>6 </a:t>
            </a:r>
            <a:r>
              <a:rPr lang="th-TH" sz="2000" dirty="0" smtClean="0">
                <a:solidFill>
                  <a:prstClr val="black"/>
                </a:solidFill>
                <a:latin typeface="AngsanaUPC" panose="02020603050405020304" pitchFamily="18" charset="-34"/>
                <a:ea typeface="Calibri" panose="020F0502020204030204" pitchFamily="34" charset="0"/>
                <a:cs typeface="AngsanaUPC" panose="02020603050405020304" pitchFamily="18" charset="-34"/>
              </a:rPr>
              <a:t>แคนาดา </a:t>
            </a:r>
            <a:r>
              <a:rPr lang="th-TH" sz="2000" dirty="0">
                <a:solidFill>
                  <a:prstClr val="black"/>
                </a:solidFill>
                <a:latin typeface="AngsanaUPC" panose="02020603050405020304" pitchFamily="18" charset="-34"/>
                <a:ea typeface="Calibri" panose="020F0502020204030204" pitchFamily="34" charset="0"/>
                <a:cs typeface="AngsanaUPC" panose="02020603050405020304" pitchFamily="18" charset="-34"/>
              </a:rPr>
              <a:t>สหรัฐอเมริกาฝั่งตะวันตก</a:t>
            </a:r>
            <a:endParaRPr lang="en-US" sz="2000" dirty="0">
              <a:solidFill>
                <a:prstClr val="black"/>
              </a:solidFill>
              <a:latin typeface="AngsanaUPC" panose="02020603050405020304" pitchFamily="18" charset="-34"/>
              <a:ea typeface="Calibri" panose="020F0502020204030204" pitchFamily="34" charset="0"/>
              <a:cs typeface="AngsanaUPC" panose="02020603050405020304" pitchFamily="18" charset="-34"/>
            </a:endParaRPr>
          </a:p>
        </p:txBody>
      </p:sp>
      <p:sp>
        <p:nvSpPr>
          <p:cNvPr id="89" name="Rectangle 88"/>
          <p:cNvSpPr/>
          <p:nvPr/>
        </p:nvSpPr>
        <p:spPr>
          <a:xfrm>
            <a:off x="1614388" y="2980675"/>
            <a:ext cx="1163338" cy="804066"/>
          </a:xfrm>
          <a:prstGeom prst="rect">
            <a:avLst/>
          </a:prstGeom>
        </p:spPr>
        <p:txBody>
          <a:bodyPr wrap="square">
            <a:spAutoFit/>
          </a:bodyPr>
          <a:lstStyle/>
          <a:p>
            <a:pPr algn="ctr">
              <a:lnSpc>
                <a:spcPts val="1800"/>
              </a:lnSpc>
              <a:spcAft>
                <a:spcPts val="800"/>
              </a:spcAft>
            </a:pPr>
            <a:r>
              <a:rPr lang="th-TH" sz="2000" dirty="0" smtClean="0">
                <a:solidFill>
                  <a:prstClr val="black"/>
                </a:solidFill>
                <a:latin typeface="AngsanaUPC" panose="02020603050405020304" pitchFamily="18" charset="-34"/>
                <a:ea typeface="Calibri" panose="020F0502020204030204" pitchFamily="34" charset="0"/>
                <a:cs typeface="AngsanaUPC" panose="02020603050405020304" pitchFamily="18" charset="-34"/>
              </a:rPr>
              <a:t>ยุค </a:t>
            </a:r>
            <a:r>
              <a:rPr lang="en-US" sz="2000" dirty="0" smtClean="0">
                <a:solidFill>
                  <a:prstClr val="black"/>
                </a:solidFill>
                <a:latin typeface="AngsanaUPC" panose="02020603050405020304" pitchFamily="18" charset="-34"/>
                <a:ea typeface="Calibri" panose="020F0502020204030204" pitchFamily="34" charset="0"/>
                <a:cs typeface="AngsanaUPC" panose="02020603050405020304" pitchFamily="18" charset="-34"/>
              </a:rPr>
              <a:t>7 </a:t>
            </a:r>
            <a:r>
              <a:rPr lang="th-TH" sz="2000" dirty="0" smtClean="0">
                <a:solidFill>
                  <a:prstClr val="black"/>
                </a:solidFill>
                <a:latin typeface="AngsanaUPC" panose="02020603050405020304" pitchFamily="18" charset="-34"/>
                <a:ea typeface="Calibri" panose="020F0502020204030204" pitchFamily="34" charset="0"/>
                <a:cs typeface="AngsanaUPC" panose="02020603050405020304" pitchFamily="18" charset="-34"/>
              </a:rPr>
              <a:t>แคนาดา </a:t>
            </a:r>
            <a:r>
              <a:rPr lang="th-TH" sz="2000" dirty="0">
                <a:solidFill>
                  <a:prstClr val="black"/>
                </a:solidFill>
                <a:latin typeface="AngsanaUPC" panose="02020603050405020304" pitchFamily="18" charset="-34"/>
                <a:ea typeface="Calibri" panose="020F0502020204030204" pitchFamily="34" charset="0"/>
                <a:cs typeface="AngsanaUPC" panose="02020603050405020304" pitchFamily="18" charset="-34"/>
              </a:rPr>
              <a:t>สหรัฐ</a:t>
            </a:r>
            <a:r>
              <a:rPr lang="th-TH" sz="2000" dirty="0" smtClean="0">
                <a:solidFill>
                  <a:prstClr val="black"/>
                </a:solidFill>
                <a:latin typeface="AngsanaUPC" panose="02020603050405020304" pitchFamily="18" charset="-34"/>
                <a:ea typeface="Calibri" panose="020F0502020204030204" pitchFamily="34" charset="0"/>
                <a:cs typeface="AngsanaUPC" panose="02020603050405020304" pitchFamily="18" charset="-34"/>
              </a:rPr>
              <a:t>อเมริกาปานามา คิวบา</a:t>
            </a:r>
            <a:endParaRPr lang="en-US" sz="2000" dirty="0">
              <a:solidFill>
                <a:prstClr val="black"/>
              </a:solidFill>
              <a:latin typeface="AngsanaUPC" panose="02020603050405020304" pitchFamily="18" charset="-34"/>
              <a:ea typeface="Calibri" panose="020F0502020204030204" pitchFamily="34" charset="0"/>
              <a:cs typeface="AngsanaUPC" panose="02020603050405020304" pitchFamily="18" charset="-34"/>
            </a:endParaRPr>
          </a:p>
        </p:txBody>
      </p:sp>
      <p:sp>
        <p:nvSpPr>
          <p:cNvPr id="4" name="Rectangle 3"/>
          <p:cNvSpPr/>
          <p:nvPr/>
        </p:nvSpPr>
        <p:spPr>
          <a:xfrm>
            <a:off x="7081466" y="894922"/>
            <a:ext cx="1222173" cy="3056221"/>
          </a:xfrm>
          <a:prstGeom prst="rect">
            <a:avLst/>
          </a:prstGeom>
        </p:spPr>
        <p:txBody>
          <a:bodyPr wrap="square">
            <a:spAutoFit/>
          </a:bodyPr>
          <a:lstStyle/>
          <a:p>
            <a:pPr algn="ctr">
              <a:lnSpc>
                <a:spcPct val="107000"/>
              </a:lnSpc>
              <a:spcAft>
                <a:spcPts val="800"/>
              </a:spcAft>
            </a:pPr>
            <a:r>
              <a:rPr lang="th-TH" sz="2000" dirty="0">
                <a:solidFill>
                  <a:prstClr val="black"/>
                </a:solidFill>
                <a:latin typeface="AngsanaUPC" panose="02020603050405020304" pitchFamily="18" charset="-34"/>
                <a:ea typeface="Calibri" panose="020F0502020204030204" pitchFamily="34" charset="0"/>
                <a:cs typeface="AngsanaUPC" panose="02020603050405020304" pitchFamily="18" charset="-34"/>
              </a:rPr>
              <a:t>ยุค </a:t>
            </a:r>
            <a:r>
              <a:rPr lang="en-US" sz="2000" dirty="0">
                <a:solidFill>
                  <a:prstClr val="black"/>
                </a:solidFill>
                <a:latin typeface="AngsanaUPC" panose="02020603050405020304" pitchFamily="18" charset="-34"/>
                <a:ea typeface="Calibri" panose="020F0502020204030204" pitchFamily="34" charset="0"/>
                <a:cs typeface="AngsanaUPC" panose="02020603050405020304" pitchFamily="18" charset="-34"/>
              </a:rPr>
              <a:t>8 </a:t>
            </a:r>
            <a:r>
              <a:rPr lang="th-TH" sz="2000" dirty="0">
                <a:solidFill>
                  <a:prstClr val="black"/>
                </a:solidFill>
                <a:latin typeface="AngsanaUPC" panose="02020603050405020304" pitchFamily="18" charset="-34"/>
                <a:ea typeface="Calibri" panose="020F0502020204030204" pitchFamily="34" charset="0"/>
                <a:cs typeface="AngsanaUPC" panose="02020603050405020304" pitchFamily="18" charset="-34"/>
              </a:rPr>
              <a:t>จีน เกาหลี ญี่ปุ่น ฮ่องกง ไต้หวัน รัสเซีย มองโกลเลีย เวียดนาม ฟิลิปปินส์ อินโดนีเซีย ลาว กัมพูชา</a:t>
            </a:r>
            <a:endParaRPr lang="en-US" sz="2000" dirty="0">
              <a:solidFill>
                <a:prstClr val="black"/>
              </a:solidFill>
              <a:latin typeface="AngsanaUPC" panose="02020603050405020304" pitchFamily="18" charset="-34"/>
              <a:ea typeface="Calibri" panose="020F0502020204030204" pitchFamily="34" charset="0"/>
              <a:cs typeface="AngsanaUPC" panose="02020603050405020304" pitchFamily="18" charset="-34"/>
            </a:endParaRPr>
          </a:p>
        </p:txBody>
      </p:sp>
      <p:sp>
        <p:nvSpPr>
          <p:cNvPr id="90" name="Rectangle 89"/>
          <p:cNvSpPr/>
          <p:nvPr/>
        </p:nvSpPr>
        <p:spPr>
          <a:xfrm>
            <a:off x="3742185" y="2407054"/>
            <a:ext cx="934167" cy="784830"/>
          </a:xfrm>
          <a:prstGeom prst="rect">
            <a:avLst/>
          </a:prstGeom>
        </p:spPr>
        <p:txBody>
          <a:bodyPr wrap="square">
            <a:spAutoFit/>
          </a:bodyPr>
          <a:lstStyle/>
          <a:p>
            <a:pPr algn="ctr">
              <a:lnSpc>
                <a:spcPts val="1800"/>
              </a:lnSpc>
              <a:spcAft>
                <a:spcPts val="800"/>
              </a:spcAft>
            </a:pPr>
            <a:r>
              <a:rPr lang="th-TH" sz="2000" dirty="0" smtClean="0">
                <a:solidFill>
                  <a:prstClr val="black"/>
                </a:solidFill>
                <a:latin typeface="AngsanaUPC" panose="02020603050405020304" pitchFamily="18" charset="-34"/>
                <a:ea typeface="Calibri" panose="020F0502020204030204" pitchFamily="34" charset="0"/>
                <a:cs typeface="AngsanaUPC" panose="02020603050405020304" pitchFamily="18" charset="-34"/>
              </a:rPr>
              <a:t>ยุค </a:t>
            </a:r>
            <a:r>
              <a:rPr lang="en-US" sz="2000" dirty="0" smtClean="0">
                <a:solidFill>
                  <a:prstClr val="black"/>
                </a:solidFill>
                <a:latin typeface="AngsanaUPC" panose="02020603050405020304" pitchFamily="18" charset="-34"/>
                <a:ea typeface="Calibri" panose="020F0502020204030204" pitchFamily="34" charset="0"/>
                <a:cs typeface="AngsanaUPC" panose="02020603050405020304" pitchFamily="18" charset="-34"/>
              </a:rPr>
              <a:t>9 </a:t>
            </a:r>
            <a:r>
              <a:rPr lang="th-TH" sz="2000" dirty="0" smtClean="0">
                <a:solidFill>
                  <a:prstClr val="black"/>
                </a:solidFill>
                <a:latin typeface="AngsanaUPC" panose="02020603050405020304" pitchFamily="18" charset="-34"/>
                <a:ea typeface="Calibri" panose="020F0502020204030204" pitchFamily="34" charset="0"/>
                <a:cs typeface="AngsanaUPC" panose="02020603050405020304" pitchFamily="18" charset="-34"/>
              </a:rPr>
              <a:t>สหภาพยุโรป</a:t>
            </a:r>
            <a:endParaRPr lang="en-US" sz="2000" dirty="0">
              <a:solidFill>
                <a:prstClr val="black"/>
              </a:solidFill>
              <a:latin typeface="AngsanaUPC" panose="02020603050405020304" pitchFamily="18" charset="-34"/>
              <a:ea typeface="Calibri" panose="020F0502020204030204" pitchFamily="34" charset="0"/>
              <a:cs typeface="AngsanaUPC" panose="02020603050405020304" pitchFamily="18" charset="-34"/>
            </a:endParaRPr>
          </a:p>
        </p:txBody>
      </p:sp>
    </p:spTree>
    <p:extLst>
      <p:ext uri="{BB962C8B-B14F-4D97-AF65-F5344CB8AC3E}">
        <p14:creationId xmlns:p14="http://schemas.microsoft.com/office/powerpoint/2010/main" val="1215436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8"/>
                                        </p:tgtEl>
                                        <p:attrNameLst>
                                          <p:attrName>style.visibility</p:attrName>
                                        </p:attrNameLst>
                                      </p:cBhvr>
                                      <p:to>
                                        <p:strVal val="visible"/>
                                      </p:to>
                                    </p:set>
                                    <p:animEffect transition="in" filter="fade">
                                      <p:cBhvr>
                                        <p:cTn id="12" dur="500"/>
                                        <p:tgtEl>
                                          <p:spTgt spid="4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9"/>
                                        </p:tgtEl>
                                        <p:attrNameLst>
                                          <p:attrName>style.visibility</p:attrName>
                                        </p:attrNameLst>
                                      </p:cBhvr>
                                      <p:to>
                                        <p:strVal val="visible"/>
                                      </p:to>
                                    </p:set>
                                    <p:animEffect transition="in" filter="fade">
                                      <p:cBhvr>
                                        <p:cTn id="17" dur="500"/>
                                        <p:tgtEl>
                                          <p:spTgt spid="49"/>
                                        </p:tgtEl>
                                      </p:cBhvr>
                                    </p:animEffect>
                                  </p:childTnLst>
                                </p:cTn>
                              </p:par>
                              <p:par>
                                <p:cTn id="18" presetID="22" presetClass="entr" presetSubtype="8" fill="hold" grpId="0" nodeType="with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wipe(left)">
                                      <p:cBhvr>
                                        <p:cTn id="20" dur="500"/>
                                        <p:tgtEl>
                                          <p:spTgt spid="2"/>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50"/>
                                        </p:tgtEl>
                                        <p:attrNameLst>
                                          <p:attrName>style.visibility</p:attrName>
                                        </p:attrNameLst>
                                      </p:cBhvr>
                                      <p:to>
                                        <p:strVal val="visible"/>
                                      </p:to>
                                    </p:set>
                                    <p:animEffect transition="in" filter="fade">
                                      <p:cBhvr>
                                        <p:cTn id="25" dur="500"/>
                                        <p:tgtEl>
                                          <p:spTgt spid="50"/>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51"/>
                                        </p:tgtEl>
                                        <p:attrNameLst>
                                          <p:attrName>style.visibility</p:attrName>
                                        </p:attrNameLst>
                                      </p:cBhvr>
                                      <p:to>
                                        <p:strVal val="visible"/>
                                      </p:to>
                                    </p:set>
                                    <p:animEffect transition="in" filter="fade">
                                      <p:cBhvr>
                                        <p:cTn id="30" dur="500"/>
                                        <p:tgtEl>
                                          <p:spTgt spid="51"/>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52"/>
                                        </p:tgtEl>
                                        <p:attrNameLst>
                                          <p:attrName>style.visibility</p:attrName>
                                        </p:attrNameLst>
                                      </p:cBhvr>
                                      <p:to>
                                        <p:strVal val="visible"/>
                                      </p:to>
                                    </p:set>
                                    <p:animEffect transition="in" filter="fade">
                                      <p:cBhvr>
                                        <p:cTn id="35" dur="500"/>
                                        <p:tgtEl>
                                          <p:spTgt spid="52"/>
                                        </p:tgtEl>
                                      </p:cBhvr>
                                    </p:animEffect>
                                  </p:childTnLst>
                                </p:cTn>
                              </p:par>
                              <p:par>
                                <p:cTn id="36" presetID="22" presetClass="entr" presetSubtype="8" fill="hold" grpId="0" nodeType="withEffect">
                                  <p:stCondLst>
                                    <p:cond delay="0"/>
                                  </p:stCondLst>
                                  <p:childTnLst>
                                    <p:set>
                                      <p:cBhvr>
                                        <p:cTn id="37" dur="1" fill="hold">
                                          <p:stCondLst>
                                            <p:cond delay="0"/>
                                          </p:stCondLst>
                                        </p:cTn>
                                        <p:tgtEl>
                                          <p:spTgt spid="3"/>
                                        </p:tgtEl>
                                        <p:attrNameLst>
                                          <p:attrName>style.visibility</p:attrName>
                                        </p:attrNameLst>
                                      </p:cBhvr>
                                      <p:to>
                                        <p:strVal val="visible"/>
                                      </p:to>
                                    </p:set>
                                    <p:animEffect transition="in" filter="wipe(left)">
                                      <p:cBhvr>
                                        <p:cTn id="38" dur="500"/>
                                        <p:tgtEl>
                                          <p:spTgt spid="3"/>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53"/>
                                        </p:tgtEl>
                                        <p:attrNameLst>
                                          <p:attrName>style.visibility</p:attrName>
                                        </p:attrNameLst>
                                      </p:cBhvr>
                                      <p:to>
                                        <p:strVal val="visible"/>
                                      </p:to>
                                    </p:set>
                                    <p:animEffect transition="in" filter="fade">
                                      <p:cBhvr>
                                        <p:cTn id="43" dur="500"/>
                                        <p:tgtEl>
                                          <p:spTgt spid="53"/>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89"/>
                                        </p:tgtEl>
                                        <p:attrNameLst>
                                          <p:attrName>style.visibility</p:attrName>
                                        </p:attrNameLst>
                                      </p:cBhvr>
                                      <p:to>
                                        <p:strVal val="visible"/>
                                      </p:to>
                                    </p:set>
                                    <p:animEffect transition="in" filter="wipe(left)">
                                      <p:cBhvr>
                                        <p:cTn id="46" dur="500"/>
                                        <p:tgtEl>
                                          <p:spTgt spid="8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54"/>
                                        </p:tgtEl>
                                        <p:attrNameLst>
                                          <p:attrName>style.visibility</p:attrName>
                                        </p:attrNameLst>
                                      </p:cBhvr>
                                      <p:to>
                                        <p:strVal val="visible"/>
                                      </p:to>
                                    </p:set>
                                    <p:animEffect transition="in" filter="fade">
                                      <p:cBhvr>
                                        <p:cTn id="51" dur="500"/>
                                        <p:tgtEl>
                                          <p:spTgt spid="54"/>
                                        </p:tgtEl>
                                      </p:cBhvr>
                                    </p:animEffect>
                                  </p:childTnLst>
                                </p:cTn>
                              </p:par>
                              <p:par>
                                <p:cTn id="52" presetID="22" presetClass="entr" presetSubtype="8" fill="hold" grpId="0" nodeType="withEffect">
                                  <p:stCondLst>
                                    <p:cond delay="0"/>
                                  </p:stCondLst>
                                  <p:childTnLst>
                                    <p:set>
                                      <p:cBhvr>
                                        <p:cTn id="53" dur="1" fill="hold">
                                          <p:stCondLst>
                                            <p:cond delay="0"/>
                                          </p:stCondLst>
                                        </p:cTn>
                                        <p:tgtEl>
                                          <p:spTgt spid="4"/>
                                        </p:tgtEl>
                                        <p:attrNameLst>
                                          <p:attrName>style.visibility</p:attrName>
                                        </p:attrNameLst>
                                      </p:cBhvr>
                                      <p:to>
                                        <p:strVal val="visible"/>
                                      </p:to>
                                    </p:set>
                                    <p:animEffect transition="in" filter="wipe(left)">
                                      <p:cBhvr>
                                        <p:cTn id="54" dur="500"/>
                                        <p:tgtEl>
                                          <p:spTgt spid="4"/>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55"/>
                                        </p:tgtEl>
                                        <p:attrNameLst>
                                          <p:attrName>style.visibility</p:attrName>
                                        </p:attrNameLst>
                                      </p:cBhvr>
                                      <p:to>
                                        <p:strVal val="visible"/>
                                      </p:to>
                                    </p:set>
                                    <p:animEffect transition="in" filter="fade">
                                      <p:cBhvr>
                                        <p:cTn id="59" dur="500"/>
                                        <p:tgtEl>
                                          <p:spTgt spid="55"/>
                                        </p:tgtEl>
                                      </p:cBhvr>
                                    </p:animEffect>
                                  </p:childTnLst>
                                </p:cTn>
                              </p:par>
                              <p:par>
                                <p:cTn id="60" presetID="22" presetClass="entr" presetSubtype="8" fill="hold" grpId="0" nodeType="withEffect">
                                  <p:stCondLst>
                                    <p:cond delay="0"/>
                                  </p:stCondLst>
                                  <p:childTnLst>
                                    <p:set>
                                      <p:cBhvr>
                                        <p:cTn id="61" dur="1" fill="hold">
                                          <p:stCondLst>
                                            <p:cond delay="0"/>
                                          </p:stCondLst>
                                        </p:cTn>
                                        <p:tgtEl>
                                          <p:spTgt spid="90"/>
                                        </p:tgtEl>
                                        <p:attrNameLst>
                                          <p:attrName>style.visibility</p:attrName>
                                        </p:attrNameLst>
                                      </p:cBhvr>
                                      <p:to>
                                        <p:strVal val="visible"/>
                                      </p:to>
                                    </p:set>
                                    <p:animEffect transition="in" filter="wipe(left)">
                                      <p:cBhvr>
                                        <p:cTn id="62" dur="500"/>
                                        <p:tgtEl>
                                          <p:spTgt spid="90"/>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67"/>
                                        </p:tgtEl>
                                        <p:attrNameLst>
                                          <p:attrName>style.visibility</p:attrName>
                                        </p:attrNameLst>
                                      </p:cBhvr>
                                      <p:to>
                                        <p:strVal val="visible"/>
                                      </p:to>
                                    </p:set>
                                    <p:animEffect transition="in" filter="fade">
                                      <p:cBhvr>
                                        <p:cTn id="67" dur="500"/>
                                        <p:tgtEl>
                                          <p:spTgt spid="67"/>
                                        </p:tgtEl>
                                      </p:cBhvr>
                                    </p:animEffect>
                                  </p:childTnLst>
                                </p:cTn>
                              </p:par>
                            </p:childTnLst>
                          </p:cTn>
                        </p:par>
                      </p:childTnLst>
                    </p:cTn>
                  </p:par>
                  <p:par>
                    <p:cTn id="68" fill="hold">
                      <p:stCondLst>
                        <p:cond delay="indefinite"/>
                      </p:stCondLst>
                      <p:childTnLst>
                        <p:par>
                          <p:cTn id="69" fill="hold">
                            <p:stCondLst>
                              <p:cond delay="0"/>
                            </p:stCondLst>
                            <p:childTnLst>
                              <p:par>
                                <p:cTn id="70" presetID="22" presetClass="entr" presetSubtype="8" fill="hold" grpId="0" nodeType="clickEffect">
                                  <p:stCondLst>
                                    <p:cond delay="0"/>
                                  </p:stCondLst>
                                  <p:childTnLst>
                                    <p:set>
                                      <p:cBhvr>
                                        <p:cTn id="71" dur="1" fill="hold">
                                          <p:stCondLst>
                                            <p:cond delay="0"/>
                                          </p:stCondLst>
                                        </p:cTn>
                                        <p:tgtEl>
                                          <p:spTgt spid="73"/>
                                        </p:tgtEl>
                                        <p:attrNameLst>
                                          <p:attrName>style.visibility</p:attrName>
                                        </p:attrNameLst>
                                      </p:cBhvr>
                                      <p:to>
                                        <p:strVal val="visible"/>
                                      </p:to>
                                    </p:set>
                                    <p:animEffect transition="in" filter="wipe(left)">
                                      <p:cBhvr>
                                        <p:cTn id="72" dur="500"/>
                                        <p:tgtEl>
                                          <p:spTgt spid="73"/>
                                        </p:tgtEl>
                                      </p:cBhvr>
                                    </p:animEffect>
                                  </p:childTnLst>
                                </p:cTn>
                              </p:par>
                            </p:childTnLst>
                          </p:cTn>
                        </p:par>
                      </p:childTnLst>
                    </p:cTn>
                  </p:par>
                  <p:par>
                    <p:cTn id="73" fill="hold">
                      <p:stCondLst>
                        <p:cond delay="indefinite"/>
                      </p:stCondLst>
                      <p:childTnLst>
                        <p:par>
                          <p:cTn id="74" fill="hold">
                            <p:stCondLst>
                              <p:cond delay="0"/>
                            </p:stCondLst>
                            <p:childTnLst>
                              <p:par>
                                <p:cTn id="75" presetID="22" presetClass="entr" presetSubtype="4" fill="hold" nodeType="clickEffect">
                                  <p:stCondLst>
                                    <p:cond delay="0"/>
                                  </p:stCondLst>
                                  <p:childTnLst>
                                    <p:set>
                                      <p:cBhvr>
                                        <p:cTn id="76" dur="1" fill="hold">
                                          <p:stCondLst>
                                            <p:cond delay="0"/>
                                          </p:stCondLst>
                                        </p:cTn>
                                        <p:tgtEl>
                                          <p:spTgt spid="77"/>
                                        </p:tgtEl>
                                        <p:attrNameLst>
                                          <p:attrName>style.visibility</p:attrName>
                                        </p:attrNameLst>
                                      </p:cBhvr>
                                      <p:to>
                                        <p:strVal val="visible"/>
                                      </p:to>
                                    </p:set>
                                    <p:animEffect transition="in" filter="wipe(down)">
                                      <p:cBhvr>
                                        <p:cTn id="77" dur="500"/>
                                        <p:tgtEl>
                                          <p:spTgt spid="77"/>
                                        </p:tgtEl>
                                      </p:cBhvr>
                                    </p:animEffect>
                                  </p:childTnLst>
                                </p:cTn>
                              </p:par>
                            </p:childTnLst>
                          </p:cTn>
                        </p:par>
                        <p:par>
                          <p:cTn id="78" fill="hold">
                            <p:stCondLst>
                              <p:cond delay="500"/>
                            </p:stCondLst>
                            <p:childTnLst>
                              <p:par>
                                <p:cTn id="79" presetID="22" presetClass="entr" presetSubtype="1" fill="hold" nodeType="afterEffect">
                                  <p:stCondLst>
                                    <p:cond delay="0"/>
                                  </p:stCondLst>
                                  <p:childTnLst>
                                    <p:set>
                                      <p:cBhvr>
                                        <p:cTn id="80" dur="1" fill="hold">
                                          <p:stCondLst>
                                            <p:cond delay="0"/>
                                          </p:stCondLst>
                                        </p:cTn>
                                        <p:tgtEl>
                                          <p:spTgt spid="78"/>
                                        </p:tgtEl>
                                        <p:attrNameLst>
                                          <p:attrName>style.visibility</p:attrName>
                                        </p:attrNameLst>
                                      </p:cBhvr>
                                      <p:to>
                                        <p:strVal val="visible"/>
                                      </p:to>
                                    </p:set>
                                    <p:animEffect transition="in" filter="wipe(up)">
                                      <p:cBhvr>
                                        <p:cTn id="81" dur="500"/>
                                        <p:tgtEl>
                                          <p:spTgt spid="78"/>
                                        </p:tgtEl>
                                      </p:cBhvr>
                                    </p:animEffect>
                                  </p:childTnLst>
                                </p:cTn>
                              </p:par>
                            </p:childTnLst>
                          </p:cTn>
                        </p:par>
                        <p:par>
                          <p:cTn id="82" fill="hold">
                            <p:stCondLst>
                              <p:cond delay="1000"/>
                            </p:stCondLst>
                            <p:childTnLst>
                              <p:par>
                                <p:cTn id="83" presetID="22" presetClass="entr" presetSubtype="8" fill="hold" grpId="0" nodeType="afterEffect">
                                  <p:stCondLst>
                                    <p:cond delay="0"/>
                                  </p:stCondLst>
                                  <p:childTnLst>
                                    <p:set>
                                      <p:cBhvr>
                                        <p:cTn id="84" dur="1" fill="hold">
                                          <p:stCondLst>
                                            <p:cond delay="0"/>
                                          </p:stCondLst>
                                        </p:cTn>
                                        <p:tgtEl>
                                          <p:spTgt spid="74"/>
                                        </p:tgtEl>
                                        <p:attrNameLst>
                                          <p:attrName>style.visibility</p:attrName>
                                        </p:attrNameLst>
                                      </p:cBhvr>
                                      <p:to>
                                        <p:strVal val="visible"/>
                                      </p:to>
                                    </p:set>
                                    <p:animEffect transition="in" filter="wipe(left)">
                                      <p:cBhvr>
                                        <p:cTn id="85" dur="500"/>
                                        <p:tgtEl>
                                          <p:spTgt spid="74"/>
                                        </p:tgtEl>
                                      </p:cBhvr>
                                    </p:animEffect>
                                  </p:childTnLst>
                                </p:cTn>
                              </p:par>
                            </p:childTnLst>
                          </p:cTn>
                        </p:par>
                      </p:childTnLst>
                    </p:cTn>
                  </p:par>
                  <p:par>
                    <p:cTn id="86" fill="hold">
                      <p:stCondLst>
                        <p:cond delay="indefinite"/>
                      </p:stCondLst>
                      <p:childTnLst>
                        <p:par>
                          <p:cTn id="87" fill="hold">
                            <p:stCondLst>
                              <p:cond delay="0"/>
                            </p:stCondLst>
                            <p:childTnLst>
                              <p:par>
                                <p:cTn id="88" presetID="22" presetClass="entr" presetSubtype="4" fill="hold" nodeType="clickEffect">
                                  <p:stCondLst>
                                    <p:cond delay="0"/>
                                  </p:stCondLst>
                                  <p:childTnLst>
                                    <p:set>
                                      <p:cBhvr>
                                        <p:cTn id="89" dur="1" fill="hold">
                                          <p:stCondLst>
                                            <p:cond delay="0"/>
                                          </p:stCondLst>
                                        </p:cTn>
                                        <p:tgtEl>
                                          <p:spTgt spid="79"/>
                                        </p:tgtEl>
                                        <p:attrNameLst>
                                          <p:attrName>style.visibility</p:attrName>
                                        </p:attrNameLst>
                                      </p:cBhvr>
                                      <p:to>
                                        <p:strVal val="visible"/>
                                      </p:to>
                                    </p:set>
                                    <p:animEffect transition="in" filter="wipe(down)">
                                      <p:cBhvr>
                                        <p:cTn id="90" dur="500"/>
                                        <p:tgtEl>
                                          <p:spTgt spid="79"/>
                                        </p:tgtEl>
                                      </p:cBhvr>
                                    </p:animEffect>
                                  </p:childTnLst>
                                </p:cTn>
                              </p:par>
                            </p:childTnLst>
                          </p:cTn>
                        </p:par>
                        <p:par>
                          <p:cTn id="91" fill="hold">
                            <p:stCondLst>
                              <p:cond delay="500"/>
                            </p:stCondLst>
                            <p:childTnLst>
                              <p:par>
                                <p:cTn id="92" presetID="22" presetClass="entr" presetSubtype="8" fill="hold" nodeType="afterEffect">
                                  <p:stCondLst>
                                    <p:cond delay="0"/>
                                  </p:stCondLst>
                                  <p:childTnLst>
                                    <p:set>
                                      <p:cBhvr>
                                        <p:cTn id="93" dur="1" fill="hold">
                                          <p:stCondLst>
                                            <p:cond delay="0"/>
                                          </p:stCondLst>
                                        </p:cTn>
                                        <p:tgtEl>
                                          <p:spTgt spid="80"/>
                                        </p:tgtEl>
                                        <p:attrNameLst>
                                          <p:attrName>style.visibility</p:attrName>
                                        </p:attrNameLst>
                                      </p:cBhvr>
                                      <p:to>
                                        <p:strVal val="visible"/>
                                      </p:to>
                                    </p:set>
                                    <p:animEffect transition="in" filter="wipe(left)">
                                      <p:cBhvr>
                                        <p:cTn id="94" dur="500"/>
                                        <p:tgtEl>
                                          <p:spTgt spid="80"/>
                                        </p:tgtEl>
                                      </p:cBhvr>
                                    </p:animEffect>
                                  </p:childTnLst>
                                </p:cTn>
                              </p:par>
                            </p:childTnLst>
                          </p:cTn>
                        </p:par>
                        <p:par>
                          <p:cTn id="95" fill="hold">
                            <p:stCondLst>
                              <p:cond delay="1000"/>
                            </p:stCondLst>
                            <p:childTnLst>
                              <p:par>
                                <p:cTn id="96" presetID="22" presetClass="entr" presetSubtype="8" fill="hold" grpId="0" nodeType="afterEffect">
                                  <p:stCondLst>
                                    <p:cond delay="0"/>
                                  </p:stCondLst>
                                  <p:childTnLst>
                                    <p:set>
                                      <p:cBhvr>
                                        <p:cTn id="97" dur="1" fill="hold">
                                          <p:stCondLst>
                                            <p:cond delay="0"/>
                                          </p:stCondLst>
                                        </p:cTn>
                                        <p:tgtEl>
                                          <p:spTgt spid="75"/>
                                        </p:tgtEl>
                                        <p:attrNameLst>
                                          <p:attrName>style.visibility</p:attrName>
                                        </p:attrNameLst>
                                      </p:cBhvr>
                                      <p:to>
                                        <p:strVal val="visible"/>
                                      </p:to>
                                    </p:set>
                                    <p:animEffect transition="in" filter="wipe(left)">
                                      <p:cBhvr>
                                        <p:cTn id="98" dur="500"/>
                                        <p:tgtEl>
                                          <p:spTgt spid="75"/>
                                        </p:tgtEl>
                                      </p:cBhvr>
                                    </p:animEffect>
                                  </p:childTnLst>
                                </p:cTn>
                              </p:par>
                            </p:childTnLst>
                          </p:cTn>
                        </p:par>
                      </p:childTnLst>
                    </p:cTn>
                  </p:par>
                  <p:par>
                    <p:cTn id="99" fill="hold">
                      <p:stCondLst>
                        <p:cond delay="indefinite"/>
                      </p:stCondLst>
                      <p:childTnLst>
                        <p:par>
                          <p:cTn id="100" fill="hold">
                            <p:stCondLst>
                              <p:cond delay="0"/>
                            </p:stCondLst>
                            <p:childTnLst>
                              <p:par>
                                <p:cTn id="101" presetID="22" presetClass="entr" presetSubtype="1" fill="hold" nodeType="clickEffect">
                                  <p:stCondLst>
                                    <p:cond delay="0"/>
                                  </p:stCondLst>
                                  <p:childTnLst>
                                    <p:set>
                                      <p:cBhvr>
                                        <p:cTn id="102" dur="1" fill="hold">
                                          <p:stCondLst>
                                            <p:cond delay="0"/>
                                          </p:stCondLst>
                                        </p:cTn>
                                        <p:tgtEl>
                                          <p:spTgt spid="81"/>
                                        </p:tgtEl>
                                        <p:attrNameLst>
                                          <p:attrName>style.visibility</p:attrName>
                                        </p:attrNameLst>
                                      </p:cBhvr>
                                      <p:to>
                                        <p:strVal val="visible"/>
                                      </p:to>
                                    </p:set>
                                    <p:animEffect transition="in" filter="wipe(up)">
                                      <p:cBhvr>
                                        <p:cTn id="103" dur="500"/>
                                        <p:tgtEl>
                                          <p:spTgt spid="81"/>
                                        </p:tgtEl>
                                      </p:cBhvr>
                                    </p:animEffect>
                                  </p:childTnLst>
                                </p:cTn>
                              </p:par>
                            </p:childTnLst>
                          </p:cTn>
                        </p:par>
                        <p:par>
                          <p:cTn id="104" fill="hold">
                            <p:stCondLst>
                              <p:cond delay="500"/>
                            </p:stCondLst>
                            <p:childTnLst>
                              <p:par>
                                <p:cTn id="105" presetID="22" presetClass="entr" presetSubtype="8" fill="hold" grpId="0" nodeType="afterEffect">
                                  <p:stCondLst>
                                    <p:cond delay="0"/>
                                  </p:stCondLst>
                                  <p:childTnLst>
                                    <p:set>
                                      <p:cBhvr>
                                        <p:cTn id="106" dur="1" fill="hold">
                                          <p:stCondLst>
                                            <p:cond delay="0"/>
                                          </p:stCondLst>
                                        </p:cTn>
                                        <p:tgtEl>
                                          <p:spTgt spid="76"/>
                                        </p:tgtEl>
                                        <p:attrNameLst>
                                          <p:attrName>style.visibility</p:attrName>
                                        </p:attrNameLst>
                                      </p:cBhvr>
                                      <p:to>
                                        <p:strVal val="visible"/>
                                      </p:to>
                                    </p:set>
                                    <p:animEffect transition="in" filter="wipe(left)">
                                      <p:cBhvr>
                                        <p:cTn id="107" dur="500"/>
                                        <p:tgtEl>
                                          <p:spTgt spid="76"/>
                                        </p:tgtEl>
                                      </p:cBhvr>
                                    </p:animEffect>
                                  </p:childTnLst>
                                </p:cTn>
                              </p:par>
                            </p:childTnLst>
                          </p:cTn>
                        </p:par>
                      </p:childTnLst>
                    </p:cTn>
                  </p:par>
                  <p:par>
                    <p:cTn id="108" fill="hold">
                      <p:stCondLst>
                        <p:cond delay="indefinite"/>
                      </p:stCondLst>
                      <p:childTnLst>
                        <p:par>
                          <p:cTn id="109" fill="hold">
                            <p:stCondLst>
                              <p:cond delay="0"/>
                            </p:stCondLst>
                            <p:childTnLst>
                              <p:par>
                                <p:cTn id="110" presetID="22" presetClass="entr" presetSubtype="4" fill="hold" nodeType="clickEffect">
                                  <p:stCondLst>
                                    <p:cond delay="0"/>
                                  </p:stCondLst>
                                  <p:childTnLst>
                                    <p:set>
                                      <p:cBhvr>
                                        <p:cTn id="111" dur="1" fill="hold">
                                          <p:stCondLst>
                                            <p:cond delay="0"/>
                                          </p:stCondLst>
                                        </p:cTn>
                                        <p:tgtEl>
                                          <p:spTgt spid="82"/>
                                        </p:tgtEl>
                                        <p:attrNameLst>
                                          <p:attrName>style.visibility</p:attrName>
                                        </p:attrNameLst>
                                      </p:cBhvr>
                                      <p:to>
                                        <p:strVal val="visible"/>
                                      </p:to>
                                    </p:set>
                                    <p:animEffect transition="in" filter="wipe(down)">
                                      <p:cBhvr>
                                        <p:cTn id="112" dur="500"/>
                                        <p:tgtEl>
                                          <p:spTgt spid="82"/>
                                        </p:tgtEl>
                                      </p:cBhvr>
                                    </p:animEffect>
                                  </p:childTnLst>
                                </p:cTn>
                              </p:par>
                            </p:childTnLst>
                          </p:cTn>
                        </p:par>
                        <p:par>
                          <p:cTn id="113" fill="hold">
                            <p:stCondLst>
                              <p:cond delay="500"/>
                            </p:stCondLst>
                            <p:childTnLst>
                              <p:par>
                                <p:cTn id="114" presetID="22" presetClass="entr" presetSubtype="8" fill="hold" grpId="0" nodeType="afterEffect">
                                  <p:stCondLst>
                                    <p:cond delay="0"/>
                                  </p:stCondLst>
                                  <p:childTnLst>
                                    <p:set>
                                      <p:cBhvr>
                                        <p:cTn id="115" dur="1" fill="hold">
                                          <p:stCondLst>
                                            <p:cond delay="0"/>
                                          </p:stCondLst>
                                        </p:cTn>
                                        <p:tgtEl>
                                          <p:spTgt spid="68"/>
                                        </p:tgtEl>
                                        <p:attrNameLst>
                                          <p:attrName>style.visibility</p:attrName>
                                        </p:attrNameLst>
                                      </p:cBhvr>
                                      <p:to>
                                        <p:strVal val="visible"/>
                                      </p:to>
                                    </p:set>
                                    <p:animEffect transition="in" filter="wipe(left)">
                                      <p:cBhvr>
                                        <p:cTn id="116" dur="500"/>
                                        <p:tgtEl>
                                          <p:spTgt spid="68"/>
                                        </p:tgtEl>
                                      </p:cBhvr>
                                    </p:animEffect>
                                  </p:childTnLst>
                                </p:cTn>
                              </p:par>
                            </p:childTnLst>
                          </p:cTn>
                        </p:par>
                      </p:childTnLst>
                    </p:cTn>
                  </p:par>
                  <p:par>
                    <p:cTn id="117" fill="hold">
                      <p:stCondLst>
                        <p:cond delay="indefinite"/>
                      </p:stCondLst>
                      <p:childTnLst>
                        <p:par>
                          <p:cTn id="118" fill="hold">
                            <p:stCondLst>
                              <p:cond delay="0"/>
                            </p:stCondLst>
                            <p:childTnLst>
                              <p:par>
                                <p:cTn id="119" presetID="22" presetClass="entr" presetSubtype="4" fill="hold" nodeType="clickEffect">
                                  <p:stCondLst>
                                    <p:cond delay="0"/>
                                  </p:stCondLst>
                                  <p:childTnLst>
                                    <p:set>
                                      <p:cBhvr>
                                        <p:cTn id="120" dur="1" fill="hold">
                                          <p:stCondLst>
                                            <p:cond delay="0"/>
                                          </p:stCondLst>
                                        </p:cTn>
                                        <p:tgtEl>
                                          <p:spTgt spid="83"/>
                                        </p:tgtEl>
                                        <p:attrNameLst>
                                          <p:attrName>style.visibility</p:attrName>
                                        </p:attrNameLst>
                                      </p:cBhvr>
                                      <p:to>
                                        <p:strVal val="visible"/>
                                      </p:to>
                                    </p:set>
                                    <p:animEffect transition="in" filter="wipe(down)">
                                      <p:cBhvr>
                                        <p:cTn id="121" dur="500"/>
                                        <p:tgtEl>
                                          <p:spTgt spid="83"/>
                                        </p:tgtEl>
                                      </p:cBhvr>
                                    </p:animEffect>
                                  </p:childTnLst>
                                </p:cTn>
                              </p:par>
                            </p:childTnLst>
                          </p:cTn>
                        </p:par>
                        <p:par>
                          <p:cTn id="122" fill="hold">
                            <p:stCondLst>
                              <p:cond delay="500"/>
                            </p:stCondLst>
                            <p:childTnLst>
                              <p:par>
                                <p:cTn id="123" presetID="22" presetClass="entr" presetSubtype="8" fill="hold" grpId="0" nodeType="afterEffect">
                                  <p:stCondLst>
                                    <p:cond delay="0"/>
                                  </p:stCondLst>
                                  <p:childTnLst>
                                    <p:set>
                                      <p:cBhvr>
                                        <p:cTn id="124" dur="1" fill="hold">
                                          <p:stCondLst>
                                            <p:cond delay="0"/>
                                          </p:stCondLst>
                                        </p:cTn>
                                        <p:tgtEl>
                                          <p:spTgt spid="69"/>
                                        </p:tgtEl>
                                        <p:attrNameLst>
                                          <p:attrName>style.visibility</p:attrName>
                                        </p:attrNameLst>
                                      </p:cBhvr>
                                      <p:to>
                                        <p:strVal val="visible"/>
                                      </p:to>
                                    </p:set>
                                    <p:animEffect transition="in" filter="wipe(left)">
                                      <p:cBhvr>
                                        <p:cTn id="125" dur="500"/>
                                        <p:tgtEl>
                                          <p:spTgt spid="69"/>
                                        </p:tgtEl>
                                      </p:cBhvr>
                                    </p:animEffect>
                                  </p:childTnLst>
                                </p:cTn>
                              </p:par>
                            </p:childTnLst>
                          </p:cTn>
                        </p:par>
                      </p:childTnLst>
                    </p:cTn>
                  </p:par>
                  <p:par>
                    <p:cTn id="126" fill="hold">
                      <p:stCondLst>
                        <p:cond delay="indefinite"/>
                      </p:stCondLst>
                      <p:childTnLst>
                        <p:par>
                          <p:cTn id="127" fill="hold">
                            <p:stCondLst>
                              <p:cond delay="0"/>
                            </p:stCondLst>
                            <p:childTnLst>
                              <p:par>
                                <p:cTn id="128" presetID="22" presetClass="entr" presetSubtype="1" fill="hold" nodeType="clickEffect">
                                  <p:stCondLst>
                                    <p:cond delay="0"/>
                                  </p:stCondLst>
                                  <p:childTnLst>
                                    <p:set>
                                      <p:cBhvr>
                                        <p:cTn id="129" dur="1" fill="hold">
                                          <p:stCondLst>
                                            <p:cond delay="0"/>
                                          </p:stCondLst>
                                        </p:cTn>
                                        <p:tgtEl>
                                          <p:spTgt spid="84"/>
                                        </p:tgtEl>
                                        <p:attrNameLst>
                                          <p:attrName>style.visibility</p:attrName>
                                        </p:attrNameLst>
                                      </p:cBhvr>
                                      <p:to>
                                        <p:strVal val="visible"/>
                                      </p:to>
                                    </p:set>
                                    <p:animEffect transition="in" filter="wipe(up)">
                                      <p:cBhvr>
                                        <p:cTn id="130" dur="500"/>
                                        <p:tgtEl>
                                          <p:spTgt spid="84"/>
                                        </p:tgtEl>
                                      </p:cBhvr>
                                    </p:animEffect>
                                  </p:childTnLst>
                                </p:cTn>
                              </p:par>
                            </p:childTnLst>
                          </p:cTn>
                        </p:par>
                        <p:par>
                          <p:cTn id="131" fill="hold">
                            <p:stCondLst>
                              <p:cond delay="500"/>
                            </p:stCondLst>
                            <p:childTnLst>
                              <p:par>
                                <p:cTn id="132" presetID="22" presetClass="entr" presetSubtype="8" fill="hold" grpId="0" nodeType="afterEffect">
                                  <p:stCondLst>
                                    <p:cond delay="0"/>
                                  </p:stCondLst>
                                  <p:childTnLst>
                                    <p:set>
                                      <p:cBhvr>
                                        <p:cTn id="133" dur="1" fill="hold">
                                          <p:stCondLst>
                                            <p:cond delay="0"/>
                                          </p:stCondLst>
                                        </p:cTn>
                                        <p:tgtEl>
                                          <p:spTgt spid="70"/>
                                        </p:tgtEl>
                                        <p:attrNameLst>
                                          <p:attrName>style.visibility</p:attrName>
                                        </p:attrNameLst>
                                      </p:cBhvr>
                                      <p:to>
                                        <p:strVal val="visible"/>
                                      </p:to>
                                    </p:set>
                                    <p:animEffect transition="in" filter="wipe(left)">
                                      <p:cBhvr>
                                        <p:cTn id="134" dur="500"/>
                                        <p:tgtEl>
                                          <p:spTgt spid="70"/>
                                        </p:tgtEl>
                                      </p:cBhvr>
                                    </p:animEffect>
                                  </p:childTnLst>
                                </p:cTn>
                              </p:par>
                            </p:childTnLst>
                          </p:cTn>
                        </p:par>
                      </p:childTnLst>
                    </p:cTn>
                  </p:par>
                  <p:par>
                    <p:cTn id="135" fill="hold">
                      <p:stCondLst>
                        <p:cond delay="indefinite"/>
                      </p:stCondLst>
                      <p:childTnLst>
                        <p:par>
                          <p:cTn id="136" fill="hold">
                            <p:stCondLst>
                              <p:cond delay="0"/>
                            </p:stCondLst>
                            <p:childTnLst>
                              <p:par>
                                <p:cTn id="137" presetID="22" presetClass="entr" presetSubtype="4" fill="hold" nodeType="clickEffect">
                                  <p:stCondLst>
                                    <p:cond delay="0"/>
                                  </p:stCondLst>
                                  <p:childTnLst>
                                    <p:set>
                                      <p:cBhvr>
                                        <p:cTn id="138" dur="1" fill="hold">
                                          <p:stCondLst>
                                            <p:cond delay="0"/>
                                          </p:stCondLst>
                                        </p:cTn>
                                        <p:tgtEl>
                                          <p:spTgt spid="85"/>
                                        </p:tgtEl>
                                        <p:attrNameLst>
                                          <p:attrName>style.visibility</p:attrName>
                                        </p:attrNameLst>
                                      </p:cBhvr>
                                      <p:to>
                                        <p:strVal val="visible"/>
                                      </p:to>
                                    </p:set>
                                    <p:animEffect transition="in" filter="wipe(down)">
                                      <p:cBhvr>
                                        <p:cTn id="139" dur="500"/>
                                        <p:tgtEl>
                                          <p:spTgt spid="85"/>
                                        </p:tgtEl>
                                      </p:cBhvr>
                                    </p:animEffect>
                                  </p:childTnLst>
                                </p:cTn>
                              </p:par>
                            </p:childTnLst>
                          </p:cTn>
                        </p:par>
                        <p:par>
                          <p:cTn id="140" fill="hold">
                            <p:stCondLst>
                              <p:cond delay="500"/>
                            </p:stCondLst>
                            <p:childTnLst>
                              <p:par>
                                <p:cTn id="141" presetID="22" presetClass="entr" presetSubtype="8" fill="hold" nodeType="afterEffect">
                                  <p:stCondLst>
                                    <p:cond delay="0"/>
                                  </p:stCondLst>
                                  <p:childTnLst>
                                    <p:set>
                                      <p:cBhvr>
                                        <p:cTn id="142" dur="1" fill="hold">
                                          <p:stCondLst>
                                            <p:cond delay="0"/>
                                          </p:stCondLst>
                                        </p:cTn>
                                        <p:tgtEl>
                                          <p:spTgt spid="86"/>
                                        </p:tgtEl>
                                        <p:attrNameLst>
                                          <p:attrName>style.visibility</p:attrName>
                                        </p:attrNameLst>
                                      </p:cBhvr>
                                      <p:to>
                                        <p:strVal val="visible"/>
                                      </p:to>
                                    </p:set>
                                    <p:animEffect transition="in" filter="wipe(left)">
                                      <p:cBhvr>
                                        <p:cTn id="143" dur="500"/>
                                        <p:tgtEl>
                                          <p:spTgt spid="86"/>
                                        </p:tgtEl>
                                      </p:cBhvr>
                                    </p:animEffect>
                                  </p:childTnLst>
                                </p:cTn>
                              </p:par>
                            </p:childTnLst>
                          </p:cTn>
                        </p:par>
                        <p:par>
                          <p:cTn id="144" fill="hold">
                            <p:stCondLst>
                              <p:cond delay="1000"/>
                            </p:stCondLst>
                            <p:childTnLst>
                              <p:par>
                                <p:cTn id="145" presetID="22" presetClass="entr" presetSubtype="8" fill="hold" grpId="0" nodeType="afterEffect">
                                  <p:stCondLst>
                                    <p:cond delay="0"/>
                                  </p:stCondLst>
                                  <p:childTnLst>
                                    <p:set>
                                      <p:cBhvr>
                                        <p:cTn id="146" dur="1" fill="hold">
                                          <p:stCondLst>
                                            <p:cond delay="0"/>
                                          </p:stCondLst>
                                        </p:cTn>
                                        <p:tgtEl>
                                          <p:spTgt spid="71"/>
                                        </p:tgtEl>
                                        <p:attrNameLst>
                                          <p:attrName>style.visibility</p:attrName>
                                        </p:attrNameLst>
                                      </p:cBhvr>
                                      <p:to>
                                        <p:strVal val="visible"/>
                                      </p:to>
                                    </p:set>
                                    <p:animEffect transition="in" filter="wipe(left)">
                                      <p:cBhvr>
                                        <p:cTn id="147" dur="500"/>
                                        <p:tgtEl>
                                          <p:spTgt spid="71"/>
                                        </p:tgtEl>
                                      </p:cBhvr>
                                    </p:animEffect>
                                  </p:childTnLst>
                                </p:cTn>
                              </p:par>
                            </p:childTnLst>
                          </p:cTn>
                        </p:par>
                      </p:childTnLst>
                    </p:cTn>
                  </p:par>
                  <p:par>
                    <p:cTn id="148" fill="hold">
                      <p:stCondLst>
                        <p:cond delay="indefinite"/>
                      </p:stCondLst>
                      <p:childTnLst>
                        <p:par>
                          <p:cTn id="149" fill="hold">
                            <p:stCondLst>
                              <p:cond delay="0"/>
                            </p:stCondLst>
                            <p:childTnLst>
                              <p:par>
                                <p:cTn id="150" presetID="22" presetClass="entr" presetSubtype="4" fill="hold" nodeType="clickEffect">
                                  <p:stCondLst>
                                    <p:cond delay="0"/>
                                  </p:stCondLst>
                                  <p:childTnLst>
                                    <p:set>
                                      <p:cBhvr>
                                        <p:cTn id="151" dur="1" fill="hold">
                                          <p:stCondLst>
                                            <p:cond delay="0"/>
                                          </p:stCondLst>
                                        </p:cTn>
                                        <p:tgtEl>
                                          <p:spTgt spid="87"/>
                                        </p:tgtEl>
                                        <p:attrNameLst>
                                          <p:attrName>style.visibility</p:attrName>
                                        </p:attrNameLst>
                                      </p:cBhvr>
                                      <p:to>
                                        <p:strVal val="visible"/>
                                      </p:to>
                                    </p:set>
                                    <p:animEffect transition="in" filter="wipe(down)">
                                      <p:cBhvr>
                                        <p:cTn id="152" dur="500"/>
                                        <p:tgtEl>
                                          <p:spTgt spid="87"/>
                                        </p:tgtEl>
                                      </p:cBhvr>
                                    </p:animEffect>
                                  </p:childTnLst>
                                </p:cTn>
                              </p:par>
                            </p:childTnLst>
                          </p:cTn>
                        </p:par>
                        <p:par>
                          <p:cTn id="153" fill="hold">
                            <p:stCondLst>
                              <p:cond delay="500"/>
                            </p:stCondLst>
                            <p:childTnLst>
                              <p:par>
                                <p:cTn id="154" presetID="22" presetClass="entr" presetSubtype="1" fill="hold" nodeType="afterEffect">
                                  <p:stCondLst>
                                    <p:cond delay="0"/>
                                  </p:stCondLst>
                                  <p:childTnLst>
                                    <p:set>
                                      <p:cBhvr>
                                        <p:cTn id="155" dur="1" fill="hold">
                                          <p:stCondLst>
                                            <p:cond delay="0"/>
                                          </p:stCondLst>
                                        </p:cTn>
                                        <p:tgtEl>
                                          <p:spTgt spid="88"/>
                                        </p:tgtEl>
                                        <p:attrNameLst>
                                          <p:attrName>style.visibility</p:attrName>
                                        </p:attrNameLst>
                                      </p:cBhvr>
                                      <p:to>
                                        <p:strVal val="visible"/>
                                      </p:to>
                                    </p:set>
                                    <p:animEffect transition="in" filter="wipe(up)">
                                      <p:cBhvr>
                                        <p:cTn id="156" dur="500"/>
                                        <p:tgtEl>
                                          <p:spTgt spid="88"/>
                                        </p:tgtEl>
                                      </p:cBhvr>
                                    </p:animEffect>
                                  </p:childTnLst>
                                </p:cTn>
                              </p:par>
                            </p:childTnLst>
                          </p:cTn>
                        </p:par>
                        <p:par>
                          <p:cTn id="157" fill="hold">
                            <p:stCondLst>
                              <p:cond delay="1000"/>
                            </p:stCondLst>
                            <p:childTnLst>
                              <p:par>
                                <p:cTn id="158" presetID="22" presetClass="entr" presetSubtype="8" fill="hold" grpId="0" nodeType="afterEffect">
                                  <p:stCondLst>
                                    <p:cond delay="0"/>
                                  </p:stCondLst>
                                  <p:childTnLst>
                                    <p:set>
                                      <p:cBhvr>
                                        <p:cTn id="159" dur="1" fill="hold">
                                          <p:stCondLst>
                                            <p:cond delay="0"/>
                                          </p:stCondLst>
                                        </p:cTn>
                                        <p:tgtEl>
                                          <p:spTgt spid="72"/>
                                        </p:tgtEl>
                                        <p:attrNameLst>
                                          <p:attrName>style.visibility</p:attrName>
                                        </p:attrNameLst>
                                      </p:cBhvr>
                                      <p:to>
                                        <p:strVal val="visible"/>
                                      </p:to>
                                    </p:set>
                                    <p:animEffect transition="in" filter="wipe(left)">
                                      <p:cBhvr>
                                        <p:cTn id="160"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8" grpId="0" animBg="1"/>
      <p:bldP spid="49" grpId="0" animBg="1"/>
      <p:bldP spid="50" grpId="0" animBg="1"/>
      <p:bldP spid="52" grpId="0" animBg="1"/>
      <p:bldP spid="53" grpId="0" animBg="1"/>
      <p:bldP spid="54" grpId="0" animBg="1"/>
      <p:bldP spid="51" grpId="0" animBg="1"/>
      <p:bldP spid="55" grpId="0" animBg="1"/>
      <p:bldP spid="68" grpId="0" animBg="1"/>
      <p:bldP spid="69" grpId="0" animBg="1"/>
      <p:bldP spid="70" grpId="0" animBg="1"/>
      <p:bldP spid="71" grpId="0" animBg="1"/>
      <p:bldP spid="72" grpId="0" animBg="1"/>
      <p:bldP spid="73" grpId="0" animBg="1"/>
      <p:bldP spid="74" grpId="0" animBg="1"/>
      <p:bldP spid="75" grpId="0" animBg="1"/>
      <p:bldP spid="76" grpId="0" animBg="1"/>
      <p:bldP spid="2" grpId="0"/>
      <p:bldP spid="3" grpId="0"/>
      <p:bldP spid="89" grpId="0"/>
      <p:bldP spid="4" grpId="0"/>
      <p:bldP spid="90"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Box 4"/>
          <p:cNvSpPr txBox="1">
            <a:spLocks noChangeArrowheads="1"/>
          </p:cNvSpPr>
          <p:nvPr/>
        </p:nvSpPr>
        <p:spPr bwMode="auto">
          <a:xfrm>
            <a:off x="237230" y="5859128"/>
            <a:ext cx="3571875" cy="400050"/>
          </a:xfrm>
          <a:prstGeom prst="rect">
            <a:avLst/>
          </a:prstGeom>
          <a:noFill/>
          <a:ln w="9525">
            <a:noFill/>
            <a:miter lim="800000"/>
            <a:headEnd/>
            <a:tailEnd/>
          </a:ln>
        </p:spPr>
        <p:txBody>
          <a:bodyPr wrap="none">
            <a:spAutoFit/>
          </a:bodyPr>
          <a:lstStyle/>
          <a:p>
            <a:r>
              <a:rPr lang="en-US" sz="2000" b="1">
                <a:latin typeface="Arial"/>
              </a:rPr>
              <a:t>China : Factory of the world</a:t>
            </a:r>
            <a:endParaRPr lang="th-TH" sz="2000" b="1">
              <a:latin typeface="Arial"/>
            </a:endParaRPr>
          </a:p>
        </p:txBody>
      </p:sp>
      <p:sp>
        <p:nvSpPr>
          <p:cNvPr id="21507" name="TextBox 5"/>
          <p:cNvSpPr txBox="1">
            <a:spLocks noChangeArrowheads="1"/>
          </p:cNvSpPr>
          <p:nvPr/>
        </p:nvSpPr>
        <p:spPr bwMode="auto">
          <a:xfrm>
            <a:off x="322955" y="6211553"/>
            <a:ext cx="4538663" cy="400050"/>
          </a:xfrm>
          <a:prstGeom prst="rect">
            <a:avLst/>
          </a:prstGeom>
          <a:noFill/>
          <a:ln w="9525">
            <a:noFill/>
            <a:miter lim="800000"/>
            <a:headEnd/>
            <a:tailEnd/>
          </a:ln>
        </p:spPr>
        <p:txBody>
          <a:bodyPr wrap="none">
            <a:spAutoFit/>
          </a:bodyPr>
          <a:lstStyle/>
          <a:p>
            <a:r>
              <a:rPr lang="en-US" sz="2000" b="1" dirty="0">
                <a:latin typeface="Arial"/>
              </a:rPr>
              <a:t>India : Service provider of the world</a:t>
            </a:r>
            <a:endParaRPr lang="th-TH" sz="2000" b="1" dirty="0">
              <a:latin typeface="Arial"/>
            </a:endParaRPr>
          </a:p>
        </p:txBody>
      </p:sp>
      <p:pic>
        <p:nvPicPr>
          <p:cNvPr id="7" name="Picture 2" descr="http://www.bloggang.com/data/kanapo/picture/1184651670.jpg"/>
          <p:cNvPicPr>
            <a:picLocks noChangeAspect="1" noChangeArrowheads="1"/>
          </p:cNvPicPr>
          <p:nvPr/>
        </p:nvPicPr>
        <p:blipFill>
          <a:blip r:embed="rId3" cstate="print"/>
          <a:srcRect/>
          <a:stretch>
            <a:fillRect/>
          </a:stretch>
        </p:blipFill>
        <p:spPr bwMode="auto">
          <a:xfrm>
            <a:off x="6241482" y="819964"/>
            <a:ext cx="2761028" cy="4102100"/>
          </a:xfrm>
          <a:prstGeom prst="rect">
            <a:avLst/>
          </a:prstGeom>
          <a:solidFill>
            <a:srgbClr val="FFFFFF">
              <a:shade val="85000"/>
            </a:srgbClr>
          </a:solidFill>
          <a:ln w="190500" cap="rnd">
            <a:solidFill>
              <a:srgbClr val="FFFFFF"/>
            </a:solidFill>
          </a:ln>
          <a:effectLst>
            <a:outerShdw blurRad="36195" dist="12700" dir="11400000" algn="tl" rotWithShape="0">
              <a:srgbClr val="000000">
                <a:alpha val="33000"/>
              </a:srgbClr>
            </a:outerShdw>
          </a:effectLst>
          <a:scene3d>
            <a:camera prst="perspectiveContrastingLeftFacing">
              <a:rot lat="540000" lon="2100000" rev="0"/>
            </a:camera>
            <a:lightRig rig="soft" dir="t"/>
          </a:scene3d>
          <a:sp3d contourW="12700" prstMaterial="matte">
            <a:bevelT w="63500" h="50800"/>
            <a:contourClr>
              <a:srgbClr val="C0C0C0"/>
            </a:contourClr>
          </a:sp3d>
        </p:spPr>
      </p:pic>
      <p:sp>
        <p:nvSpPr>
          <p:cNvPr id="21509" name="Rectangle 1"/>
          <p:cNvSpPr>
            <a:spLocks noChangeArrowheads="1"/>
          </p:cNvSpPr>
          <p:nvPr/>
        </p:nvSpPr>
        <p:spPr bwMode="auto">
          <a:xfrm>
            <a:off x="-35510" y="1737102"/>
            <a:ext cx="4927601" cy="4031873"/>
          </a:xfrm>
          <a:prstGeom prst="rect">
            <a:avLst/>
          </a:prstGeom>
          <a:noFill/>
          <a:ln w="9525">
            <a:noFill/>
            <a:miter lim="800000"/>
            <a:headEnd/>
            <a:tailEnd/>
          </a:ln>
        </p:spPr>
        <p:txBody>
          <a:bodyPr anchor="ctr">
            <a:spAutoFit/>
          </a:bodyPr>
          <a:lstStyle/>
          <a:p>
            <a:pPr algn="ctr"/>
            <a:r>
              <a:rPr lang="th-TH" sz="3200" b="1" u="sng" dirty="0" smtClean="0">
                <a:solidFill>
                  <a:srgbClr val="002060"/>
                </a:solidFill>
                <a:latin typeface="Angsana New" pitchFamily="18" charset="-34"/>
              </a:rPr>
              <a:t>อดีตนายก</a:t>
            </a:r>
            <a:r>
              <a:rPr lang="th-TH" sz="3200" b="1" u="sng" dirty="0">
                <a:solidFill>
                  <a:srgbClr val="002060"/>
                </a:solidFill>
                <a:latin typeface="Angsana New" pitchFamily="18" charset="-34"/>
              </a:rPr>
              <a:t>ฯเหวินเจียเป่าของจีน</a:t>
            </a:r>
          </a:p>
          <a:p>
            <a:pPr algn="ctr"/>
            <a:r>
              <a:rPr lang="th-TH" sz="3200" dirty="0">
                <a:solidFill>
                  <a:srgbClr val="002060"/>
                </a:solidFill>
                <a:latin typeface="Angsana New" pitchFamily="18" charset="-34"/>
              </a:rPr>
              <a:t>ไปเยือนบังกาลอร์ซึ่งเป็นเมือง</a:t>
            </a:r>
          </a:p>
          <a:p>
            <a:pPr algn="ctr"/>
            <a:r>
              <a:rPr lang="th-TH" sz="3200" dirty="0">
                <a:solidFill>
                  <a:srgbClr val="002060"/>
                </a:solidFill>
                <a:latin typeface="Angsana New" pitchFamily="18" charset="-34"/>
              </a:rPr>
              <a:t>โด่งดังทางไอทีของอินเดีย</a:t>
            </a:r>
          </a:p>
          <a:p>
            <a:pPr algn="ctr"/>
            <a:r>
              <a:rPr lang="th-TH" sz="3200" b="1" dirty="0">
                <a:solidFill>
                  <a:srgbClr val="002060"/>
                </a:solidFill>
                <a:latin typeface="Angsana New" pitchFamily="18" charset="-34"/>
              </a:rPr>
              <a:t>ประกาศว่าจีนกับอินเดียจะเป็น</a:t>
            </a:r>
            <a:r>
              <a:rPr lang="en-US" sz="3200" b="1" dirty="0">
                <a:solidFill>
                  <a:srgbClr val="002060"/>
                </a:solidFill>
                <a:latin typeface="Angsana New" pitchFamily="18" charset="-34"/>
              </a:rPr>
              <a:t> </a:t>
            </a:r>
          </a:p>
          <a:p>
            <a:pPr algn="ctr"/>
            <a:r>
              <a:rPr lang="en-US" sz="3200" b="1" dirty="0">
                <a:solidFill>
                  <a:srgbClr val="002060"/>
                </a:solidFill>
                <a:latin typeface="Angsana New" pitchFamily="18" charset="-34"/>
              </a:rPr>
              <a:t>“</a:t>
            </a:r>
            <a:r>
              <a:rPr lang="th-TH" sz="3200" b="1" u="sng" dirty="0">
                <a:solidFill>
                  <a:srgbClr val="002060"/>
                </a:solidFill>
                <a:latin typeface="Angsana New" pitchFamily="18" charset="-34"/>
              </a:rPr>
              <a:t>สองเสาหลักแห่งพลังทางเศรษฐกิจแห่งศตวรรษที่ ๒๑</a:t>
            </a:r>
            <a:r>
              <a:rPr lang="en-US" sz="3200" b="1" dirty="0">
                <a:solidFill>
                  <a:srgbClr val="002060"/>
                </a:solidFill>
                <a:latin typeface="Angsana New" pitchFamily="18" charset="-34"/>
              </a:rPr>
              <a:t>”</a:t>
            </a:r>
            <a:endParaRPr lang="th-TH" sz="3200" b="1" dirty="0">
              <a:solidFill>
                <a:srgbClr val="002060"/>
              </a:solidFill>
              <a:latin typeface="Angsana New" pitchFamily="18" charset="-34"/>
            </a:endParaRPr>
          </a:p>
          <a:p>
            <a:pPr algn="ctr"/>
            <a:r>
              <a:rPr lang="th-TH" sz="3200" b="1" dirty="0">
                <a:solidFill>
                  <a:srgbClr val="002060"/>
                </a:solidFill>
                <a:latin typeface="Angsana New" pitchFamily="18" charset="-34"/>
              </a:rPr>
              <a:t>โดยที่จีนจะเน้นเรื่อง</a:t>
            </a:r>
            <a:r>
              <a:rPr lang="en-US" sz="3200" b="1" dirty="0">
                <a:solidFill>
                  <a:srgbClr val="002060"/>
                </a:solidFill>
                <a:latin typeface="Angsana New" pitchFamily="18" charset="-34"/>
              </a:rPr>
              <a:t> </a:t>
            </a:r>
            <a:r>
              <a:rPr lang="en-US" sz="3200" b="1" u="sng" dirty="0">
                <a:solidFill>
                  <a:srgbClr val="002060"/>
                </a:solidFill>
                <a:latin typeface="Angsana New" pitchFamily="18" charset="-34"/>
              </a:rPr>
              <a:t>hardware </a:t>
            </a:r>
            <a:endParaRPr lang="th-TH" sz="3200" b="1" u="sng" dirty="0">
              <a:solidFill>
                <a:srgbClr val="002060"/>
              </a:solidFill>
              <a:latin typeface="Angsana New" pitchFamily="18" charset="-34"/>
            </a:endParaRPr>
          </a:p>
          <a:p>
            <a:pPr algn="ctr"/>
            <a:r>
              <a:rPr lang="th-TH" sz="3200" b="1" dirty="0">
                <a:solidFill>
                  <a:srgbClr val="002060"/>
                </a:solidFill>
                <a:latin typeface="Angsana New" pitchFamily="18" charset="-34"/>
              </a:rPr>
              <a:t>และอินเดียมุ่งไปทางด้าน </a:t>
            </a:r>
            <a:r>
              <a:rPr lang="en-US" sz="3200" b="1" u="sng" dirty="0">
                <a:solidFill>
                  <a:srgbClr val="002060"/>
                </a:solidFill>
                <a:latin typeface="Angsana New" pitchFamily="18" charset="-34"/>
              </a:rPr>
              <a:t>software</a:t>
            </a:r>
            <a:endParaRPr lang="en-US" sz="3200" dirty="0">
              <a:solidFill>
                <a:srgbClr val="002060"/>
              </a:solidFill>
              <a:latin typeface="Angsana New" pitchFamily="18" charset="-34"/>
            </a:endParaRPr>
          </a:p>
        </p:txBody>
      </p:sp>
      <p:sp>
        <p:nvSpPr>
          <p:cNvPr id="21510" name="TextBox 4"/>
          <p:cNvSpPr txBox="1">
            <a:spLocks noChangeArrowheads="1"/>
          </p:cNvSpPr>
          <p:nvPr/>
        </p:nvSpPr>
        <p:spPr bwMode="auto">
          <a:xfrm>
            <a:off x="5395913" y="5532438"/>
            <a:ext cx="3735387" cy="830262"/>
          </a:xfrm>
          <a:prstGeom prst="rect">
            <a:avLst/>
          </a:prstGeom>
          <a:noFill/>
          <a:ln w="9525">
            <a:noFill/>
            <a:miter lim="800000"/>
            <a:headEnd/>
            <a:tailEnd/>
          </a:ln>
        </p:spPr>
        <p:txBody>
          <a:bodyPr>
            <a:spAutoFit/>
          </a:bodyPr>
          <a:lstStyle/>
          <a:p>
            <a:pPr algn="r"/>
            <a:r>
              <a:rPr lang="th-TH" sz="2400" b="1" dirty="0">
                <a:solidFill>
                  <a:prstClr val="white"/>
                </a:solidFill>
                <a:latin typeface="Angsana New" pitchFamily="18" charset="-34"/>
              </a:rPr>
              <a:t>แหล่งข้อมูล </a:t>
            </a:r>
            <a:r>
              <a:rPr lang="en-US" sz="2400" b="1" dirty="0">
                <a:solidFill>
                  <a:prstClr val="white"/>
                </a:solidFill>
                <a:latin typeface="Angsana New" pitchFamily="18" charset="-34"/>
              </a:rPr>
              <a:t>:</a:t>
            </a:r>
            <a:r>
              <a:rPr lang="th-TH" sz="2400" b="1" dirty="0">
                <a:solidFill>
                  <a:prstClr val="white"/>
                </a:solidFill>
                <a:latin typeface="Angsana New" pitchFamily="18" charset="-34"/>
              </a:rPr>
              <a:t> สุทธิชัย หยุ่น </a:t>
            </a:r>
            <a:r>
              <a:rPr lang="en-US" sz="2400" b="1" dirty="0">
                <a:solidFill>
                  <a:prstClr val="white"/>
                </a:solidFill>
                <a:latin typeface="Angsana New" pitchFamily="18" charset="-34"/>
              </a:rPr>
              <a:t>nation group </a:t>
            </a:r>
          </a:p>
          <a:p>
            <a:pPr algn="r"/>
            <a:r>
              <a:rPr lang="th-TH" sz="2400" b="1" dirty="0">
                <a:solidFill>
                  <a:prstClr val="white"/>
                </a:solidFill>
                <a:latin typeface="Angsana New" pitchFamily="18" charset="-34"/>
              </a:rPr>
              <a:t>              	    นิติภูมิ  เนาวรัตน์</a:t>
            </a:r>
          </a:p>
        </p:txBody>
      </p:sp>
      <p:pic>
        <p:nvPicPr>
          <p:cNvPr id="10" name="Picture 10" descr="China and India cover">
            <a:hlinkClick r:id="rId4"/>
          </p:cNvPr>
          <p:cNvPicPr>
            <a:picLocks noChangeAspect="1" noChangeArrowheads="1"/>
          </p:cNvPicPr>
          <p:nvPr/>
        </p:nvPicPr>
        <p:blipFill>
          <a:blip r:embed="rId5" cstate="print"/>
          <a:srcRect/>
          <a:stretch>
            <a:fillRect/>
          </a:stretch>
        </p:blipFill>
        <p:spPr bwMode="auto">
          <a:xfrm>
            <a:off x="4672884" y="2618165"/>
            <a:ext cx="2185706" cy="2914273"/>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
        <p:nvSpPr>
          <p:cNvPr id="11" name="Title 5"/>
          <p:cNvSpPr txBox="1">
            <a:spLocks/>
          </p:cNvSpPr>
          <p:nvPr/>
        </p:nvSpPr>
        <p:spPr bwMode="auto">
          <a:xfrm>
            <a:off x="8645" y="746502"/>
            <a:ext cx="4500650" cy="990600"/>
          </a:xfrm>
          <a:prstGeom prst="rect">
            <a:avLst/>
          </a:prstGeom>
          <a:solidFill>
            <a:srgbClr val="FF4611"/>
          </a:solidFill>
          <a:ln>
            <a:headEnd/>
            <a:tailEnd/>
          </a:ln>
        </p:spPr>
        <p:style>
          <a:lnRef idx="1">
            <a:schemeClr val="accent1"/>
          </a:lnRef>
          <a:fillRef idx="2">
            <a:schemeClr val="accent1"/>
          </a:fillRef>
          <a:effectRef idx="1">
            <a:schemeClr val="accent1"/>
          </a:effectRef>
          <a:fontRef idx="minor">
            <a:schemeClr val="dk1"/>
          </a:fontRef>
        </p:style>
        <p:txBody>
          <a:bodyPr anchor="ctr"/>
          <a:lstStyle/>
          <a:p>
            <a:pPr algn="ctr" eaLnBrk="0" hangingPunct="0">
              <a:defRPr/>
            </a:pPr>
            <a:r>
              <a:rPr lang="en-US" b="1" kern="0" dirty="0">
                <a:solidFill>
                  <a:schemeClr val="bg1"/>
                </a:solidFill>
                <a:effectLst>
                  <a:outerShdw blurRad="38100" dist="38100" dir="2700000" algn="tl">
                    <a:srgbClr val="000000">
                      <a:alpha val="43137"/>
                    </a:srgbClr>
                  </a:outerShdw>
                </a:effectLst>
                <a:latin typeface="AngsanaUPC" panose="02020603050405020304" pitchFamily="18" charset="-34"/>
                <a:cs typeface="AngsanaUPC" panose="02020603050405020304" pitchFamily="18" charset="-34"/>
              </a:rPr>
              <a:t>China + India</a:t>
            </a:r>
            <a:r>
              <a:rPr lang="th-TH" b="1" kern="0" dirty="0">
                <a:solidFill>
                  <a:schemeClr val="bg1"/>
                </a:solidFill>
                <a:effectLst>
                  <a:outerShdw blurRad="38100" dist="38100" dir="2700000" algn="tl">
                    <a:srgbClr val="000000">
                      <a:alpha val="43137"/>
                    </a:srgbClr>
                  </a:outerShdw>
                </a:effectLst>
                <a:latin typeface="AngsanaUPC" panose="02020603050405020304" pitchFamily="18" charset="-34"/>
                <a:cs typeface="AngsanaUPC" panose="02020603050405020304" pitchFamily="18" charset="-34"/>
              </a:rPr>
              <a:t/>
            </a:r>
            <a:br>
              <a:rPr lang="th-TH" b="1" kern="0" dirty="0">
                <a:solidFill>
                  <a:schemeClr val="bg1"/>
                </a:solidFill>
                <a:effectLst>
                  <a:outerShdw blurRad="38100" dist="38100" dir="2700000" algn="tl">
                    <a:srgbClr val="000000">
                      <a:alpha val="43137"/>
                    </a:srgbClr>
                  </a:outerShdw>
                </a:effectLst>
                <a:latin typeface="AngsanaUPC" panose="02020603050405020304" pitchFamily="18" charset="-34"/>
                <a:cs typeface="AngsanaUPC" panose="02020603050405020304" pitchFamily="18" charset="-34"/>
              </a:rPr>
            </a:br>
            <a:r>
              <a:rPr lang="en-US" b="1" dirty="0">
                <a:solidFill>
                  <a:schemeClr val="bg1"/>
                </a:solidFill>
                <a:effectLst>
                  <a:outerShdw blurRad="38100" dist="38100" dir="2700000" algn="tl">
                    <a:srgbClr val="000000">
                      <a:alpha val="43137"/>
                    </a:srgbClr>
                  </a:outerShdw>
                </a:effectLst>
                <a:latin typeface="AngsanaUPC" panose="02020603050405020304" pitchFamily="18" charset="-34"/>
                <a:cs typeface="AngsanaUPC" panose="02020603050405020304" pitchFamily="18" charset="-34"/>
              </a:rPr>
              <a:t>The China-India (</a:t>
            </a:r>
            <a:r>
              <a:rPr lang="en-US" b="1" dirty="0" err="1">
                <a:solidFill>
                  <a:schemeClr val="bg1"/>
                </a:solidFill>
                <a:effectLst>
                  <a:outerShdw blurRad="38100" dist="38100" dir="2700000" algn="tl">
                    <a:srgbClr val="000000">
                      <a:alpha val="43137"/>
                    </a:srgbClr>
                  </a:outerShdw>
                </a:effectLst>
                <a:latin typeface="AngsanaUPC" panose="02020603050405020304" pitchFamily="18" charset="-34"/>
                <a:cs typeface="AngsanaUPC" panose="02020603050405020304" pitchFamily="18" charset="-34"/>
              </a:rPr>
              <a:t>Chindia</a:t>
            </a:r>
            <a:r>
              <a:rPr lang="en-US" b="1" dirty="0">
                <a:solidFill>
                  <a:schemeClr val="bg1"/>
                </a:solidFill>
                <a:effectLst>
                  <a:outerShdw blurRad="38100" dist="38100" dir="2700000" algn="tl">
                    <a:srgbClr val="000000">
                      <a:alpha val="43137"/>
                    </a:srgbClr>
                  </a:outerShdw>
                </a:effectLst>
                <a:latin typeface="AngsanaUPC" panose="02020603050405020304" pitchFamily="18" charset="-34"/>
                <a:cs typeface="AngsanaUPC" panose="02020603050405020304" pitchFamily="18" charset="-34"/>
              </a:rPr>
              <a:t>) Century</a:t>
            </a:r>
            <a:endParaRPr lang="th-TH" b="1" dirty="0">
              <a:solidFill>
                <a:schemeClr val="bg1"/>
              </a:solidFill>
              <a:effectLst>
                <a:outerShdw blurRad="38100" dist="38100" dir="2700000" algn="tl">
                  <a:srgbClr val="000000">
                    <a:alpha val="43137"/>
                  </a:srgbClr>
                </a:outerShdw>
              </a:effectLst>
              <a:latin typeface="AngsanaUPC" panose="02020603050405020304" pitchFamily="18" charset="-34"/>
              <a:cs typeface="AngsanaUPC" panose="02020603050405020304" pitchFamily="18" charset="-34"/>
            </a:endParaRPr>
          </a:p>
        </p:txBody>
      </p:sp>
      <p:sp>
        <p:nvSpPr>
          <p:cNvPr id="12" name="Rectangle 11"/>
          <p:cNvSpPr/>
          <p:nvPr/>
        </p:nvSpPr>
        <p:spPr>
          <a:xfrm>
            <a:off x="8644" y="14492"/>
            <a:ext cx="8980637" cy="615553"/>
          </a:xfrm>
          <a:prstGeom prst="rect">
            <a:avLst/>
          </a:prstGeom>
          <a:solidFill>
            <a:srgbClr val="FF4611"/>
          </a:solidFill>
        </p:spPr>
        <p:style>
          <a:lnRef idx="1">
            <a:schemeClr val="accent2"/>
          </a:lnRef>
          <a:fillRef idx="3">
            <a:schemeClr val="accent2"/>
          </a:fillRef>
          <a:effectRef idx="2">
            <a:schemeClr val="accent2"/>
          </a:effectRef>
          <a:fontRef idx="minor">
            <a:schemeClr val="lt1"/>
          </a:fontRef>
        </p:style>
        <p:txBody>
          <a:bodyPr wrap="square">
            <a:spAutoFit/>
          </a:bodyPr>
          <a:lstStyle/>
          <a:p>
            <a:pPr algn="ctr">
              <a:lnSpc>
                <a:spcPts val="4000"/>
              </a:lnSpc>
              <a:defRPr/>
            </a:pPr>
            <a:r>
              <a:rPr lang="th-TH" sz="3600" b="1" kern="0" dirty="0">
                <a:solidFill>
                  <a:schemeClr val="bg1"/>
                </a:solidFill>
                <a:latin typeface="Angsana New" pitchFamily="18" charset="-34"/>
                <a:cs typeface="Angsana New" pitchFamily="18" charset="-34"/>
              </a:rPr>
              <a:t>บทบาทและยุทธศาสตร์จีนที่ต้องจับตามอง</a:t>
            </a:r>
          </a:p>
        </p:txBody>
      </p:sp>
    </p:spTree>
    <p:extLst>
      <p:ext uri="{BB962C8B-B14F-4D97-AF65-F5344CB8AC3E}">
        <p14:creationId xmlns:p14="http://schemas.microsoft.com/office/powerpoint/2010/main" val="372710447"/>
      </p:ext>
    </p:extLst>
  </p:cSld>
  <p:clrMapOvr>
    <a:masterClrMapping/>
  </p:clrMapOvr>
  <p:transition>
    <p:fade thruBlk="1"/>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45" descr="china-india-map.gif"/>
          <p:cNvPicPr>
            <a:picLocks noChangeAspect="1"/>
          </p:cNvPicPr>
          <p:nvPr/>
        </p:nvPicPr>
        <p:blipFill>
          <a:blip r:embed="rId3" cstate="print"/>
          <a:srcRect/>
          <a:stretch>
            <a:fillRect/>
          </a:stretch>
        </p:blipFill>
        <p:spPr bwMode="auto">
          <a:xfrm>
            <a:off x="1912938" y="1155700"/>
            <a:ext cx="5387951" cy="3847706"/>
          </a:xfrm>
          <a:prstGeom prst="rect">
            <a:avLst/>
          </a:prstGeom>
          <a:noFill/>
          <a:ln w="9525">
            <a:noFill/>
            <a:miter lim="800000"/>
            <a:headEnd/>
            <a:tailEnd/>
          </a:ln>
        </p:spPr>
      </p:pic>
      <p:pic>
        <p:nvPicPr>
          <p:cNvPr id="47" name="Picture 2" descr="http://www.kidsdomain.com/holiday/winter/color/dragon90.gif"/>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5655010" y="1346200"/>
            <a:ext cx="1912937" cy="2552700"/>
          </a:xfrm>
          <a:prstGeom prst="rect">
            <a:avLst/>
          </a:prstGeom>
          <a:noFill/>
          <a:ln w="9525">
            <a:noFill/>
            <a:miter lim="800000"/>
            <a:headEnd/>
            <a:tailEnd/>
          </a:ln>
        </p:spPr>
      </p:pic>
      <p:pic>
        <p:nvPicPr>
          <p:cNvPr id="48" name="Picture 47" descr="tiger.png"/>
          <p:cNvPicPr>
            <a:picLocks noChangeAspect="1"/>
          </p:cNvPicPr>
          <p:nvPr/>
        </p:nvPicPr>
        <p:blipFill>
          <a:blip r:embed="rId5" cstate="print">
            <a:duotone>
              <a:prstClr val="black"/>
              <a:srgbClr val="FFC000">
                <a:tint val="45000"/>
                <a:satMod val="400000"/>
              </a:srgbClr>
            </a:duotone>
          </a:blip>
          <a:stretch>
            <a:fillRect/>
          </a:stretch>
        </p:blipFill>
        <p:spPr>
          <a:xfrm flipH="1">
            <a:off x="1905319" y="3598483"/>
            <a:ext cx="2519677" cy="1385196"/>
          </a:xfrm>
          <a:prstGeom prst="rect">
            <a:avLst/>
          </a:prstGeom>
        </p:spPr>
      </p:pic>
      <p:grpSp>
        <p:nvGrpSpPr>
          <p:cNvPr id="2" name="Group 48"/>
          <p:cNvGrpSpPr>
            <a:grpSpLocks/>
          </p:cNvGrpSpPr>
          <p:nvPr/>
        </p:nvGrpSpPr>
        <p:grpSpPr bwMode="auto">
          <a:xfrm>
            <a:off x="-89079" y="50800"/>
            <a:ext cx="2006600" cy="2336800"/>
            <a:chOff x="-76200" y="50800"/>
            <a:chExt cx="2006600" cy="2336800"/>
          </a:xfrm>
        </p:grpSpPr>
        <p:sp>
          <p:nvSpPr>
            <p:cNvPr id="22559" name="Rectangle 49"/>
            <p:cNvSpPr>
              <a:spLocks noChangeArrowheads="1"/>
            </p:cNvSpPr>
            <p:nvPr/>
          </p:nvSpPr>
          <p:spPr bwMode="auto">
            <a:xfrm>
              <a:off x="-76200" y="76200"/>
              <a:ext cx="2006600" cy="2246769"/>
            </a:xfrm>
            <a:prstGeom prst="rect">
              <a:avLst/>
            </a:prstGeom>
            <a:noFill/>
            <a:ln w="9525">
              <a:noFill/>
              <a:miter lim="800000"/>
              <a:headEnd/>
              <a:tailEnd/>
            </a:ln>
          </p:spPr>
          <p:txBody>
            <a:bodyPr>
              <a:spAutoFit/>
            </a:bodyPr>
            <a:lstStyle/>
            <a:p>
              <a:pPr algn="ctr"/>
              <a:r>
                <a:rPr lang="th-TH" b="1" dirty="0">
                  <a:solidFill>
                    <a:srgbClr val="0070C0"/>
                  </a:solidFill>
                  <a:latin typeface="AngsanaUPC" pitchFamily="18" charset="-34"/>
                </a:rPr>
                <a:t>ประชากรของ</a:t>
              </a:r>
            </a:p>
            <a:p>
              <a:pPr algn="ctr"/>
              <a:r>
                <a:rPr lang="th-TH" b="1" dirty="0">
                  <a:solidFill>
                    <a:srgbClr val="0070C0"/>
                  </a:solidFill>
                  <a:latin typeface="AngsanaUPC" pitchFamily="18" charset="-34"/>
                </a:rPr>
                <a:t>จีน </a:t>
              </a:r>
              <a:r>
                <a:rPr lang="en-US" b="1" u="sng" dirty="0" smtClean="0">
                  <a:solidFill>
                    <a:srgbClr val="0070C0"/>
                  </a:solidFill>
                  <a:latin typeface="AngsanaUPC" pitchFamily="18" charset="-34"/>
                </a:rPr>
                <a:t>1,379 </a:t>
              </a:r>
              <a:r>
                <a:rPr lang="th-TH" b="1" u="sng" dirty="0">
                  <a:solidFill>
                    <a:srgbClr val="0070C0"/>
                  </a:solidFill>
                  <a:latin typeface="AngsanaUPC" pitchFamily="18" charset="-34"/>
                </a:rPr>
                <a:t>ล้าน</a:t>
              </a:r>
            </a:p>
            <a:p>
              <a:pPr algn="ctr"/>
              <a:r>
                <a:rPr lang="th-TH" b="1" dirty="0">
                  <a:solidFill>
                    <a:srgbClr val="0070C0"/>
                  </a:solidFill>
                  <a:latin typeface="AngsanaUPC" pitchFamily="18" charset="-34"/>
                </a:rPr>
                <a:t>อินเดีย</a:t>
              </a:r>
              <a:r>
                <a:rPr lang="th-TH" b="1" u="sng" dirty="0">
                  <a:solidFill>
                    <a:srgbClr val="0070C0"/>
                  </a:solidFill>
                  <a:latin typeface="AngsanaUPC" pitchFamily="18" charset="-34"/>
                </a:rPr>
                <a:t> </a:t>
              </a:r>
              <a:r>
                <a:rPr lang="en-US" b="1" u="sng" dirty="0" smtClean="0">
                  <a:solidFill>
                    <a:srgbClr val="0070C0"/>
                  </a:solidFill>
                  <a:latin typeface="AngsanaUPC" pitchFamily="18" charset="-34"/>
                </a:rPr>
                <a:t>1,330</a:t>
              </a:r>
              <a:r>
                <a:rPr lang="th-TH" b="1" u="sng" dirty="0" smtClean="0">
                  <a:solidFill>
                    <a:srgbClr val="0070C0"/>
                  </a:solidFill>
                  <a:latin typeface="AngsanaUPC" pitchFamily="18" charset="-34"/>
                </a:rPr>
                <a:t>ล้าน</a:t>
              </a:r>
              <a:r>
                <a:rPr lang="en-US" b="1" u="sng" dirty="0" smtClean="0">
                  <a:solidFill>
                    <a:srgbClr val="0070C0"/>
                  </a:solidFill>
                  <a:latin typeface="AngsanaUPC" pitchFamily="18" charset="-34"/>
                </a:rPr>
                <a:t> </a:t>
              </a:r>
              <a:r>
                <a:rPr lang="th-TH" b="1" u="sng" dirty="0">
                  <a:solidFill>
                    <a:srgbClr val="0070C0"/>
                  </a:solidFill>
                  <a:latin typeface="AngsanaUPC" pitchFamily="18" charset="-34"/>
                </a:rPr>
                <a:t>ก็เกิน </a:t>
              </a:r>
              <a:r>
                <a:rPr lang="en-US" b="1" u="sng" dirty="0">
                  <a:solidFill>
                    <a:srgbClr val="0070C0"/>
                  </a:solidFill>
                  <a:latin typeface="AngsanaUPC" pitchFamily="18" charset="-34"/>
                </a:rPr>
                <a:t>1</a:t>
              </a:r>
              <a:r>
                <a:rPr lang="th-TH" b="1" u="sng" dirty="0">
                  <a:solidFill>
                    <a:srgbClr val="0070C0"/>
                  </a:solidFill>
                  <a:latin typeface="AngsanaUPC" pitchFamily="18" charset="-34"/>
                </a:rPr>
                <a:t> ใน </a:t>
              </a:r>
              <a:r>
                <a:rPr lang="en-US" b="1" u="sng" dirty="0">
                  <a:solidFill>
                    <a:srgbClr val="0070C0"/>
                  </a:solidFill>
                  <a:latin typeface="AngsanaUPC" pitchFamily="18" charset="-34"/>
                </a:rPr>
                <a:t>3</a:t>
              </a:r>
              <a:r>
                <a:rPr lang="th-TH" b="1" u="sng" dirty="0">
                  <a:solidFill>
                    <a:srgbClr val="0070C0"/>
                  </a:solidFill>
                  <a:latin typeface="AngsanaUPC" pitchFamily="18" charset="-34"/>
                </a:rPr>
                <a:t> ของประชากรโลก</a:t>
              </a:r>
              <a:endParaRPr lang="th-TH" b="1" dirty="0">
                <a:solidFill>
                  <a:srgbClr val="0070C0"/>
                </a:solidFill>
                <a:latin typeface="AngsanaUPC" pitchFamily="18" charset="-34"/>
              </a:endParaRPr>
            </a:p>
          </p:txBody>
        </p:sp>
        <p:sp>
          <p:nvSpPr>
            <p:cNvPr id="51" name="Rectangle 50"/>
            <p:cNvSpPr/>
            <p:nvPr/>
          </p:nvSpPr>
          <p:spPr bwMode="auto">
            <a:xfrm>
              <a:off x="50800" y="50800"/>
              <a:ext cx="1841500" cy="2336800"/>
            </a:xfrm>
            <a:prstGeom prst="rect">
              <a:avLst/>
            </a:prstGeom>
            <a:noFill/>
            <a:ln w="28575" cap="flat" cmpd="sng" algn="ctr">
              <a:solidFill>
                <a:srgbClr val="FFFFFF"/>
              </a:solidFill>
              <a:prstDash val="solid"/>
              <a:round/>
              <a:headEnd type="none" w="med" len="med"/>
              <a:tailEnd type="none" w="med" len="med"/>
            </a:ln>
            <a:effectLst/>
            <a:scene3d>
              <a:camera prst="orthographicFront"/>
              <a:lightRig rig="threePt" dir="t"/>
            </a:scene3d>
            <a:sp3d>
              <a:bevelT/>
            </a:sp3d>
          </p:spPr>
          <p:txBody>
            <a:bodyPr wrap="none" anchor="ctr"/>
            <a:lstStyle/>
            <a:p>
              <a:pPr algn="ctr">
                <a:defRPr/>
              </a:pPr>
              <a:endParaRPr lang="th-TH" sz="3600">
                <a:solidFill>
                  <a:srgbClr val="FFFF00"/>
                </a:solidFill>
                <a:latin typeface="AngsanaUPC" pitchFamily="18" charset="-34"/>
              </a:endParaRPr>
            </a:p>
          </p:txBody>
        </p:sp>
      </p:grpSp>
      <p:grpSp>
        <p:nvGrpSpPr>
          <p:cNvPr id="3" name="Group 51"/>
          <p:cNvGrpSpPr>
            <a:grpSpLocks/>
          </p:cNvGrpSpPr>
          <p:nvPr/>
        </p:nvGrpSpPr>
        <p:grpSpPr bwMode="auto">
          <a:xfrm>
            <a:off x="38100" y="5079463"/>
            <a:ext cx="4648200" cy="1814513"/>
            <a:chOff x="0" y="5117405"/>
            <a:chExt cx="4648200" cy="1815882"/>
          </a:xfrm>
        </p:grpSpPr>
        <p:sp>
          <p:nvSpPr>
            <p:cNvPr id="22555" name="Rectangle 52"/>
            <p:cNvSpPr>
              <a:spLocks noChangeArrowheads="1"/>
            </p:cNvSpPr>
            <p:nvPr/>
          </p:nvSpPr>
          <p:spPr bwMode="auto">
            <a:xfrm>
              <a:off x="25400" y="5117405"/>
              <a:ext cx="4610100" cy="1815882"/>
            </a:xfrm>
            <a:prstGeom prst="rect">
              <a:avLst/>
            </a:prstGeom>
            <a:noFill/>
            <a:ln w="9525">
              <a:noFill/>
              <a:miter lim="800000"/>
              <a:headEnd/>
              <a:tailEnd/>
            </a:ln>
          </p:spPr>
          <p:txBody>
            <a:bodyPr>
              <a:spAutoFit/>
            </a:bodyPr>
            <a:lstStyle/>
            <a:p>
              <a:r>
                <a:rPr lang="th-TH" b="1" dirty="0">
                  <a:solidFill>
                    <a:srgbClr val="0070C0"/>
                  </a:solidFill>
                  <a:latin typeface="AngsanaUPC" pitchFamily="18" charset="-34"/>
                </a:rPr>
                <a:t>ตลาดอาหารสำเร็จรูปของ “จินเดีย” จะมีมูลค่า </a:t>
              </a:r>
              <a:r>
                <a:rPr lang="en-US" b="1" dirty="0">
                  <a:solidFill>
                    <a:srgbClr val="0070C0"/>
                  </a:solidFill>
                  <a:latin typeface="AngsanaUPC" pitchFamily="18" charset="-34"/>
                </a:rPr>
                <a:t>US$</a:t>
              </a:r>
              <a:r>
                <a:rPr lang="th-TH" b="1" dirty="0">
                  <a:solidFill>
                    <a:srgbClr val="0070C0"/>
                  </a:solidFill>
                  <a:latin typeface="AngsanaUPC" pitchFamily="18" charset="-34"/>
                </a:rPr>
                <a:t> </a:t>
              </a:r>
              <a:r>
                <a:rPr lang="en-US" b="1" dirty="0">
                  <a:solidFill>
                    <a:srgbClr val="0070C0"/>
                  </a:solidFill>
                  <a:latin typeface="AngsanaUPC" pitchFamily="18" charset="-34"/>
                </a:rPr>
                <a:t>480 billion </a:t>
              </a:r>
              <a:r>
                <a:rPr lang="th-TH" b="1" dirty="0">
                  <a:solidFill>
                    <a:srgbClr val="0070C0"/>
                  </a:solidFill>
                  <a:latin typeface="AngsanaUPC" pitchFamily="18" charset="-34"/>
                </a:rPr>
                <a:t>หรือหนึ่งเท่าครึ่งของตลาดสหรัฐฯวันนี้ หรือ </a:t>
              </a:r>
              <a:r>
                <a:rPr lang="en-US" b="1" dirty="0">
                  <a:solidFill>
                    <a:srgbClr val="0070C0"/>
                  </a:solidFill>
                  <a:latin typeface="AngsanaUPC" pitchFamily="18" charset="-34"/>
                </a:rPr>
                <a:t>5</a:t>
              </a:r>
              <a:r>
                <a:rPr lang="th-TH" b="1" dirty="0">
                  <a:solidFill>
                    <a:srgbClr val="0070C0"/>
                  </a:solidFill>
                  <a:latin typeface="AngsanaUPC" pitchFamily="18" charset="-34"/>
                </a:rPr>
                <a:t> เท่าครึ่งของตลาดสหราชอาณาจักรวันนี้</a:t>
              </a:r>
            </a:p>
          </p:txBody>
        </p:sp>
        <p:sp>
          <p:nvSpPr>
            <p:cNvPr id="54" name="Rectangle 53"/>
            <p:cNvSpPr/>
            <p:nvPr/>
          </p:nvSpPr>
          <p:spPr bwMode="auto">
            <a:xfrm>
              <a:off x="0" y="5130800"/>
              <a:ext cx="4648200" cy="1727200"/>
            </a:xfrm>
            <a:prstGeom prst="rect">
              <a:avLst/>
            </a:prstGeom>
            <a:noFill/>
            <a:ln w="28575" cap="flat" cmpd="sng" algn="ctr">
              <a:solidFill>
                <a:srgbClr val="FFFFFF"/>
              </a:solidFill>
              <a:prstDash val="solid"/>
              <a:round/>
              <a:headEnd type="none" w="med" len="med"/>
              <a:tailEnd type="none" w="med" len="med"/>
            </a:ln>
            <a:effectLst/>
            <a:scene3d>
              <a:camera prst="orthographicFront"/>
              <a:lightRig rig="threePt" dir="t"/>
            </a:scene3d>
            <a:sp3d>
              <a:bevelT/>
            </a:sp3d>
          </p:spPr>
          <p:txBody>
            <a:bodyPr wrap="none" anchor="ctr"/>
            <a:lstStyle/>
            <a:p>
              <a:pPr algn="ctr">
                <a:defRPr/>
              </a:pPr>
              <a:endParaRPr lang="th-TH" sz="3600">
                <a:solidFill>
                  <a:srgbClr val="FFFF00"/>
                </a:solidFill>
                <a:latin typeface="AngsanaUPC" pitchFamily="18" charset="-34"/>
              </a:endParaRPr>
            </a:p>
          </p:txBody>
        </p:sp>
      </p:grpSp>
      <p:grpSp>
        <p:nvGrpSpPr>
          <p:cNvPr id="4" name="Group 54"/>
          <p:cNvGrpSpPr>
            <a:grpSpLocks/>
          </p:cNvGrpSpPr>
          <p:nvPr/>
        </p:nvGrpSpPr>
        <p:grpSpPr bwMode="auto">
          <a:xfrm>
            <a:off x="7097689" y="1155700"/>
            <a:ext cx="2044700" cy="3827980"/>
            <a:chOff x="7213600" y="1143000"/>
            <a:chExt cx="2044700" cy="3873500"/>
          </a:xfrm>
        </p:grpSpPr>
        <p:sp>
          <p:nvSpPr>
            <p:cNvPr id="22551" name="Rectangle 55"/>
            <p:cNvSpPr>
              <a:spLocks noChangeArrowheads="1"/>
            </p:cNvSpPr>
            <p:nvPr/>
          </p:nvSpPr>
          <p:spPr bwMode="auto">
            <a:xfrm>
              <a:off x="7213600" y="1309638"/>
              <a:ext cx="2044700" cy="3539430"/>
            </a:xfrm>
            <a:prstGeom prst="rect">
              <a:avLst/>
            </a:prstGeom>
            <a:noFill/>
            <a:ln w="9525">
              <a:noFill/>
              <a:miter lim="800000"/>
              <a:headEnd/>
              <a:tailEnd/>
            </a:ln>
          </p:spPr>
          <p:txBody>
            <a:bodyPr>
              <a:spAutoFit/>
            </a:bodyPr>
            <a:lstStyle/>
            <a:p>
              <a:pPr algn="ctr"/>
              <a:r>
                <a:rPr lang="en-US" b="1" dirty="0">
                  <a:solidFill>
                    <a:srgbClr val="0070C0"/>
                  </a:solidFill>
                  <a:latin typeface="AngsanaUPC" pitchFamily="18" charset="-34"/>
                </a:rPr>
                <a:t>“</a:t>
              </a:r>
              <a:r>
                <a:rPr lang="th-TH" b="1" dirty="0">
                  <a:solidFill>
                    <a:srgbClr val="0070C0"/>
                  </a:solidFill>
                  <a:latin typeface="AngsanaUPC" pitchFamily="18" charset="-34"/>
                </a:rPr>
                <a:t>จินเดีย</a:t>
              </a:r>
              <a:r>
                <a:rPr lang="en-US" b="1" dirty="0">
                  <a:solidFill>
                    <a:srgbClr val="0070C0"/>
                  </a:solidFill>
                  <a:latin typeface="AngsanaUPC" pitchFamily="18" charset="-34"/>
                </a:rPr>
                <a:t>” </a:t>
              </a:r>
              <a:r>
                <a:rPr lang="th-TH" b="1" dirty="0">
                  <a:solidFill>
                    <a:srgbClr val="0070C0"/>
                  </a:solidFill>
                  <a:latin typeface="AngsanaUPC" pitchFamily="18" charset="-34"/>
                </a:rPr>
                <a:t>ที่มี</a:t>
              </a:r>
              <a:r>
                <a:rPr lang="th-TH" b="1" u="sng" dirty="0">
                  <a:solidFill>
                    <a:srgbClr val="0070C0"/>
                  </a:solidFill>
                  <a:latin typeface="AngsanaUPC" pitchFamily="18" charset="-34"/>
                </a:rPr>
                <a:t>อำนาจซื้อ</a:t>
              </a:r>
              <a:r>
                <a:rPr lang="th-TH" b="1" dirty="0">
                  <a:solidFill>
                    <a:srgbClr val="0070C0"/>
                  </a:solidFill>
                  <a:latin typeface="AngsanaUPC" pitchFamily="18" charset="-34"/>
                </a:rPr>
                <a:t>จริง ๆ</a:t>
              </a:r>
            </a:p>
            <a:p>
              <a:pPr algn="ctr"/>
              <a:r>
                <a:rPr lang="th-TH" b="1" dirty="0">
                  <a:solidFill>
                    <a:srgbClr val="0070C0"/>
                  </a:solidFill>
                  <a:latin typeface="AngsanaUPC" pitchFamily="18" charset="-34"/>
                </a:rPr>
                <a:t> อยู่ที่ประมาณ </a:t>
              </a:r>
            </a:p>
            <a:p>
              <a:pPr algn="ctr"/>
              <a:r>
                <a:rPr lang="th-TH" b="1" u="sng" dirty="0" smtClean="0">
                  <a:solidFill>
                    <a:srgbClr val="0070C0"/>
                  </a:solidFill>
                  <a:latin typeface="AngsanaUPC" pitchFamily="18" charset="-34"/>
                </a:rPr>
                <a:t>กว่า </a:t>
              </a:r>
              <a:r>
                <a:rPr lang="en-US" b="1" u="sng" dirty="0" smtClean="0">
                  <a:solidFill>
                    <a:srgbClr val="0070C0"/>
                  </a:solidFill>
                  <a:latin typeface="AngsanaUPC" pitchFamily="18" charset="-34"/>
                </a:rPr>
                <a:t>600</a:t>
              </a:r>
              <a:r>
                <a:rPr lang="th-TH" b="1" u="sng" dirty="0" smtClean="0">
                  <a:solidFill>
                    <a:srgbClr val="0070C0"/>
                  </a:solidFill>
                  <a:latin typeface="AngsanaUPC" pitchFamily="18" charset="-34"/>
                </a:rPr>
                <a:t> </a:t>
              </a:r>
              <a:r>
                <a:rPr lang="th-TH" b="1" u="sng" dirty="0">
                  <a:solidFill>
                    <a:srgbClr val="0070C0"/>
                  </a:solidFill>
                  <a:latin typeface="AngsanaUPC" pitchFamily="18" charset="-34"/>
                </a:rPr>
                <a:t>ล้านคน</a:t>
              </a:r>
            </a:p>
            <a:p>
              <a:pPr algn="ctr"/>
              <a:r>
                <a:rPr lang="th-TH" b="1" dirty="0">
                  <a:solidFill>
                    <a:srgbClr val="0070C0"/>
                  </a:solidFill>
                  <a:latin typeface="AngsanaUPC" pitchFamily="18" charset="-34"/>
                </a:rPr>
                <a:t>เท่ากับ</a:t>
              </a:r>
            </a:p>
            <a:p>
              <a:pPr algn="ctr"/>
              <a:r>
                <a:rPr lang="th-TH" b="1" dirty="0">
                  <a:solidFill>
                    <a:srgbClr val="0070C0"/>
                  </a:solidFill>
                  <a:latin typeface="AngsanaUPC" pitchFamily="18" charset="-34"/>
                </a:rPr>
                <a:t>ตลาดสหรัฐฯ</a:t>
              </a:r>
            </a:p>
            <a:p>
              <a:pPr algn="ctr"/>
              <a:r>
                <a:rPr lang="th-TH" b="1" dirty="0">
                  <a:solidFill>
                    <a:srgbClr val="0070C0"/>
                  </a:solidFill>
                  <a:latin typeface="AngsanaUPC" pitchFamily="18" charset="-34"/>
                </a:rPr>
                <a:t>กับสหภาพยุโรปรวมกันทีเดียว</a:t>
              </a:r>
              <a:endParaRPr lang="en-US" b="1" dirty="0">
                <a:solidFill>
                  <a:srgbClr val="0070C0"/>
                </a:solidFill>
                <a:latin typeface="AngsanaUPC" pitchFamily="18" charset="-34"/>
              </a:endParaRPr>
            </a:p>
          </p:txBody>
        </p:sp>
        <p:sp>
          <p:nvSpPr>
            <p:cNvPr id="57" name="Rectangle 56"/>
            <p:cNvSpPr/>
            <p:nvPr/>
          </p:nvSpPr>
          <p:spPr bwMode="auto">
            <a:xfrm>
              <a:off x="7404100" y="1143000"/>
              <a:ext cx="1701800" cy="3873500"/>
            </a:xfrm>
            <a:prstGeom prst="rect">
              <a:avLst/>
            </a:prstGeom>
            <a:noFill/>
            <a:ln w="28575" cap="flat" cmpd="sng" algn="ctr">
              <a:solidFill>
                <a:srgbClr val="FFFFFF"/>
              </a:solidFill>
              <a:prstDash val="solid"/>
              <a:round/>
              <a:headEnd type="none" w="med" len="med"/>
              <a:tailEnd type="none" w="med" len="med"/>
            </a:ln>
            <a:effectLst/>
            <a:scene3d>
              <a:camera prst="orthographicFront"/>
              <a:lightRig rig="threePt" dir="t"/>
            </a:scene3d>
            <a:sp3d>
              <a:bevelT/>
            </a:sp3d>
          </p:spPr>
          <p:txBody>
            <a:bodyPr wrap="none" anchor="ctr"/>
            <a:lstStyle/>
            <a:p>
              <a:pPr algn="ctr">
                <a:defRPr/>
              </a:pPr>
              <a:endParaRPr lang="th-TH" sz="3600">
                <a:solidFill>
                  <a:srgbClr val="FFFF00"/>
                </a:solidFill>
                <a:latin typeface="AngsanaUPC" pitchFamily="18" charset="-34"/>
              </a:endParaRPr>
            </a:p>
          </p:txBody>
        </p:sp>
      </p:grpSp>
      <p:grpSp>
        <p:nvGrpSpPr>
          <p:cNvPr id="5" name="Group 57"/>
          <p:cNvGrpSpPr>
            <a:grpSpLocks/>
          </p:cNvGrpSpPr>
          <p:nvPr/>
        </p:nvGrpSpPr>
        <p:grpSpPr bwMode="auto">
          <a:xfrm>
            <a:off x="25221" y="2416175"/>
            <a:ext cx="1879600" cy="2613025"/>
            <a:chOff x="38100" y="2403376"/>
            <a:chExt cx="1879600" cy="2677656"/>
          </a:xfrm>
        </p:grpSpPr>
        <p:sp>
          <p:nvSpPr>
            <p:cNvPr id="22547" name="Rectangle 58"/>
            <p:cNvSpPr>
              <a:spLocks noChangeArrowheads="1"/>
            </p:cNvSpPr>
            <p:nvPr/>
          </p:nvSpPr>
          <p:spPr bwMode="auto">
            <a:xfrm>
              <a:off x="38100" y="2403376"/>
              <a:ext cx="1879600" cy="2677656"/>
            </a:xfrm>
            <a:prstGeom prst="rect">
              <a:avLst/>
            </a:prstGeom>
            <a:noFill/>
            <a:ln w="9525">
              <a:noFill/>
              <a:miter lim="800000"/>
              <a:headEnd/>
              <a:tailEnd/>
            </a:ln>
          </p:spPr>
          <p:txBody>
            <a:bodyPr>
              <a:spAutoFit/>
            </a:bodyPr>
            <a:lstStyle/>
            <a:p>
              <a:pPr algn="ctr"/>
              <a:r>
                <a:rPr lang="th-TH" b="1" dirty="0">
                  <a:solidFill>
                    <a:schemeClr val="accent1"/>
                  </a:solidFill>
                  <a:latin typeface="AngsanaUPC" pitchFamily="18" charset="-34"/>
                </a:rPr>
                <a:t>ภายในปี </a:t>
              </a:r>
              <a:r>
                <a:rPr lang="en-US" b="1" dirty="0">
                  <a:solidFill>
                    <a:schemeClr val="accent1"/>
                  </a:solidFill>
                  <a:latin typeface="AngsanaUPC" pitchFamily="18" charset="-34"/>
                </a:rPr>
                <a:t>2020</a:t>
              </a:r>
            </a:p>
            <a:p>
              <a:pPr algn="ctr"/>
              <a:r>
                <a:rPr lang="th-TH" b="1" dirty="0">
                  <a:solidFill>
                    <a:schemeClr val="accent1"/>
                  </a:solidFill>
                  <a:latin typeface="AngsanaUPC" pitchFamily="18" charset="-34"/>
                </a:rPr>
                <a:t>จำนวนประชากร “จินเดีย</a:t>
              </a:r>
              <a:r>
                <a:rPr lang="en-US" b="1" dirty="0">
                  <a:solidFill>
                    <a:schemeClr val="accent1"/>
                  </a:solidFill>
                  <a:latin typeface="AngsanaUPC" pitchFamily="18" charset="-34"/>
                </a:rPr>
                <a:t>” </a:t>
              </a:r>
              <a:r>
                <a:rPr lang="th-TH" b="1" dirty="0">
                  <a:solidFill>
                    <a:schemeClr val="accent1"/>
                  </a:solidFill>
                  <a:latin typeface="AngsanaUPC" pitchFamily="18" charset="-34"/>
                </a:rPr>
                <a:t>ที่มี</a:t>
              </a:r>
            </a:p>
            <a:p>
              <a:pPr algn="ctr"/>
              <a:r>
                <a:rPr lang="th-TH" b="1" dirty="0">
                  <a:solidFill>
                    <a:schemeClr val="accent1"/>
                  </a:solidFill>
                  <a:latin typeface="AngsanaUPC" pitchFamily="18" charset="-34"/>
                </a:rPr>
                <a:t>โทรศัพท์มือถือ</a:t>
              </a:r>
            </a:p>
            <a:p>
              <a:pPr algn="ctr"/>
              <a:r>
                <a:rPr lang="th-TH" b="1" dirty="0">
                  <a:solidFill>
                    <a:schemeClr val="accent1"/>
                  </a:solidFill>
                  <a:latin typeface="AngsanaUPC" pitchFamily="18" charset="-34"/>
                </a:rPr>
                <a:t>จะเท่ากับ </a:t>
              </a:r>
              <a:r>
                <a:rPr lang="en-US" b="1" u="sng" dirty="0">
                  <a:solidFill>
                    <a:schemeClr val="accent1"/>
                  </a:solidFill>
                  <a:latin typeface="AngsanaUPC" pitchFamily="18" charset="-34"/>
                </a:rPr>
                <a:t>1</a:t>
              </a:r>
              <a:r>
                <a:rPr lang="th-TH" b="1" u="sng" dirty="0">
                  <a:solidFill>
                    <a:schemeClr val="accent1"/>
                  </a:solidFill>
                  <a:latin typeface="AngsanaUPC" pitchFamily="18" charset="-34"/>
                </a:rPr>
                <a:t>ใน </a:t>
              </a:r>
              <a:r>
                <a:rPr lang="en-US" b="1" u="sng" dirty="0">
                  <a:solidFill>
                    <a:schemeClr val="accent1"/>
                  </a:solidFill>
                  <a:latin typeface="AngsanaUPC" pitchFamily="18" charset="-34"/>
                </a:rPr>
                <a:t>3</a:t>
              </a:r>
              <a:r>
                <a:rPr lang="th-TH" b="1" u="sng" dirty="0">
                  <a:solidFill>
                    <a:schemeClr val="accent1"/>
                  </a:solidFill>
                  <a:latin typeface="AngsanaUPC" pitchFamily="18" charset="-34"/>
                </a:rPr>
                <a:t> ของโลก</a:t>
              </a:r>
            </a:p>
          </p:txBody>
        </p:sp>
        <p:sp>
          <p:nvSpPr>
            <p:cNvPr id="60" name="Rectangle 59"/>
            <p:cNvSpPr/>
            <p:nvPr/>
          </p:nvSpPr>
          <p:spPr bwMode="auto">
            <a:xfrm>
              <a:off x="50800" y="2425700"/>
              <a:ext cx="1854200" cy="2628900"/>
            </a:xfrm>
            <a:prstGeom prst="rect">
              <a:avLst/>
            </a:prstGeom>
            <a:noFill/>
            <a:ln w="28575" cap="flat" cmpd="sng" algn="ctr">
              <a:solidFill>
                <a:srgbClr val="FFFF00"/>
              </a:solidFill>
              <a:prstDash val="solid"/>
              <a:round/>
              <a:headEnd type="none" w="med" len="med"/>
              <a:tailEnd type="none" w="med" len="med"/>
            </a:ln>
            <a:effectLst/>
            <a:scene3d>
              <a:camera prst="orthographicFront"/>
              <a:lightRig rig="threePt" dir="t"/>
            </a:scene3d>
            <a:sp3d>
              <a:bevelT/>
            </a:sp3d>
          </p:spPr>
          <p:txBody>
            <a:bodyPr wrap="none" anchor="ctr"/>
            <a:lstStyle/>
            <a:p>
              <a:pPr algn="ctr">
                <a:defRPr/>
              </a:pPr>
              <a:endParaRPr lang="th-TH" sz="3600">
                <a:solidFill>
                  <a:srgbClr val="FFFF00"/>
                </a:solidFill>
                <a:latin typeface="AngsanaUPC" pitchFamily="18" charset="-34"/>
              </a:endParaRPr>
            </a:p>
          </p:txBody>
        </p:sp>
      </p:grpSp>
      <p:grpSp>
        <p:nvGrpSpPr>
          <p:cNvPr id="6" name="Group 60"/>
          <p:cNvGrpSpPr>
            <a:grpSpLocks/>
          </p:cNvGrpSpPr>
          <p:nvPr/>
        </p:nvGrpSpPr>
        <p:grpSpPr bwMode="auto">
          <a:xfrm>
            <a:off x="1968679" y="50800"/>
            <a:ext cx="7046532" cy="1054100"/>
            <a:chOff x="1955800" y="50800"/>
            <a:chExt cx="7188200" cy="1054100"/>
          </a:xfrm>
        </p:grpSpPr>
        <p:sp>
          <p:nvSpPr>
            <p:cNvPr id="22543" name="Rectangle 61"/>
            <p:cNvSpPr>
              <a:spLocks noChangeArrowheads="1"/>
            </p:cNvSpPr>
            <p:nvPr/>
          </p:nvSpPr>
          <p:spPr bwMode="auto">
            <a:xfrm>
              <a:off x="1955800" y="114300"/>
              <a:ext cx="7188200" cy="954107"/>
            </a:xfrm>
            <a:prstGeom prst="rect">
              <a:avLst/>
            </a:prstGeom>
            <a:noFill/>
            <a:ln w="9525">
              <a:noFill/>
              <a:miter lim="800000"/>
              <a:headEnd/>
              <a:tailEnd/>
            </a:ln>
          </p:spPr>
          <p:txBody>
            <a:bodyPr>
              <a:spAutoFit/>
            </a:bodyPr>
            <a:lstStyle/>
            <a:p>
              <a:pPr algn="ctr"/>
              <a:r>
                <a:rPr lang="th-TH" b="1" dirty="0">
                  <a:solidFill>
                    <a:schemeClr val="accent1"/>
                  </a:solidFill>
                  <a:latin typeface="AngsanaUPC" pitchFamily="18" charset="-34"/>
                </a:rPr>
                <a:t>จีน </a:t>
              </a:r>
              <a:r>
                <a:rPr lang="th-TH" b="1" u="sng" dirty="0">
                  <a:solidFill>
                    <a:schemeClr val="accent1"/>
                  </a:solidFill>
                  <a:latin typeface="AngsanaUPC" pitchFamily="18" charset="-34"/>
                </a:rPr>
                <a:t>แข็งแกร่งทางด้านการผลิตและโครงสร้างพื้นฐาน</a:t>
              </a:r>
            </a:p>
            <a:p>
              <a:pPr algn="ctr"/>
              <a:r>
                <a:rPr lang="th-TH" b="1" dirty="0">
                  <a:solidFill>
                    <a:schemeClr val="accent1"/>
                  </a:solidFill>
                  <a:latin typeface="AngsanaUPC" pitchFamily="18" charset="-34"/>
                </a:rPr>
                <a:t>อินเดีย </a:t>
              </a:r>
              <a:r>
                <a:rPr lang="th-TH" b="1" u="sng" dirty="0">
                  <a:solidFill>
                    <a:schemeClr val="accent1"/>
                  </a:solidFill>
                  <a:latin typeface="AngsanaUPC" pitchFamily="18" charset="-34"/>
                </a:rPr>
                <a:t>เก่งเรื่องบริการและไอทีในด้านเทคโนโลยีสารสนเทศ</a:t>
              </a:r>
              <a:endParaRPr lang="th-TH" b="1" dirty="0">
                <a:solidFill>
                  <a:schemeClr val="accent1"/>
                </a:solidFill>
                <a:latin typeface="AngsanaUPC" pitchFamily="18" charset="-34"/>
              </a:endParaRPr>
            </a:p>
          </p:txBody>
        </p:sp>
        <p:sp>
          <p:nvSpPr>
            <p:cNvPr id="63" name="Rectangle 62"/>
            <p:cNvSpPr/>
            <p:nvPr/>
          </p:nvSpPr>
          <p:spPr bwMode="auto">
            <a:xfrm>
              <a:off x="1955800" y="50800"/>
              <a:ext cx="7150100" cy="1054100"/>
            </a:xfrm>
            <a:prstGeom prst="rect">
              <a:avLst/>
            </a:prstGeom>
            <a:noFill/>
            <a:ln w="28575" cap="flat" cmpd="sng" algn="ctr">
              <a:solidFill>
                <a:srgbClr val="FFFF00"/>
              </a:solidFill>
              <a:prstDash val="solid"/>
              <a:round/>
              <a:headEnd type="none" w="med" len="med"/>
              <a:tailEnd type="none" w="med" len="med"/>
            </a:ln>
            <a:effectLst/>
            <a:scene3d>
              <a:camera prst="orthographicFront"/>
              <a:lightRig rig="threePt" dir="t"/>
            </a:scene3d>
            <a:sp3d>
              <a:bevelT/>
            </a:sp3d>
          </p:spPr>
          <p:txBody>
            <a:bodyPr wrap="none" anchor="ctr"/>
            <a:lstStyle/>
            <a:p>
              <a:pPr algn="ctr">
                <a:defRPr/>
              </a:pPr>
              <a:endParaRPr lang="th-TH" sz="3600">
                <a:solidFill>
                  <a:srgbClr val="FFFF00"/>
                </a:solidFill>
                <a:latin typeface="AngsanaUPC" pitchFamily="18" charset="-34"/>
              </a:endParaRPr>
            </a:p>
          </p:txBody>
        </p:sp>
      </p:grpSp>
      <p:grpSp>
        <p:nvGrpSpPr>
          <p:cNvPr id="7" name="Group 63"/>
          <p:cNvGrpSpPr>
            <a:grpSpLocks/>
          </p:cNvGrpSpPr>
          <p:nvPr/>
        </p:nvGrpSpPr>
        <p:grpSpPr bwMode="auto">
          <a:xfrm>
            <a:off x="4711700" y="5052475"/>
            <a:ext cx="4306059" cy="1815882"/>
            <a:chOff x="4662690" y="5091016"/>
            <a:chExt cx="4443210" cy="1815982"/>
          </a:xfrm>
        </p:grpSpPr>
        <p:sp>
          <p:nvSpPr>
            <p:cNvPr id="22539" name="Rectangle 64"/>
            <p:cNvSpPr>
              <a:spLocks noChangeArrowheads="1"/>
            </p:cNvSpPr>
            <p:nvPr/>
          </p:nvSpPr>
          <p:spPr bwMode="auto">
            <a:xfrm>
              <a:off x="4662690" y="5091016"/>
              <a:ext cx="4402507" cy="1815982"/>
            </a:xfrm>
            <a:prstGeom prst="rect">
              <a:avLst/>
            </a:prstGeom>
            <a:noFill/>
            <a:ln w="9525">
              <a:noFill/>
              <a:miter lim="800000"/>
              <a:headEnd/>
              <a:tailEnd/>
            </a:ln>
          </p:spPr>
          <p:txBody>
            <a:bodyPr wrap="square">
              <a:spAutoFit/>
            </a:bodyPr>
            <a:lstStyle/>
            <a:p>
              <a:r>
                <a:rPr lang="th-TH" b="1" dirty="0">
                  <a:solidFill>
                    <a:schemeClr val="accent1"/>
                  </a:solidFill>
                  <a:latin typeface="AngsanaUPC" pitchFamily="18" charset="-34"/>
                </a:rPr>
                <a:t>จำนวนเงินกู้ผ่านระบบธนาคารของ “จินเดีย”</a:t>
              </a:r>
              <a:r>
                <a:rPr lang="th-TH" b="1" dirty="0" smtClean="0">
                  <a:solidFill>
                    <a:schemeClr val="accent1"/>
                  </a:solidFill>
                  <a:latin typeface="AngsanaUPC" pitchFamily="18" charset="-34"/>
                </a:rPr>
                <a:t>จะมากกว่า </a:t>
              </a:r>
              <a:r>
                <a:rPr lang="en-US" b="1" dirty="0">
                  <a:solidFill>
                    <a:schemeClr val="accent1"/>
                  </a:solidFill>
                  <a:latin typeface="AngsanaUPC" pitchFamily="18" charset="-34"/>
                </a:rPr>
                <a:t>9</a:t>
              </a:r>
              <a:r>
                <a:rPr lang="th-TH" b="1" dirty="0">
                  <a:solidFill>
                    <a:schemeClr val="accent1"/>
                  </a:solidFill>
                  <a:latin typeface="AngsanaUPC" pitchFamily="18" charset="-34"/>
                </a:rPr>
                <a:t> ล้านล้านเหรียญสหรัฐฯ หรือสองเท่าของผลิตภัณฑ์มวลรวมของญี่ปุ่นวันนี้</a:t>
              </a:r>
            </a:p>
          </p:txBody>
        </p:sp>
        <p:sp>
          <p:nvSpPr>
            <p:cNvPr id="66" name="Rectangle 65"/>
            <p:cNvSpPr/>
            <p:nvPr/>
          </p:nvSpPr>
          <p:spPr bwMode="auto">
            <a:xfrm>
              <a:off x="4711700" y="5130800"/>
              <a:ext cx="4394200" cy="1727200"/>
            </a:xfrm>
            <a:prstGeom prst="rect">
              <a:avLst/>
            </a:prstGeom>
            <a:noFill/>
            <a:ln w="28575" cap="flat" cmpd="sng" algn="ctr">
              <a:solidFill>
                <a:srgbClr val="FFFF00"/>
              </a:solidFill>
              <a:prstDash val="solid"/>
              <a:round/>
              <a:headEnd type="none" w="med" len="med"/>
              <a:tailEnd type="none" w="med" len="med"/>
            </a:ln>
            <a:effectLst/>
            <a:scene3d>
              <a:camera prst="orthographicFront"/>
              <a:lightRig rig="threePt" dir="t"/>
            </a:scene3d>
            <a:sp3d>
              <a:bevelT/>
            </a:sp3d>
          </p:spPr>
          <p:txBody>
            <a:bodyPr wrap="none" anchor="ctr"/>
            <a:lstStyle/>
            <a:p>
              <a:pPr algn="ctr">
                <a:defRPr/>
              </a:pPr>
              <a:endParaRPr lang="th-TH" sz="3600">
                <a:solidFill>
                  <a:srgbClr val="FFFF00"/>
                </a:solidFill>
                <a:latin typeface="AngsanaUPC" pitchFamily="18" charset="-34"/>
              </a:endParaRPr>
            </a:p>
          </p:txBody>
        </p:sp>
      </p:grpSp>
    </p:spTree>
    <p:extLst>
      <p:ext uri="{BB962C8B-B14F-4D97-AF65-F5344CB8AC3E}">
        <p14:creationId xmlns:p14="http://schemas.microsoft.com/office/powerpoint/2010/main" val="630657755"/>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2000"/>
                                        <p:tgtEl>
                                          <p:spTgt spid="47"/>
                                        </p:tgtEl>
                                      </p:cBhvr>
                                    </p:animEffect>
                                  </p:childTnLst>
                                </p:cTn>
                              </p:par>
                            </p:childTnLst>
                          </p:cTn>
                        </p:par>
                        <p:par>
                          <p:cTn id="8" fill="hold">
                            <p:stCondLst>
                              <p:cond delay="2000"/>
                            </p:stCondLst>
                            <p:childTnLst>
                              <p:par>
                                <p:cTn id="9" presetID="10" presetClass="entr" presetSubtype="0" fill="hold"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fade">
                                      <p:cBhvr>
                                        <p:cTn id="11" dur="2000"/>
                                        <p:tgtEl>
                                          <p:spTgt spid="48"/>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wipe(left)">
                                      <p:cBhvr>
                                        <p:cTn id="16" dur="500"/>
                                        <p:tgtEl>
                                          <p:spTgt spid="2"/>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wipe(left)">
                                      <p:cBhvr>
                                        <p:cTn id="21" dur="500"/>
                                        <p:tgtEl>
                                          <p:spTgt spid="6"/>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nodeType="click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wipe(left)">
                                      <p:cBhvr>
                                        <p:cTn id="26" dur="500"/>
                                        <p:tgtEl>
                                          <p:spTgt spid="5"/>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nodeType="click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wipe(left)">
                                      <p:cBhvr>
                                        <p:cTn id="31" dur="500"/>
                                        <p:tgtEl>
                                          <p:spTgt spid="3"/>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8" fill="hold" nodeType="clickEffect">
                                  <p:stCondLst>
                                    <p:cond delay="0"/>
                                  </p:stCondLst>
                                  <p:childTnLst>
                                    <p:set>
                                      <p:cBhvr>
                                        <p:cTn id="35" dur="1" fill="hold">
                                          <p:stCondLst>
                                            <p:cond delay="0"/>
                                          </p:stCondLst>
                                        </p:cTn>
                                        <p:tgtEl>
                                          <p:spTgt spid="7"/>
                                        </p:tgtEl>
                                        <p:attrNameLst>
                                          <p:attrName>style.visibility</p:attrName>
                                        </p:attrNameLst>
                                      </p:cBhvr>
                                      <p:to>
                                        <p:strVal val="visible"/>
                                      </p:to>
                                    </p:set>
                                    <p:animEffect transition="in" filter="wipe(left)">
                                      <p:cBhvr>
                                        <p:cTn id="36" dur="500"/>
                                        <p:tgtEl>
                                          <p:spTgt spid="7"/>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nodeType="click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wipe(left)">
                                      <p:cBhvr>
                                        <p:cTn id="4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37563" y="4619988"/>
            <a:ext cx="3616816" cy="2245143"/>
          </a:xfrm>
          <a:prstGeom prst="rect">
            <a:avLst/>
          </a:prstGeom>
        </p:spPr>
      </p:pic>
      <p:pic>
        <p:nvPicPr>
          <p:cNvPr id="8" name="Picture 7"/>
          <p:cNvPicPr>
            <a:picLocks noChangeAspect="1"/>
          </p:cNvPicPr>
          <p:nvPr/>
        </p:nvPicPr>
        <p:blipFill>
          <a:blip r:embed="rId4"/>
          <a:stretch>
            <a:fillRect/>
          </a:stretch>
        </p:blipFill>
        <p:spPr>
          <a:xfrm>
            <a:off x="3705367" y="2322259"/>
            <a:ext cx="3616816" cy="2266357"/>
          </a:xfrm>
          <a:prstGeom prst="rect">
            <a:avLst/>
          </a:prstGeom>
        </p:spPr>
      </p:pic>
      <p:pic>
        <p:nvPicPr>
          <p:cNvPr id="6" name="Picture 5"/>
          <p:cNvPicPr>
            <a:picLocks noChangeAspect="1"/>
          </p:cNvPicPr>
          <p:nvPr/>
        </p:nvPicPr>
        <p:blipFill>
          <a:blip r:embed="rId5"/>
          <a:stretch>
            <a:fillRect/>
          </a:stretch>
        </p:blipFill>
        <p:spPr>
          <a:xfrm>
            <a:off x="37564" y="2322260"/>
            <a:ext cx="3616816" cy="2262619"/>
          </a:xfrm>
          <a:prstGeom prst="rect">
            <a:avLst/>
          </a:prstGeom>
        </p:spPr>
      </p:pic>
      <p:pic>
        <p:nvPicPr>
          <p:cNvPr id="9" name="Picture 8"/>
          <p:cNvPicPr>
            <a:picLocks noChangeAspect="1"/>
          </p:cNvPicPr>
          <p:nvPr/>
        </p:nvPicPr>
        <p:blipFill>
          <a:blip r:embed="rId6"/>
          <a:stretch>
            <a:fillRect/>
          </a:stretch>
        </p:blipFill>
        <p:spPr>
          <a:xfrm>
            <a:off x="3705367" y="4617087"/>
            <a:ext cx="3616816" cy="2245214"/>
          </a:xfrm>
          <a:prstGeom prst="rect">
            <a:avLst/>
          </a:prstGeom>
        </p:spPr>
      </p:pic>
      <p:pic>
        <p:nvPicPr>
          <p:cNvPr id="10" name="Picture 9"/>
          <p:cNvPicPr>
            <a:picLocks noChangeAspect="1"/>
          </p:cNvPicPr>
          <p:nvPr/>
        </p:nvPicPr>
        <p:blipFill>
          <a:blip r:embed="rId7"/>
          <a:stretch>
            <a:fillRect/>
          </a:stretch>
        </p:blipFill>
        <p:spPr>
          <a:xfrm>
            <a:off x="3705367" y="0"/>
            <a:ext cx="3611999" cy="2270987"/>
          </a:xfrm>
          <a:prstGeom prst="rect">
            <a:avLst/>
          </a:prstGeom>
        </p:spPr>
      </p:pic>
      <p:pic>
        <p:nvPicPr>
          <p:cNvPr id="11" name="Picture 10"/>
          <p:cNvPicPr>
            <a:picLocks noChangeAspect="1"/>
          </p:cNvPicPr>
          <p:nvPr/>
        </p:nvPicPr>
        <p:blipFill>
          <a:blip r:embed="rId8"/>
          <a:stretch>
            <a:fillRect/>
          </a:stretch>
        </p:blipFill>
        <p:spPr>
          <a:xfrm>
            <a:off x="37563" y="6439"/>
            <a:ext cx="3613925" cy="2264548"/>
          </a:xfrm>
          <a:prstGeom prst="rect">
            <a:avLst/>
          </a:prstGeom>
        </p:spPr>
      </p:pic>
      <p:sp>
        <p:nvSpPr>
          <p:cNvPr id="12" name="TextBox 11"/>
          <p:cNvSpPr txBox="1"/>
          <p:nvPr/>
        </p:nvSpPr>
        <p:spPr>
          <a:xfrm>
            <a:off x="3207136" y="2287151"/>
            <a:ext cx="444352" cy="523220"/>
          </a:xfrm>
          <a:prstGeom prst="rect">
            <a:avLst/>
          </a:prstGeom>
          <a:noFill/>
        </p:spPr>
        <p:txBody>
          <a:bodyPr wrap="none" rtlCol="0">
            <a:spAutoFit/>
          </a:bodyPr>
          <a:lstStyle/>
          <a:p>
            <a:r>
              <a:rPr lang="en-US" b="1" dirty="0" smtClean="0">
                <a:solidFill>
                  <a:prstClr val="black"/>
                </a:solidFill>
                <a:cs typeface="Arial" pitchFamily="34" charset="0"/>
              </a:rPr>
              <a:t>B</a:t>
            </a:r>
            <a:endParaRPr lang="th-TH" b="1" dirty="0">
              <a:solidFill>
                <a:prstClr val="black"/>
              </a:solidFill>
            </a:endParaRPr>
          </a:p>
        </p:txBody>
      </p:sp>
      <p:sp>
        <p:nvSpPr>
          <p:cNvPr id="19" name="TextBox 18"/>
          <p:cNvSpPr txBox="1"/>
          <p:nvPr/>
        </p:nvSpPr>
        <p:spPr>
          <a:xfrm>
            <a:off x="3207136" y="4619988"/>
            <a:ext cx="444352" cy="523220"/>
          </a:xfrm>
          <a:prstGeom prst="rect">
            <a:avLst/>
          </a:prstGeom>
          <a:noFill/>
        </p:spPr>
        <p:txBody>
          <a:bodyPr wrap="none" rtlCol="0">
            <a:spAutoFit/>
          </a:bodyPr>
          <a:lstStyle/>
          <a:p>
            <a:r>
              <a:rPr lang="en-US" b="1" dirty="0" smtClean="0">
                <a:solidFill>
                  <a:prstClr val="black"/>
                </a:solidFill>
                <a:cs typeface="Arial" pitchFamily="34" charset="0"/>
              </a:rPr>
              <a:t>R</a:t>
            </a:r>
            <a:endParaRPr lang="th-TH" b="1" dirty="0">
              <a:solidFill>
                <a:prstClr val="black"/>
              </a:solidFill>
            </a:endParaRPr>
          </a:p>
        </p:txBody>
      </p:sp>
      <p:sp>
        <p:nvSpPr>
          <p:cNvPr id="20" name="TextBox 19"/>
          <p:cNvSpPr txBox="1"/>
          <p:nvPr/>
        </p:nvSpPr>
        <p:spPr>
          <a:xfrm>
            <a:off x="6952441" y="18245"/>
            <a:ext cx="284052" cy="523220"/>
          </a:xfrm>
          <a:prstGeom prst="rect">
            <a:avLst/>
          </a:prstGeom>
          <a:noFill/>
        </p:spPr>
        <p:txBody>
          <a:bodyPr wrap="none" rtlCol="0">
            <a:spAutoFit/>
          </a:bodyPr>
          <a:lstStyle/>
          <a:p>
            <a:r>
              <a:rPr lang="en-US" b="1" dirty="0" smtClean="0">
                <a:solidFill>
                  <a:prstClr val="black"/>
                </a:solidFill>
                <a:cs typeface="Arial" pitchFamily="34" charset="0"/>
              </a:rPr>
              <a:t>I</a:t>
            </a:r>
            <a:endParaRPr lang="th-TH" b="1" dirty="0">
              <a:solidFill>
                <a:prstClr val="black"/>
              </a:solidFill>
            </a:endParaRPr>
          </a:p>
        </p:txBody>
      </p:sp>
      <p:sp>
        <p:nvSpPr>
          <p:cNvPr id="21" name="TextBox 20"/>
          <p:cNvSpPr txBox="1"/>
          <p:nvPr/>
        </p:nvSpPr>
        <p:spPr>
          <a:xfrm>
            <a:off x="6873014" y="2202217"/>
            <a:ext cx="444352" cy="523220"/>
          </a:xfrm>
          <a:prstGeom prst="rect">
            <a:avLst/>
          </a:prstGeom>
          <a:noFill/>
        </p:spPr>
        <p:txBody>
          <a:bodyPr wrap="none" rtlCol="0">
            <a:spAutoFit/>
          </a:bodyPr>
          <a:lstStyle/>
          <a:p>
            <a:r>
              <a:rPr lang="en-US" b="1" dirty="0" smtClean="0">
                <a:solidFill>
                  <a:prstClr val="black"/>
                </a:solidFill>
                <a:cs typeface="Arial" pitchFamily="34" charset="0"/>
              </a:rPr>
              <a:t>C</a:t>
            </a:r>
            <a:endParaRPr lang="th-TH" b="1" dirty="0">
              <a:solidFill>
                <a:prstClr val="black"/>
              </a:solidFill>
            </a:endParaRPr>
          </a:p>
        </p:txBody>
      </p:sp>
      <p:sp>
        <p:nvSpPr>
          <p:cNvPr id="22" name="TextBox 21"/>
          <p:cNvSpPr txBox="1"/>
          <p:nvPr/>
        </p:nvSpPr>
        <p:spPr>
          <a:xfrm>
            <a:off x="6872291" y="4530144"/>
            <a:ext cx="423514" cy="523220"/>
          </a:xfrm>
          <a:prstGeom prst="rect">
            <a:avLst/>
          </a:prstGeom>
          <a:noFill/>
        </p:spPr>
        <p:txBody>
          <a:bodyPr wrap="none" rtlCol="0">
            <a:spAutoFit/>
          </a:bodyPr>
          <a:lstStyle/>
          <a:p>
            <a:r>
              <a:rPr lang="en-US" b="1" dirty="0" smtClean="0">
                <a:solidFill>
                  <a:prstClr val="black"/>
                </a:solidFill>
                <a:cs typeface="Arial" pitchFamily="34" charset="0"/>
              </a:rPr>
              <a:t>S</a:t>
            </a:r>
            <a:endParaRPr lang="th-TH" b="1" dirty="0">
              <a:solidFill>
                <a:prstClr val="black"/>
              </a:solidFill>
            </a:endParaRPr>
          </a:p>
        </p:txBody>
      </p:sp>
      <p:sp>
        <p:nvSpPr>
          <p:cNvPr id="23" name="TextBox 22"/>
          <p:cNvSpPr txBox="1"/>
          <p:nvPr/>
        </p:nvSpPr>
        <p:spPr>
          <a:xfrm>
            <a:off x="3048569" y="-16359"/>
            <a:ext cx="671979" cy="369332"/>
          </a:xfrm>
          <a:prstGeom prst="rect">
            <a:avLst/>
          </a:prstGeom>
          <a:noFill/>
        </p:spPr>
        <p:txBody>
          <a:bodyPr wrap="none" rtlCol="0">
            <a:spAutoFit/>
          </a:bodyPr>
          <a:lstStyle/>
          <a:p>
            <a:r>
              <a:rPr lang="en-US" sz="1800" b="1" dirty="0" smtClean="0">
                <a:solidFill>
                  <a:prstClr val="black"/>
                </a:solidFill>
                <a:cs typeface="Arial" pitchFamily="34" charset="0"/>
              </a:rPr>
              <a:t>USA</a:t>
            </a:r>
            <a:endParaRPr lang="th-TH" sz="1800" b="1" dirty="0">
              <a:solidFill>
                <a:prstClr val="black"/>
              </a:solidFill>
            </a:endParaRPr>
          </a:p>
        </p:txBody>
      </p:sp>
      <p:sp>
        <p:nvSpPr>
          <p:cNvPr id="13" name="TextBox 12"/>
          <p:cNvSpPr txBox="1"/>
          <p:nvPr/>
        </p:nvSpPr>
        <p:spPr>
          <a:xfrm>
            <a:off x="7371245" y="216196"/>
            <a:ext cx="1553814" cy="523220"/>
          </a:xfrm>
          <a:prstGeom prst="rect">
            <a:avLst/>
          </a:prstGeom>
          <a:solidFill>
            <a:srgbClr val="FF4611"/>
          </a:solidFill>
          <a:ln>
            <a:headEnd/>
            <a:tailEnd/>
          </a:ln>
        </p:spPr>
        <p:style>
          <a:lnRef idx="1">
            <a:schemeClr val="accent1"/>
          </a:lnRef>
          <a:fillRef idx="2">
            <a:schemeClr val="accent1"/>
          </a:fillRef>
          <a:effectRef idx="1">
            <a:schemeClr val="accent1"/>
          </a:effectRef>
          <a:fontRef idx="minor">
            <a:schemeClr val="dk1"/>
          </a:fontRef>
        </p:style>
        <p:txBody>
          <a:bodyPr anchor="ctr"/>
          <a:lstStyle>
            <a:defPPr>
              <a:defRPr lang="th-TH"/>
            </a:defPPr>
            <a:lvl1pPr algn="ctr" eaLnBrk="0" hangingPunct="0">
              <a:defRPr b="1" kern="0">
                <a:solidFill>
                  <a:schemeClr val="bg1"/>
                </a:solidFill>
                <a:effectLst>
                  <a:outerShdw blurRad="38100" dist="38100" dir="2700000" algn="tl">
                    <a:srgbClr val="000000">
                      <a:alpha val="43137"/>
                    </a:srgbClr>
                  </a:outerShdw>
                </a:effectLst>
                <a:latin typeface="AngsanaUPC" panose="02020603050405020304" pitchFamily="18" charset="-34"/>
                <a:cs typeface="AngsanaUPC" panose="02020603050405020304" pitchFamily="18" charset="-34"/>
              </a:defRPr>
            </a:lvl1pPr>
            <a:lvl2pPr>
              <a:defRPr>
                <a:solidFill>
                  <a:schemeClr val="dk1"/>
                </a:solidFill>
                <a:latin typeface="+mn-lt"/>
                <a:cs typeface="+mn-cs"/>
              </a:defRPr>
            </a:lvl2pPr>
            <a:lvl3pPr>
              <a:defRPr>
                <a:solidFill>
                  <a:schemeClr val="dk1"/>
                </a:solidFill>
                <a:latin typeface="+mn-lt"/>
                <a:cs typeface="+mn-cs"/>
              </a:defRPr>
            </a:lvl3pPr>
            <a:lvl4pPr>
              <a:defRPr>
                <a:solidFill>
                  <a:schemeClr val="dk1"/>
                </a:solidFill>
                <a:latin typeface="+mn-lt"/>
                <a:cs typeface="+mn-cs"/>
              </a:defRPr>
            </a:lvl4pPr>
            <a:lvl5pPr>
              <a:defRPr>
                <a:solidFill>
                  <a:schemeClr val="dk1"/>
                </a:solidFill>
                <a:latin typeface="+mn-lt"/>
                <a:cs typeface="+mn-cs"/>
              </a:defRPr>
            </a:lvl5pPr>
            <a:lvl6pPr>
              <a:defRPr>
                <a:solidFill>
                  <a:schemeClr val="dk1"/>
                </a:solidFill>
                <a:latin typeface="+mn-lt"/>
                <a:cs typeface="+mn-cs"/>
              </a:defRPr>
            </a:lvl6pPr>
            <a:lvl7pPr>
              <a:defRPr>
                <a:solidFill>
                  <a:schemeClr val="dk1"/>
                </a:solidFill>
                <a:latin typeface="+mn-lt"/>
                <a:cs typeface="+mn-cs"/>
              </a:defRPr>
            </a:lvl7pPr>
            <a:lvl8pPr>
              <a:defRPr>
                <a:solidFill>
                  <a:schemeClr val="dk1"/>
                </a:solidFill>
                <a:latin typeface="+mn-lt"/>
                <a:cs typeface="+mn-cs"/>
              </a:defRPr>
            </a:lvl8pPr>
            <a:lvl9pPr>
              <a:defRPr>
                <a:solidFill>
                  <a:schemeClr val="dk1"/>
                </a:solidFill>
                <a:latin typeface="+mn-lt"/>
                <a:cs typeface="+mn-cs"/>
              </a:defRPr>
            </a:lvl9pPr>
          </a:lstStyle>
          <a:p>
            <a:r>
              <a:rPr lang="en-US" sz="4000" dirty="0"/>
              <a:t>BRICS</a:t>
            </a:r>
            <a:endParaRPr lang="th-TH" sz="4000" dirty="0"/>
          </a:p>
        </p:txBody>
      </p:sp>
      <p:sp>
        <p:nvSpPr>
          <p:cNvPr id="24" name="TextBox 23"/>
          <p:cNvSpPr txBox="1"/>
          <p:nvPr/>
        </p:nvSpPr>
        <p:spPr>
          <a:xfrm>
            <a:off x="7371245" y="818359"/>
            <a:ext cx="1553814" cy="5139869"/>
          </a:xfrm>
          <a:prstGeom prst="rect">
            <a:avLst/>
          </a:prstGeom>
          <a:noFill/>
          <a:ln>
            <a:solidFill>
              <a:schemeClr val="accent1"/>
            </a:solidFill>
          </a:ln>
        </p:spPr>
        <p:txBody>
          <a:bodyPr wrap="square" rtlCol="0">
            <a:spAutoFit/>
          </a:bodyPr>
          <a:lstStyle/>
          <a:p>
            <a:pPr algn="ctr"/>
            <a:r>
              <a:rPr lang="th-TH" dirty="0" smtClean="0">
                <a:solidFill>
                  <a:schemeClr val="accent1"/>
                </a:solidFill>
              </a:rPr>
              <a:t>อีกบทบาทของจีนในการรวมกลุ่มประเทศ</a:t>
            </a:r>
          </a:p>
          <a:p>
            <a:pPr algn="ctr"/>
            <a:r>
              <a:rPr lang="th-TH" dirty="0" smtClean="0">
                <a:solidFill>
                  <a:schemeClr val="accent1"/>
                </a:solidFill>
              </a:rPr>
              <a:t>เพื่อถ่วงดุลเศรษฐกิจ</a:t>
            </a:r>
          </a:p>
          <a:p>
            <a:pPr algn="ctr"/>
            <a:r>
              <a:rPr lang="th-TH" dirty="0" smtClean="0">
                <a:solidFill>
                  <a:schemeClr val="accent1"/>
                </a:solidFill>
              </a:rPr>
              <a:t>กับอเมริกา</a:t>
            </a:r>
          </a:p>
          <a:p>
            <a:pPr algn="ctr"/>
            <a:endParaRPr lang="en-US" dirty="0">
              <a:solidFill>
                <a:schemeClr val="accent1"/>
              </a:solidFill>
            </a:endParaRPr>
          </a:p>
          <a:p>
            <a:pPr algn="ctr"/>
            <a:r>
              <a:rPr lang="en-US" sz="2000" dirty="0" smtClean="0">
                <a:solidFill>
                  <a:schemeClr val="accent1"/>
                </a:solidFill>
              </a:rPr>
              <a:t>USA : BRICS</a:t>
            </a:r>
          </a:p>
          <a:p>
            <a:pPr algn="ctr"/>
            <a:endParaRPr lang="en-US" sz="2400" dirty="0">
              <a:solidFill>
                <a:schemeClr val="accent1"/>
              </a:solidFill>
            </a:endParaRPr>
          </a:p>
          <a:p>
            <a:pPr algn="ctr"/>
            <a:r>
              <a:rPr lang="en-US" sz="2000" dirty="0" smtClean="0">
                <a:solidFill>
                  <a:schemeClr val="accent1"/>
                </a:solidFill>
              </a:rPr>
              <a:t>16.77 : 15.8106</a:t>
            </a:r>
            <a:endParaRPr lang="th-TH" sz="2000" dirty="0">
              <a:solidFill>
                <a:schemeClr val="accent1"/>
              </a:solidFill>
            </a:endParaRPr>
          </a:p>
        </p:txBody>
      </p:sp>
    </p:spTree>
    <p:extLst>
      <p:ext uri="{BB962C8B-B14F-4D97-AF65-F5344CB8AC3E}">
        <p14:creationId xmlns:p14="http://schemas.microsoft.com/office/powerpoint/2010/main" val="2283253504"/>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8002" name="Picture 2" descr="180373cf84321673d1cc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17" y="1"/>
            <a:ext cx="6169115"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p:cNvSpPr txBox="1"/>
          <p:nvPr/>
        </p:nvSpPr>
        <p:spPr>
          <a:xfrm>
            <a:off x="6477001" y="76200"/>
            <a:ext cx="2409422" cy="707886"/>
          </a:xfrm>
          <a:prstGeom prst="rect">
            <a:avLst/>
          </a:prstGeom>
          <a:solidFill>
            <a:srgbClr val="FF4611"/>
          </a:solidFill>
          <a:ln>
            <a:headEnd/>
            <a:tailEnd/>
          </a:ln>
        </p:spPr>
        <p:style>
          <a:lnRef idx="1">
            <a:schemeClr val="accent1"/>
          </a:lnRef>
          <a:fillRef idx="2">
            <a:schemeClr val="accent1"/>
          </a:fillRef>
          <a:effectRef idx="1">
            <a:schemeClr val="accent1"/>
          </a:effectRef>
          <a:fontRef idx="minor">
            <a:schemeClr val="dk1"/>
          </a:fontRef>
        </p:style>
        <p:txBody>
          <a:bodyPr anchor="ctr"/>
          <a:lstStyle>
            <a:defPPr>
              <a:defRPr lang="th-TH"/>
            </a:defPPr>
            <a:lvl1pPr algn="ctr" eaLnBrk="0" hangingPunct="0">
              <a:defRPr sz="4000" b="1" kern="0">
                <a:solidFill>
                  <a:schemeClr val="bg1"/>
                </a:solidFill>
                <a:effectLst>
                  <a:outerShdw blurRad="38100" dist="38100" dir="2700000" algn="tl">
                    <a:srgbClr val="000000">
                      <a:alpha val="43137"/>
                    </a:srgbClr>
                  </a:outerShdw>
                </a:effectLst>
                <a:latin typeface="AngsanaUPC" panose="02020603050405020304" pitchFamily="18" charset="-34"/>
                <a:cs typeface="AngsanaUPC" panose="02020603050405020304" pitchFamily="18" charset="-34"/>
              </a:defRPr>
            </a:lvl1pPr>
            <a:lvl2pPr>
              <a:defRPr>
                <a:solidFill>
                  <a:schemeClr val="dk1"/>
                </a:solidFill>
                <a:latin typeface="+mn-lt"/>
                <a:cs typeface="+mn-cs"/>
              </a:defRPr>
            </a:lvl2pPr>
            <a:lvl3pPr>
              <a:defRPr>
                <a:solidFill>
                  <a:schemeClr val="dk1"/>
                </a:solidFill>
                <a:latin typeface="+mn-lt"/>
                <a:cs typeface="+mn-cs"/>
              </a:defRPr>
            </a:lvl3pPr>
            <a:lvl4pPr>
              <a:defRPr>
                <a:solidFill>
                  <a:schemeClr val="dk1"/>
                </a:solidFill>
                <a:latin typeface="+mn-lt"/>
                <a:cs typeface="+mn-cs"/>
              </a:defRPr>
            </a:lvl4pPr>
            <a:lvl5pPr>
              <a:defRPr>
                <a:solidFill>
                  <a:schemeClr val="dk1"/>
                </a:solidFill>
                <a:latin typeface="+mn-lt"/>
                <a:cs typeface="+mn-cs"/>
              </a:defRPr>
            </a:lvl5pPr>
            <a:lvl6pPr>
              <a:defRPr>
                <a:solidFill>
                  <a:schemeClr val="dk1"/>
                </a:solidFill>
                <a:latin typeface="+mn-lt"/>
                <a:cs typeface="+mn-cs"/>
              </a:defRPr>
            </a:lvl6pPr>
            <a:lvl7pPr>
              <a:defRPr>
                <a:solidFill>
                  <a:schemeClr val="dk1"/>
                </a:solidFill>
                <a:latin typeface="+mn-lt"/>
                <a:cs typeface="+mn-cs"/>
              </a:defRPr>
            </a:lvl7pPr>
            <a:lvl8pPr>
              <a:defRPr>
                <a:solidFill>
                  <a:schemeClr val="dk1"/>
                </a:solidFill>
                <a:latin typeface="+mn-lt"/>
                <a:cs typeface="+mn-cs"/>
              </a:defRPr>
            </a:lvl8pPr>
            <a:lvl9pPr>
              <a:defRPr>
                <a:solidFill>
                  <a:schemeClr val="dk1"/>
                </a:solidFill>
                <a:latin typeface="+mn-lt"/>
                <a:cs typeface="+mn-cs"/>
              </a:defRPr>
            </a:lvl9pPr>
          </a:lstStyle>
          <a:p>
            <a:r>
              <a:rPr lang="en-US" dirty="0"/>
              <a:t>AIIB</a:t>
            </a:r>
            <a:endParaRPr lang="th-TH" dirty="0"/>
          </a:p>
        </p:txBody>
      </p:sp>
      <p:sp>
        <p:nvSpPr>
          <p:cNvPr id="25" name="TextBox 24"/>
          <p:cNvSpPr txBox="1"/>
          <p:nvPr/>
        </p:nvSpPr>
        <p:spPr>
          <a:xfrm>
            <a:off x="6425484" y="727625"/>
            <a:ext cx="2514600" cy="1200329"/>
          </a:xfrm>
          <a:prstGeom prst="rect">
            <a:avLst/>
          </a:prstGeom>
          <a:noFill/>
        </p:spPr>
        <p:txBody>
          <a:bodyPr wrap="square" rtlCol="0">
            <a:spAutoFit/>
          </a:bodyPr>
          <a:lstStyle/>
          <a:p>
            <a:pPr algn="ctr"/>
            <a:r>
              <a:rPr lang="th-TH" sz="2400" dirty="0" smtClean="0">
                <a:solidFill>
                  <a:schemeClr val="accent1"/>
                </a:solidFill>
              </a:rPr>
              <a:t>นานาเหตุผลของจีนกับการรวมกลุ่มนานาประเทศในการตั้ง </a:t>
            </a:r>
            <a:r>
              <a:rPr lang="en-US" sz="2400" dirty="0" smtClean="0">
                <a:solidFill>
                  <a:schemeClr val="accent1"/>
                </a:solidFill>
                <a:cs typeface="Arial" pitchFamily="34" charset="0"/>
              </a:rPr>
              <a:t>AIIB</a:t>
            </a:r>
            <a:endParaRPr lang="th-TH" sz="2400" dirty="0">
              <a:solidFill>
                <a:schemeClr val="accent1"/>
              </a:solidFill>
            </a:endParaRPr>
          </a:p>
        </p:txBody>
      </p:sp>
      <p:sp>
        <p:nvSpPr>
          <p:cNvPr id="3" name="Rectangle 2"/>
          <p:cNvSpPr/>
          <p:nvPr/>
        </p:nvSpPr>
        <p:spPr>
          <a:xfrm>
            <a:off x="6043437" y="1964838"/>
            <a:ext cx="2948163" cy="4708981"/>
          </a:xfrm>
          <a:prstGeom prst="rect">
            <a:avLst/>
          </a:prstGeom>
        </p:spPr>
        <p:txBody>
          <a:bodyPr wrap="square">
            <a:spAutoFit/>
          </a:bodyPr>
          <a:lstStyle/>
          <a:p>
            <a:pPr marL="342900" indent="-342900">
              <a:buFont typeface="Arial" panose="020B0604020202020204" pitchFamily="34" charset="0"/>
              <a:buChar char="•"/>
            </a:pPr>
            <a:r>
              <a:rPr lang="th-TH" sz="2000" dirty="0">
                <a:solidFill>
                  <a:schemeClr val="accent1"/>
                </a:solidFill>
                <a:latin typeface="CordiaUPC" panose="020B0304020202020204" pitchFamily="34" charset="-34"/>
                <a:cs typeface="CordiaUPC" panose="020B0304020202020204" pitchFamily="34" charset="-34"/>
              </a:rPr>
              <a:t>สนับสนุนในโครงการต่างๆ เช่นท่าเรือ ทางด่วน รถไฟ หรือโครงการด้านพลังงาน ที่เอเชียมีความต้องการ คิดเป็นมูลค่าปีละ 800,000 ล้านดอลล่าร์</a:t>
            </a:r>
          </a:p>
          <a:p>
            <a:pPr marL="342900" indent="-342900">
              <a:buFont typeface="Arial" panose="020B0604020202020204" pitchFamily="34" charset="0"/>
              <a:buChar char="•"/>
            </a:pPr>
            <a:r>
              <a:rPr lang="th-TH" sz="2000" dirty="0">
                <a:solidFill>
                  <a:srgbClr val="0070C0"/>
                </a:solidFill>
                <a:latin typeface="CordiaUPC" panose="020B0304020202020204" pitchFamily="34" charset="-34"/>
                <a:cs typeface="CordiaUPC" panose="020B0304020202020204" pitchFamily="34" charset="-34"/>
              </a:rPr>
              <a:t>ยกบทบาทของตนในองค์กรระหว่างประเทศ เทียบเคียง </a:t>
            </a:r>
            <a:r>
              <a:rPr lang="en-US" sz="2000" dirty="0">
                <a:solidFill>
                  <a:srgbClr val="0070C0"/>
                </a:solidFill>
                <a:latin typeface="CordiaUPC" panose="020B0304020202020204" pitchFamily="34" charset="-34"/>
                <a:cs typeface="CordiaUPC" panose="020B0304020202020204" pitchFamily="34" charset="-34"/>
              </a:rPr>
              <a:t>world bank (USA) </a:t>
            </a:r>
            <a:r>
              <a:rPr lang="th-TH" sz="2000" dirty="0">
                <a:solidFill>
                  <a:srgbClr val="0070C0"/>
                </a:solidFill>
                <a:latin typeface="CordiaUPC" panose="020B0304020202020204" pitchFamily="34" charset="-34"/>
                <a:cs typeface="CordiaUPC" panose="020B0304020202020204" pitchFamily="34" charset="-34"/>
              </a:rPr>
              <a:t>และ </a:t>
            </a:r>
            <a:r>
              <a:rPr lang="en-US" sz="2000" dirty="0">
                <a:solidFill>
                  <a:srgbClr val="0070C0"/>
                </a:solidFill>
                <a:latin typeface="CordiaUPC" panose="020B0304020202020204" pitchFamily="34" charset="-34"/>
                <a:cs typeface="CordiaUPC" panose="020B0304020202020204" pitchFamily="34" charset="-34"/>
              </a:rPr>
              <a:t>Asian Development Bank (Japan</a:t>
            </a:r>
            <a:r>
              <a:rPr lang="en-US" sz="2000" dirty="0" smtClean="0">
                <a:solidFill>
                  <a:srgbClr val="0070C0"/>
                </a:solidFill>
                <a:latin typeface="CordiaUPC" panose="020B0304020202020204" pitchFamily="34" charset="-34"/>
                <a:cs typeface="CordiaUPC" panose="020B0304020202020204" pitchFamily="34" charset="-34"/>
              </a:rPr>
              <a:t>)</a:t>
            </a:r>
          </a:p>
          <a:p>
            <a:pPr marL="342900" indent="-342900">
              <a:buFont typeface="Arial" panose="020B0604020202020204" pitchFamily="34" charset="0"/>
              <a:buChar char="•"/>
            </a:pPr>
            <a:r>
              <a:rPr lang="th-TH" sz="2000" dirty="0">
                <a:solidFill>
                  <a:schemeClr val="accent1"/>
                </a:solidFill>
                <a:latin typeface="CordiaUPC" panose="020B0304020202020204" pitchFamily="34" charset="-34"/>
                <a:cs typeface="CordiaUPC" panose="020B0304020202020204" pitchFamily="34" charset="-34"/>
              </a:rPr>
              <a:t>ทำให้หยวน (</a:t>
            </a:r>
            <a:r>
              <a:rPr lang="en-US" sz="2000" dirty="0">
                <a:solidFill>
                  <a:schemeClr val="accent1"/>
                </a:solidFill>
                <a:latin typeface="CordiaUPC" panose="020B0304020202020204" pitchFamily="34" charset="-34"/>
                <a:cs typeface="CordiaUPC" panose="020B0304020202020204" pitchFamily="34" charset="-34"/>
              </a:rPr>
              <a:t>RMB) </a:t>
            </a:r>
            <a:r>
              <a:rPr lang="th-TH" sz="2000" dirty="0">
                <a:solidFill>
                  <a:schemeClr val="accent1"/>
                </a:solidFill>
                <a:latin typeface="CordiaUPC" panose="020B0304020202020204" pitchFamily="34" charset="-34"/>
                <a:cs typeface="CordiaUPC" panose="020B0304020202020204" pitchFamily="34" charset="-34"/>
              </a:rPr>
              <a:t>เป็นสกุล</a:t>
            </a:r>
            <a:r>
              <a:rPr lang="th-TH" sz="2000" dirty="0" smtClean="0">
                <a:solidFill>
                  <a:schemeClr val="accent1"/>
                </a:solidFill>
                <a:latin typeface="CordiaUPC" panose="020B0304020202020204" pitchFamily="34" charset="-34"/>
                <a:cs typeface="CordiaUPC" panose="020B0304020202020204" pitchFamily="34" charset="-34"/>
              </a:rPr>
              <a:t>สากล</a:t>
            </a:r>
            <a:r>
              <a:rPr lang="en-US" sz="2000" dirty="0" smtClean="0">
                <a:solidFill>
                  <a:schemeClr val="accent1"/>
                </a:solidFill>
                <a:latin typeface="CordiaUPC" panose="020B0304020202020204" pitchFamily="34" charset="-34"/>
                <a:cs typeface="CordiaUPC" panose="020B0304020202020204" pitchFamily="34" charset="-34"/>
              </a:rPr>
              <a:t> </a:t>
            </a:r>
            <a:r>
              <a:rPr lang="th-TH" sz="2000" dirty="0">
                <a:solidFill>
                  <a:schemeClr val="accent1"/>
                </a:solidFill>
                <a:latin typeface="CordiaUPC" panose="020B0304020202020204" pitchFamily="34" charset="-34"/>
                <a:cs typeface="CordiaUPC" panose="020B0304020202020204" pitchFamily="34" charset="-34"/>
              </a:rPr>
              <a:t>และลดความสำคัญของค่าเงิน </a:t>
            </a:r>
            <a:r>
              <a:rPr lang="en-US" sz="2000" dirty="0" smtClean="0">
                <a:solidFill>
                  <a:schemeClr val="accent1"/>
                </a:solidFill>
                <a:latin typeface="CordiaUPC" panose="020B0304020202020204" pitchFamily="34" charset="-34"/>
                <a:cs typeface="CordiaUPC" panose="020B0304020202020204" pitchFamily="34" charset="-34"/>
              </a:rPr>
              <a:t>USD</a:t>
            </a:r>
          </a:p>
          <a:p>
            <a:pPr marL="342900" indent="-342900">
              <a:buFont typeface="Arial" panose="020B0604020202020204" pitchFamily="34" charset="0"/>
              <a:buChar char="•"/>
            </a:pPr>
            <a:r>
              <a:rPr lang="th-TH" sz="2000" u="sng" dirty="0">
                <a:solidFill>
                  <a:srgbClr val="0070C0"/>
                </a:solidFill>
              </a:rPr>
              <a:t>เปโตร</a:t>
            </a:r>
            <a:r>
              <a:rPr lang="th-TH" sz="2000" u="sng" dirty="0" smtClean="0">
                <a:solidFill>
                  <a:srgbClr val="0070C0"/>
                </a:solidFill>
              </a:rPr>
              <a:t>หยวน</a:t>
            </a:r>
            <a:r>
              <a:rPr lang="th-TH" sz="2000" u="sng" dirty="0">
                <a:solidFill>
                  <a:srgbClr val="0070C0"/>
                </a:solidFill>
              </a:rPr>
              <a:t> </a:t>
            </a:r>
            <a:r>
              <a:rPr lang="th-TH" sz="2000" dirty="0" smtClean="0">
                <a:solidFill>
                  <a:srgbClr val="0070C0"/>
                </a:solidFill>
              </a:rPr>
              <a:t>เริ่มมีบทบามมากขึ้น</a:t>
            </a:r>
            <a:endParaRPr lang="en-US" sz="2000" dirty="0" smtClean="0">
              <a:solidFill>
                <a:srgbClr val="0070C0"/>
              </a:solidFill>
              <a:latin typeface="CordiaUPC" panose="020B0304020202020204" pitchFamily="34" charset="-34"/>
              <a:cs typeface="CordiaUPC" panose="020B0304020202020204" pitchFamily="34" charset="-34"/>
            </a:endParaRPr>
          </a:p>
          <a:p>
            <a:pPr marL="342900" indent="-342900">
              <a:buFont typeface="Arial" panose="020B0604020202020204" pitchFamily="34" charset="0"/>
              <a:buChar char="•"/>
            </a:pPr>
            <a:r>
              <a:rPr lang="th-TH" sz="2000" dirty="0" smtClean="0">
                <a:solidFill>
                  <a:schemeClr val="accent1"/>
                </a:solidFill>
                <a:latin typeface="CordiaUPC" panose="020B0304020202020204" pitchFamily="34" charset="-34"/>
                <a:cs typeface="CordiaUPC" panose="020B0304020202020204" pitchFamily="34" charset="-34"/>
              </a:rPr>
              <a:t>ระบาย </a:t>
            </a:r>
            <a:r>
              <a:rPr lang="en-US" sz="2000" dirty="0" smtClean="0">
                <a:solidFill>
                  <a:schemeClr val="accent1"/>
                </a:solidFill>
                <a:latin typeface="CordiaUPC" panose="020B0304020202020204" pitchFamily="34" charset="-34"/>
                <a:cs typeface="CordiaUPC" panose="020B0304020202020204" pitchFamily="34" charset="-34"/>
              </a:rPr>
              <a:t>USD </a:t>
            </a:r>
            <a:r>
              <a:rPr lang="th-TH" sz="2000" dirty="0" smtClean="0">
                <a:solidFill>
                  <a:schemeClr val="accent1"/>
                </a:solidFill>
                <a:latin typeface="CordiaUPC" panose="020B0304020202020204" pitchFamily="34" charset="-34"/>
                <a:cs typeface="CordiaUPC" panose="020B0304020202020204" pitchFamily="34" charset="-34"/>
              </a:rPr>
              <a:t>ออกนอกประเทศ</a:t>
            </a:r>
          </a:p>
          <a:p>
            <a:pPr marL="342900" indent="-342900">
              <a:buFont typeface="Arial" panose="020B0604020202020204" pitchFamily="34" charset="0"/>
              <a:buChar char="•"/>
            </a:pPr>
            <a:r>
              <a:rPr lang="th-TH" sz="2000" dirty="0" smtClean="0">
                <a:solidFill>
                  <a:srgbClr val="0070C0"/>
                </a:solidFill>
                <a:latin typeface="CordiaUPC" panose="020B0304020202020204" pitchFamily="34" charset="-34"/>
                <a:cs typeface="CordiaUPC" panose="020B0304020202020204" pitchFamily="34" charset="-34"/>
              </a:rPr>
              <a:t>ฯลฯ</a:t>
            </a:r>
            <a:endParaRPr lang="th-TH" sz="2000" dirty="0">
              <a:solidFill>
                <a:srgbClr val="0070C0"/>
              </a:solidFill>
              <a:latin typeface="CordiaUPC" panose="020B0304020202020204" pitchFamily="34" charset="-34"/>
              <a:cs typeface="CordiaUPC" panose="020B0304020202020204" pitchFamily="34" charset="-34"/>
            </a:endParaRPr>
          </a:p>
        </p:txBody>
      </p:sp>
    </p:spTree>
    <p:extLst>
      <p:ext uri="{BB962C8B-B14F-4D97-AF65-F5344CB8AC3E}">
        <p14:creationId xmlns:p14="http://schemas.microsoft.com/office/powerpoint/2010/main" val="3861304349"/>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75" name="Picture 2" descr="asia_ref_2003 adjusted"/>
          <p:cNvPicPr>
            <a:picLocks noChangeAspect="1" noChangeArrowheads="1"/>
          </p:cNvPicPr>
          <p:nvPr/>
        </p:nvPicPr>
        <p:blipFill>
          <a:blip r:embed="rId3" cstate="print"/>
          <a:srcRect/>
          <a:stretch>
            <a:fillRect/>
          </a:stretch>
        </p:blipFill>
        <p:spPr bwMode="auto">
          <a:xfrm>
            <a:off x="0" y="1190394"/>
            <a:ext cx="9015212" cy="5661238"/>
          </a:xfrm>
          <a:prstGeom prst="rect">
            <a:avLst/>
          </a:prstGeom>
          <a:gradFill rotWithShape="0">
            <a:gsLst>
              <a:gs pos="0">
                <a:srgbClr val="003366"/>
              </a:gs>
              <a:gs pos="100000">
                <a:srgbClr val="00182F"/>
              </a:gs>
            </a:gsLst>
            <a:lin ang="5400000" scaled="1"/>
          </a:gradFill>
          <a:ln w="9525">
            <a:noFill/>
            <a:miter lim="800000"/>
            <a:headEnd/>
            <a:tailEnd/>
          </a:ln>
        </p:spPr>
      </p:pic>
      <p:sp>
        <p:nvSpPr>
          <p:cNvPr id="1460227" name="Rectangle 3"/>
          <p:cNvSpPr>
            <a:spLocks noChangeArrowheads="1"/>
          </p:cNvSpPr>
          <p:nvPr/>
        </p:nvSpPr>
        <p:spPr bwMode="auto">
          <a:xfrm>
            <a:off x="-13983" y="38646"/>
            <a:ext cx="9029195" cy="1118255"/>
          </a:xfrm>
          <a:prstGeom prst="rect">
            <a:avLst/>
          </a:prstGeom>
          <a:solidFill>
            <a:srgbClr val="FF4611"/>
          </a:solidFill>
        </p:spPr>
        <p:style>
          <a:lnRef idx="1">
            <a:schemeClr val="accent2"/>
          </a:lnRef>
          <a:fillRef idx="3">
            <a:schemeClr val="accent2"/>
          </a:fillRef>
          <a:effectRef idx="2">
            <a:schemeClr val="accent2"/>
          </a:effectRef>
          <a:fontRef idx="minor">
            <a:schemeClr val="lt1"/>
          </a:fontRef>
        </p:style>
        <p:txBody>
          <a:bodyPr wrap="square">
            <a:spAutoFit/>
          </a:bodyPr>
          <a:lstStyle/>
          <a:p>
            <a:pPr algn="ctr">
              <a:lnSpc>
                <a:spcPts val="4000"/>
              </a:lnSpc>
            </a:pPr>
            <a:r>
              <a:rPr lang="en-US" sz="3200" b="1" dirty="0">
                <a:solidFill>
                  <a:schemeClr val="bg1"/>
                </a:solidFill>
                <a:latin typeface="AngsanaUPC" panose="02020603050405020304" pitchFamily="18" charset="-34"/>
                <a:cs typeface="AngsanaUPC" panose="02020603050405020304" pitchFamily="18" charset="-34"/>
              </a:rPr>
              <a:t>ASEAN</a:t>
            </a:r>
            <a:r>
              <a:rPr lang="th-TH" sz="3200" b="1" dirty="0">
                <a:solidFill>
                  <a:schemeClr val="bg1"/>
                </a:solidFill>
                <a:latin typeface="AngsanaUPC" panose="02020603050405020304" pitchFamily="18" charset="-34"/>
                <a:cs typeface="AngsanaUPC" panose="02020603050405020304" pitchFamily="18" charset="-34"/>
              </a:rPr>
              <a:t> กับยุทธศาสตร์</a:t>
            </a:r>
            <a:r>
              <a:rPr lang="en-US" sz="3200" b="1" dirty="0">
                <a:solidFill>
                  <a:schemeClr val="bg1"/>
                </a:solidFill>
                <a:latin typeface="AngsanaUPC" panose="02020603050405020304" pitchFamily="18" charset="-34"/>
                <a:cs typeface="AngsanaUPC" panose="02020603050405020304" pitchFamily="18" charset="-34"/>
              </a:rPr>
              <a:t> FTA(Free Trade Areas/Free Trade Agreement)</a:t>
            </a:r>
            <a:endParaRPr lang="th-TH" sz="3200" b="1" dirty="0">
              <a:solidFill>
                <a:schemeClr val="bg1"/>
              </a:solidFill>
              <a:latin typeface="AngsanaUPC" panose="02020603050405020304" pitchFamily="18" charset="-34"/>
              <a:cs typeface="AngsanaUPC" panose="02020603050405020304" pitchFamily="18" charset="-34"/>
            </a:endParaRPr>
          </a:p>
          <a:p>
            <a:pPr algn="ctr">
              <a:lnSpc>
                <a:spcPts val="4000"/>
              </a:lnSpc>
            </a:pPr>
            <a:r>
              <a:rPr lang="th-TH" sz="3200" b="1" dirty="0">
                <a:solidFill>
                  <a:schemeClr val="bg1"/>
                </a:solidFill>
                <a:latin typeface="AngsanaUPC" panose="02020603050405020304" pitchFamily="18" charset="-34"/>
                <a:cs typeface="AngsanaUPC" panose="02020603050405020304" pitchFamily="18" charset="-34"/>
              </a:rPr>
              <a:t>ประเทศไทย</a:t>
            </a:r>
            <a:r>
              <a:rPr lang="en-US" sz="3200" b="1" dirty="0">
                <a:solidFill>
                  <a:schemeClr val="bg1"/>
                </a:solidFill>
                <a:latin typeface="AngsanaUPC" panose="02020603050405020304" pitchFamily="18" charset="-34"/>
                <a:cs typeface="AngsanaUPC" panose="02020603050405020304" pitchFamily="18" charset="-34"/>
              </a:rPr>
              <a:t> </a:t>
            </a:r>
            <a:r>
              <a:rPr lang="en-US" sz="3200" b="1" dirty="0">
                <a:solidFill>
                  <a:schemeClr val="bg1"/>
                </a:solidFill>
                <a:latin typeface="AngsanaUPC" panose="02020603050405020304" pitchFamily="18" charset="-34"/>
                <a:cs typeface="AngsanaUPC" panose="02020603050405020304" pitchFamily="18" charset="-34"/>
                <a:sym typeface="Wingdings" pitchFamily="2" charset="2"/>
              </a:rPr>
              <a:t></a:t>
            </a:r>
            <a:r>
              <a:rPr lang="en-US" sz="3200" b="1" dirty="0">
                <a:solidFill>
                  <a:schemeClr val="bg1"/>
                </a:solidFill>
                <a:latin typeface="AngsanaUPC" panose="02020603050405020304" pitchFamily="18" charset="-34"/>
                <a:cs typeface="AngsanaUPC" panose="02020603050405020304" pitchFamily="18" charset="-34"/>
              </a:rPr>
              <a:t>  East</a:t>
            </a:r>
            <a:r>
              <a:rPr lang="th-TH" sz="3200" b="1" dirty="0">
                <a:solidFill>
                  <a:schemeClr val="bg1"/>
                </a:solidFill>
                <a:latin typeface="AngsanaUPC" panose="02020603050405020304" pitchFamily="18" charset="-34"/>
                <a:cs typeface="AngsanaUPC" panose="02020603050405020304" pitchFamily="18" charset="-34"/>
              </a:rPr>
              <a:t>-</a:t>
            </a:r>
            <a:r>
              <a:rPr lang="en-US" sz="3200" b="1" dirty="0">
                <a:solidFill>
                  <a:schemeClr val="bg1"/>
                </a:solidFill>
                <a:latin typeface="AngsanaUPC" panose="02020603050405020304" pitchFamily="18" charset="-34"/>
                <a:cs typeface="AngsanaUPC" panose="02020603050405020304" pitchFamily="18" charset="-34"/>
              </a:rPr>
              <a:t>West corridor </a:t>
            </a:r>
            <a:r>
              <a:rPr lang="th-TH" sz="3200" b="1" dirty="0">
                <a:solidFill>
                  <a:schemeClr val="bg1"/>
                </a:solidFill>
                <a:latin typeface="AngsanaUPC" panose="02020603050405020304" pitchFamily="18" charset="-34"/>
                <a:cs typeface="AngsanaUPC" panose="02020603050405020304" pitchFamily="18" charset="-34"/>
              </a:rPr>
              <a:t>แห่งอินโดจีน</a:t>
            </a:r>
            <a:endParaRPr lang="en-US" sz="3200" b="1" dirty="0">
              <a:solidFill>
                <a:schemeClr val="bg1"/>
              </a:solidFill>
              <a:latin typeface="AngsanaUPC" panose="02020603050405020304" pitchFamily="18" charset="-34"/>
              <a:cs typeface="AngsanaUPC" panose="02020603050405020304" pitchFamily="18" charset="-34"/>
            </a:endParaRPr>
          </a:p>
        </p:txBody>
      </p:sp>
      <p:sp>
        <p:nvSpPr>
          <p:cNvPr id="1460230" name="Text Box 6"/>
          <p:cNvSpPr txBox="1">
            <a:spLocks noChangeArrowheads="1"/>
          </p:cNvSpPr>
          <p:nvPr/>
        </p:nvSpPr>
        <p:spPr bwMode="auto">
          <a:xfrm>
            <a:off x="5611833" y="5619389"/>
            <a:ext cx="3406563" cy="492108"/>
          </a:xfrm>
          <a:prstGeom prst="rect">
            <a:avLst/>
          </a:prstGeom>
          <a:solidFill>
            <a:schemeClr val="bg1">
              <a:alpha val="74001"/>
            </a:schemeClr>
          </a:solidFill>
          <a:ln w="9525">
            <a:noFill/>
            <a:miter lim="800000"/>
            <a:headEnd/>
            <a:tailEnd/>
          </a:ln>
          <a:effectLst/>
        </p:spPr>
        <p:txBody>
          <a:bodyPr wrap="square" anchor="ctr" anchorCtr="1">
            <a:noAutofit/>
          </a:bodyPr>
          <a:lstStyle/>
          <a:p>
            <a:pPr>
              <a:lnSpc>
                <a:spcPct val="80000"/>
              </a:lnSpc>
              <a:spcBef>
                <a:spcPct val="50000"/>
              </a:spcBef>
              <a:defRPr/>
            </a:pPr>
            <a:r>
              <a:rPr lang="en-US" sz="1800" b="1" dirty="0" smtClean="0">
                <a:solidFill>
                  <a:srgbClr val="0070C0"/>
                </a:solidFill>
                <a:latin typeface="Times New Roman" pitchFamily="18" charset="0"/>
                <a:cs typeface="Times New Roman" pitchFamily="18" charset="0"/>
              </a:rPr>
              <a:t>5 Australia</a:t>
            </a:r>
            <a:r>
              <a:rPr lang="en-US" sz="1800" b="1" dirty="0">
                <a:solidFill>
                  <a:srgbClr val="0070C0"/>
                </a:solidFill>
                <a:latin typeface="Times New Roman" pitchFamily="18" charset="0"/>
                <a:cs typeface="Times New Roman" pitchFamily="18" charset="0"/>
              </a:rPr>
              <a:t>: </a:t>
            </a:r>
            <a:r>
              <a:rPr lang="en-US" sz="1800" b="1" dirty="0" smtClean="0">
                <a:solidFill>
                  <a:srgbClr val="0070C0"/>
                </a:solidFill>
                <a:latin typeface="Times New Roman" pitchFamily="18" charset="0"/>
                <a:cs typeface="Times New Roman" pitchFamily="18" charset="0"/>
              </a:rPr>
              <a:t>24.2 </a:t>
            </a:r>
            <a:r>
              <a:rPr lang="en-US" sz="1800" b="1" dirty="0">
                <a:solidFill>
                  <a:srgbClr val="0070C0"/>
                </a:solidFill>
                <a:latin typeface="Times New Roman" pitchFamily="18" charset="0"/>
                <a:cs typeface="Times New Roman" pitchFamily="18" charset="0"/>
              </a:rPr>
              <a:t>million - </a:t>
            </a:r>
            <a:r>
              <a:rPr lang="en-US" sz="1600" b="1" dirty="0">
                <a:solidFill>
                  <a:srgbClr val="0070C0"/>
                </a:solidFill>
                <a:latin typeface="Times New Roman" pitchFamily="18" charset="0"/>
                <a:cs typeface="Times New Roman" pitchFamily="18" charset="0"/>
              </a:rPr>
              <a:t>TAFTA</a:t>
            </a:r>
            <a:endParaRPr lang="en-US" sz="2000" dirty="0">
              <a:solidFill>
                <a:srgbClr val="0070C0"/>
              </a:solidFill>
              <a:latin typeface="Times New Roman" pitchFamily="18" charset="0"/>
              <a:cs typeface="Times New Roman" pitchFamily="18" charset="0"/>
            </a:endParaRPr>
          </a:p>
        </p:txBody>
      </p:sp>
      <p:sp>
        <p:nvSpPr>
          <p:cNvPr id="1460231" name="Text Box 7"/>
          <p:cNvSpPr txBox="1">
            <a:spLocks noChangeArrowheads="1"/>
          </p:cNvSpPr>
          <p:nvPr/>
        </p:nvSpPr>
        <p:spPr bwMode="auto">
          <a:xfrm>
            <a:off x="228596" y="2185582"/>
            <a:ext cx="3657600" cy="504856"/>
          </a:xfrm>
          <a:prstGeom prst="rect">
            <a:avLst/>
          </a:prstGeom>
          <a:solidFill>
            <a:schemeClr val="bg1">
              <a:alpha val="74001"/>
            </a:schemeClr>
          </a:solidFill>
          <a:ln w="9525">
            <a:noFill/>
            <a:miter lim="800000"/>
            <a:headEnd/>
            <a:tailEnd/>
          </a:ln>
          <a:effectLst/>
        </p:spPr>
        <p:txBody>
          <a:bodyPr wrap="square" lIns="54000" rIns="54000" anchor="ctr" anchorCtr="1">
            <a:noAutofit/>
          </a:bodyPr>
          <a:lstStyle/>
          <a:p>
            <a:pPr>
              <a:lnSpc>
                <a:spcPct val="70000"/>
              </a:lnSpc>
              <a:spcBef>
                <a:spcPct val="50000"/>
              </a:spcBef>
              <a:defRPr/>
            </a:pPr>
            <a:r>
              <a:rPr lang="en-US" sz="2000" b="1" dirty="0" smtClean="0">
                <a:solidFill>
                  <a:srgbClr val="0070C0"/>
                </a:solidFill>
                <a:latin typeface="Times New Roman" pitchFamily="18" charset="0"/>
                <a:cs typeface="Times New Roman" pitchFamily="18" charset="0"/>
              </a:rPr>
              <a:t>1 China</a:t>
            </a:r>
            <a:r>
              <a:rPr lang="en-US" sz="2000" b="1" dirty="0">
                <a:solidFill>
                  <a:srgbClr val="0070C0"/>
                </a:solidFill>
                <a:latin typeface="Times New Roman" pitchFamily="18" charset="0"/>
                <a:cs typeface="Times New Roman" pitchFamily="18" charset="0"/>
              </a:rPr>
              <a:t>: </a:t>
            </a:r>
            <a:r>
              <a:rPr lang="en-US" sz="2000" b="1" dirty="0" smtClean="0">
                <a:solidFill>
                  <a:srgbClr val="0070C0"/>
                </a:solidFill>
                <a:latin typeface="Times New Roman" pitchFamily="18" charset="0"/>
                <a:cs typeface="Times New Roman" pitchFamily="18" charset="0"/>
              </a:rPr>
              <a:t>1.379 </a:t>
            </a:r>
            <a:r>
              <a:rPr lang="en-US" sz="2000" b="1" dirty="0">
                <a:solidFill>
                  <a:srgbClr val="0070C0"/>
                </a:solidFill>
                <a:latin typeface="Times New Roman" pitchFamily="18" charset="0"/>
                <a:cs typeface="Times New Roman" pitchFamily="18" charset="0"/>
              </a:rPr>
              <a:t>billion - ACFTA </a:t>
            </a:r>
            <a:r>
              <a:rPr lang="en-US" sz="2000" dirty="0">
                <a:solidFill>
                  <a:srgbClr val="0070C0"/>
                </a:solidFill>
                <a:latin typeface="Times New Roman" pitchFamily="18" charset="0"/>
                <a:cs typeface="Times New Roman" pitchFamily="18" charset="0"/>
              </a:rPr>
              <a:t> </a:t>
            </a:r>
          </a:p>
        </p:txBody>
      </p:sp>
      <p:sp>
        <p:nvSpPr>
          <p:cNvPr id="1460233" name="Text Box 9"/>
          <p:cNvSpPr txBox="1">
            <a:spLocks noChangeArrowheads="1"/>
          </p:cNvSpPr>
          <p:nvPr/>
        </p:nvSpPr>
        <p:spPr bwMode="auto">
          <a:xfrm>
            <a:off x="550259" y="1746472"/>
            <a:ext cx="3748692" cy="426231"/>
          </a:xfrm>
          <a:prstGeom prst="rect">
            <a:avLst/>
          </a:prstGeom>
          <a:solidFill>
            <a:schemeClr val="bg1">
              <a:alpha val="74001"/>
            </a:schemeClr>
          </a:solidFill>
          <a:ln w="9525">
            <a:noFill/>
            <a:miter lim="800000"/>
            <a:headEnd/>
            <a:tailEnd/>
          </a:ln>
          <a:effectLst/>
        </p:spPr>
        <p:txBody>
          <a:bodyPr wrap="square" lIns="18000" rIns="18000" anchor="ctr" anchorCtr="1">
            <a:noAutofit/>
          </a:bodyPr>
          <a:lstStyle/>
          <a:p>
            <a:pPr>
              <a:lnSpc>
                <a:spcPct val="70000"/>
              </a:lnSpc>
              <a:defRPr/>
            </a:pPr>
            <a:r>
              <a:rPr lang="en-US" sz="2000" b="1" dirty="0" smtClean="0">
                <a:solidFill>
                  <a:srgbClr val="0070C0"/>
                </a:solidFill>
                <a:latin typeface="Times New Roman" pitchFamily="18" charset="0"/>
                <a:cs typeface="Times New Roman" pitchFamily="18" charset="0"/>
              </a:rPr>
              <a:t>2 Japan</a:t>
            </a:r>
            <a:r>
              <a:rPr lang="en-US" sz="2000" b="1" dirty="0">
                <a:solidFill>
                  <a:srgbClr val="0070C0"/>
                </a:solidFill>
                <a:latin typeface="Times New Roman" pitchFamily="18" charset="0"/>
                <a:cs typeface="Times New Roman" pitchFamily="18" charset="0"/>
              </a:rPr>
              <a:t>:  </a:t>
            </a:r>
            <a:r>
              <a:rPr lang="en-US" sz="2000" b="1" dirty="0" smtClean="0">
                <a:solidFill>
                  <a:srgbClr val="0070C0"/>
                </a:solidFill>
                <a:latin typeface="Times New Roman" pitchFamily="18" charset="0"/>
                <a:cs typeface="Times New Roman" pitchFamily="18" charset="0"/>
              </a:rPr>
              <a:t>127.1 </a:t>
            </a:r>
            <a:r>
              <a:rPr lang="en-US" sz="2000" b="1" dirty="0">
                <a:solidFill>
                  <a:srgbClr val="0070C0"/>
                </a:solidFill>
                <a:latin typeface="Times New Roman" pitchFamily="18" charset="0"/>
                <a:cs typeface="Times New Roman" pitchFamily="18" charset="0"/>
              </a:rPr>
              <a:t>million - JTEPA</a:t>
            </a:r>
            <a:r>
              <a:rPr lang="en-US" sz="2000" dirty="0">
                <a:solidFill>
                  <a:srgbClr val="0070C0"/>
                </a:solidFill>
                <a:latin typeface="Times New Roman" pitchFamily="18" charset="0"/>
                <a:cs typeface="Times New Roman" pitchFamily="18" charset="0"/>
              </a:rPr>
              <a:t> </a:t>
            </a:r>
          </a:p>
        </p:txBody>
      </p:sp>
      <p:sp>
        <p:nvSpPr>
          <p:cNvPr id="1460234" name="Text Box 10"/>
          <p:cNvSpPr txBox="1">
            <a:spLocks noChangeArrowheads="1"/>
          </p:cNvSpPr>
          <p:nvPr/>
        </p:nvSpPr>
        <p:spPr bwMode="auto">
          <a:xfrm>
            <a:off x="5607711" y="6137263"/>
            <a:ext cx="3406863" cy="466725"/>
          </a:xfrm>
          <a:prstGeom prst="rect">
            <a:avLst/>
          </a:prstGeom>
          <a:solidFill>
            <a:schemeClr val="bg1">
              <a:alpha val="74001"/>
            </a:schemeClr>
          </a:solidFill>
          <a:ln w="9525">
            <a:noFill/>
            <a:miter lim="800000"/>
            <a:headEnd/>
            <a:tailEnd/>
          </a:ln>
          <a:effectLst/>
        </p:spPr>
        <p:txBody>
          <a:bodyPr wrap="square" anchor="ctr" anchorCtr="1">
            <a:noAutofit/>
          </a:bodyPr>
          <a:lstStyle/>
          <a:p>
            <a:pPr>
              <a:lnSpc>
                <a:spcPct val="80000"/>
              </a:lnSpc>
              <a:spcBef>
                <a:spcPct val="50000"/>
              </a:spcBef>
              <a:defRPr/>
            </a:pPr>
            <a:r>
              <a:rPr lang="en-US" sz="1800" b="1" dirty="0" smtClean="0">
                <a:solidFill>
                  <a:srgbClr val="0070C0"/>
                </a:solidFill>
                <a:latin typeface="Times New Roman" pitchFamily="18" charset="0"/>
                <a:cs typeface="Times New Roman" pitchFamily="18" charset="0"/>
              </a:rPr>
              <a:t>6 New </a:t>
            </a:r>
            <a:r>
              <a:rPr lang="en-US" sz="1800" b="1" dirty="0">
                <a:solidFill>
                  <a:srgbClr val="0070C0"/>
                </a:solidFill>
                <a:latin typeface="Times New Roman" pitchFamily="18" charset="0"/>
                <a:cs typeface="Times New Roman" pitchFamily="18" charset="0"/>
              </a:rPr>
              <a:t>Zealand: </a:t>
            </a:r>
            <a:r>
              <a:rPr lang="en-US" sz="1800" b="1" dirty="0" smtClean="0">
                <a:solidFill>
                  <a:srgbClr val="0070C0"/>
                </a:solidFill>
                <a:latin typeface="Times New Roman" pitchFamily="18" charset="0"/>
                <a:cs typeface="Times New Roman" pitchFamily="18" charset="0"/>
              </a:rPr>
              <a:t>4.7 </a:t>
            </a:r>
            <a:r>
              <a:rPr lang="en-US" sz="1800" b="1" dirty="0">
                <a:solidFill>
                  <a:srgbClr val="0070C0"/>
                </a:solidFill>
                <a:latin typeface="Times New Roman" pitchFamily="18" charset="0"/>
                <a:cs typeface="Times New Roman" pitchFamily="18" charset="0"/>
              </a:rPr>
              <a:t>million - </a:t>
            </a:r>
            <a:r>
              <a:rPr lang="en-US" sz="1600" b="1" dirty="0">
                <a:solidFill>
                  <a:srgbClr val="0070C0"/>
                </a:solidFill>
                <a:latin typeface="Times New Roman" pitchFamily="18" charset="0"/>
                <a:cs typeface="Times New Roman" pitchFamily="18" charset="0"/>
              </a:rPr>
              <a:t>CEP</a:t>
            </a:r>
            <a:endParaRPr lang="en-US" sz="2000" dirty="0">
              <a:solidFill>
                <a:srgbClr val="0070C0"/>
              </a:solidFill>
              <a:latin typeface="Times New Roman" pitchFamily="18" charset="0"/>
              <a:cs typeface="Times New Roman" pitchFamily="18" charset="0"/>
            </a:endParaRPr>
          </a:p>
        </p:txBody>
      </p:sp>
      <p:sp>
        <p:nvSpPr>
          <p:cNvPr id="1460229" name="Text Box 5"/>
          <p:cNvSpPr txBox="1">
            <a:spLocks noChangeArrowheads="1"/>
          </p:cNvSpPr>
          <p:nvPr/>
        </p:nvSpPr>
        <p:spPr bwMode="auto">
          <a:xfrm>
            <a:off x="2" y="6085241"/>
            <a:ext cx="4882381" cy="492105"/>
          </a:xfrm>
          <a:prstGeom prst="rect">
            <a:avLst/>
          </a:prstGeom>
          <a:solidFill>
            <a:schemeClr val="bg1">
              <a:alpha val="74001"/>
            </a:schemeClr>
          </a:solidFill>
          <a:ln w="9525">
            <a:noFill/>
            <a:miter lim="800000"/>
            <a:headEnd/>
            <a:tailEnd/>
          </a:ln>
          <a:effectLst/>
        </p:spPr>
        <p:txBody>
          <a:bodyPr wrap="square" lIns="18000" tIns="118800" rIns="18000" bIns="118800" anchor="ctr" anchorCtr="1">
            <a:spAutoFit/>
          </a:bodyPr>
          <a:lstStyle/>
          <a:p>
            <a:pPr>
              <a:lnSpc>
                <a:spcPct val="65000"/>
              </a:lnSpc>
              <a:spcBef>
                <a:spcPct val="50000"/>
              </a:spcBef>
              <a:defRPr/>
            </a:pPr>
            <a:r>
              <a:rPr lang="en-US" sz="2400" b="1" dirty="0">
                <a:solidFill>
                  <a:srgbClr val="0070C0"/>
                </a:solidFill>
                <a:latin typeface="Times New Roman" pitchFamily="18" charset="0"/>
                <a:cs typeface="Times New Roman" pitchFamily="18" charset="0"/>
              </a:rPr>
              <a:t>ASEAN </a:t>
            </a:r>
            <a:r>
              <a:rPr lang="en-US" sz="1200" b="1" dirty="0">
                <a:solidFill>
                  <a:srgbClr val="0070C0"/>
                </a:solidFill>
                <a:latin typeface="Times New Roman" pitchFamily="18" charset="0"/>
                <a:cs typeface="Times New Roman" pitchFamily="18" charset="0"/>
              </a:rPr>
              <a:t>(10 Countries</a:t>
            </a:r>
            <a:r>
              <a:rPr lang="en-US" sz="1200" b="1" dirty="0" smtClean="0">
                <a:solidFill>
                  <a:srgbClr val="0070C0"/>
                </a:solidFill>
                <a:latin typeface="Times New Roman" pitchFamily="18" charset="0"/>
                <a:cs typeface="Times New Roman" pitchFamily="18" charset="0"/>
              </a:rPr>
              <a:t>)</a:t>
            </a:r>
            <a:r>
              <a:rPr lang="en-US" sz="2400" b="1" dirty="0" smtClean="0">
                <a:solidFill>
                  <a:srgbClr val="0070C0"/>
                </a:solidFill>
                <a:latin typeface="Times New Roman" pitchFamily="18" charset="0"/>
                <a:cs typeface="Times New Roman" pitchFamily="18" charset="0"/>
              </a:rPr>
              <a:t> </a:t>
            </a:r>
            <a:r>
              <a:rPr lang="en-US" sz="2400" b="1" dirty="0">
                <a:solidFill>
                  <a:srgbClr val="0070C0"/>
                </a:solidFill>
                <a:latin typeface="Times New Roman" pitchFamily="18" charset="0"/>
                <a:cs typeface="Times New Roman" pitchFamily="18" charset="0"/>
              </a:rPr>
              <a:t>: </a:t>
            </a:r>
            <a:r>
              <a:rPr lang="en-US" sz="2400" b="1" dirty="0" smtClean="0">
                <a:solidFill>
                  <a:srgbClr val="0070C0"/>
                </a:solidFill>
                <a:latin typeface="Times New Roman" pitchFamily="18" charset="0"/>
                <a:cs typeface="Times New Roman" pitchFamily="18" charset="0"/>
              </a:rPr>
              <a:t>638  </a:t>
            </a:r>
            <a:r>
              <a:rPr lang="en-US" sz="2400" b="1" dirty="0">
                <a:solidFill>
                  <a:srgbClr val="0070C0"/>
                </a:solidFill>
                <a:latin typeface="Times New Roman" pitchFamily="18" charset="0"/>
                <a:cs typeface="Times New Roman" pitchFamily="18" charset="0"/>
              </a:rPr>
              <a:t>million - </a:t>
            </a:r>
            <a:r>
              <a:rPr lang="en-US" sz="2000" b="1" dirty="0">
                <a:solidFill>
                  <a:srgbClr val="0070C0"/>
                </a:solidFill>
                <a:latin typeface="Times New Roman" pitchFamily="18" charset="0"/>
                <a:cs typeface="Times New Roman" pitchFamily="18" charset="0"/>
              </a:rPr>
              <a:t>AFTA</a:t>
            </a:r>
            <a:r>
              <a:rPr lang="en-US" sz="2400" dirty="0">
                <a:solidFill>
                  <a:srgbClr val="0070C0"/>
                </a:solidFill>
                <a:latin typeface="Times New Roman" pitchFamily="18" charset="0"/>
                <a:cs typeface="Times New Roman" pitchFamily="18" charset="0"/>
              </a:rPr>
              <a:t> </a:t>
            </a:r>
          </a:p>
        </p:txBody>
      </p:sp>
      <p:sp>
        <p:nvSpPr>
          <p:cNvPr id="1460232" name="Text Box 8"/>
          <p:cNvSpPr txBox="1">
            <a:spLocks noChangeArrowheads="1"/>
          </p:cNvSpPr>
          <p:nvPr/>
        </p:nvSpPr>
        <p:spPr bwMode="auto">
          <a:xfrm>
            <a:off x="0" y="2708510"/>
            <a:ext cx="3488877" cy="461584"/>
          </a:xfrm>
          <a:prstGeom prst="rect">
            <a:avLst/>
          </a:prstGeom>
          <a:solidFill>
            <a:schemeClr val="bg1">
              <a:alpha val="74001"/>
            </a:schemeClr>
          </a:solidFill>
          <a:ln w="9525">
            <a:noFill/>
            <a:miter lim="800000"/>
            <a:headEnd/>
            <a:tailEnd/>
          </a:ln>
          <a:effectLst/>
        </p:spPr>
        <p:txBody>
          <a:bodyPr wrap="square" lIns="18000" tIns="118800" rIns="18000" bIns="118800">
            <a:spAutoFit/>
          </a:bodyPr>
          <a:lstStyle/>
          <a:p>
            <a:pPr>
              <a:lnSpc>
                <a:spcPct val="70000"/>
              </a:lnSpc>
              <a:defRPr/>
            </a:pPr>
            <a:r>
              <a:rPr lang="en-US" sz="2000" b="1" dirty="0" smtClean="0">
                <a:solidFill>
                  <a:srgbClr val="0070C0"/>
                </a:solidFill>
                <a:latin typeface="Times New Roman" pitchFamily="18" charset="0"/>
                <a:cs typeface="Times New Roman" pitchFamily="18" charset="0"/>
              </a:rPr>
              <a:t>4 India</a:t>
            </a:r>
            <a:r>
              <a:rPr lang="en-US" sz="2000" b="1" dirty="0">
                <a:solidFill>
                  <a:srgbClr val="0070C0"/>
                </a:solidFill>
                <a:latin typeface="Times New Roman" pitchFamily="18" charset="0"/>
                <a:cs typeface="Times New Roman" pitchFamily="18" charset="0"/>
              </a:rPr>
              <a:t>: </a:t>
            </a:r>
            <a:r>
              <a:rPr lang="en-US" sz="2000" b="1" dirty="0" smtClean="0">
                <a:solidFill>
                  <a:srgbClr val="0070C0"/>
                </a:solidFill>
                <a:latin typeface="Times New Roman" pitchFamily="18" charset="0"/>
                <a:cs typeface="Times New Roman" pitchFamily="18" charset="0"/>
              </a:rPr>
              <a:t>1.330 </a:t>
            </a:r>
            <a:r>
              <a:rPr lang="en-US" sz="2000" b="1" dirty="0">
                <a:solidFill>
                  <a:srgbClr val="0070C0"/>
                </a:solidFill>
                <a:latin typeface="Times New Roman" pitchFamily="18" charset="0"/>
                <a:cs typeface="Times New Roman" pitchFamily="18" charset="0"/>
              </a:rPr>
              <a:t>billion - </a:t>
            </a:r>
            <a:r>
              <a:rPr lang="en-US" sz="1800" b="1" dirty="0">
                <a:solidFill>
                  <a:srgbClr val="0070C0"/>
                </a:solidFill>
                <a:latin typeface="Times New Roman" pitchFamily="18" charset="0"/>
                <a:cs typeface="Times New Roman" pitchFamily="18" charset="0"/>
              </a:rPr>
              <a:t>TIFTA</a:t>
            </a:r>
            <a:r>
              <a:rPr lang="en-US" sz="1800" dirty="0">
                <a:solidFill>
                  <a:srgbClr val="0070C0"/>
                </a:solidFill>
                <a:latin typeface="Times New Roman" pitchFamily="18" charset="0"/>
                <a:cs typeface="Times New Roman" pitchFamily="18" charset="0"/>
              </a:rPr>
              <a:t> </a:t>
            </a:r>
          </a:p>
        </p:txBody>
      </p:sp>
      <p:sp>
        <p:nvSpPr>
          <p:cNvPr id="63" name="Text Box 9"/>
          <p:cNvSpPr txBox="1">
            <a:spLocks noChangeArrowheads="1"/>
          </p:cNvSpPr>
          <p:nvPr/>
        </p:nvSpPr>
        <p:spPr bwMode="auto">
          <a:xfrm>
            <a:off x="875461" y="1253670"/>
            <a:ext cx="5008612" cy="477905"/>
          </a:xfrm>
          <a:prstGeom prst="rect">
            <a:avLst/>
          </a:prstGeom>
          <a:solidFill>
            <a:schemeClr val="bg1">
              <a:alpha val="74001"/>
            </a:schemeClr>
          </a:solidFill>
          <a:ln w="9525">
            <a:noFill/>
            <a:miter lim="800000"/>
            <a:headEnd/>
            <a:tailEnd/>
          </a:ln>
          <a:effectLst/>
        </p:spPr>
        <p:txBody>
          <a:bodyPr wrap="square" lIns="18000" rIns="18000" anchor="ctr" anchorCtr="1">
            <a:noAutofit/>
          </a:bodyPr>
          <a:lstStyle/>
          <a:p>
            <a:pPr>
              <a:lnSpc>
                <a:spcPct val="70000"/>
              </a:lnSpc>
              <a:defRPr/>
            </a:pPr>
            <a:r>
              <a:rPr lang="en-US" sz="2000" b="1" dirty="0" smtClean="0">
                <a:solidFill>
                  <a:srgbClr val="0070C0"/>
                </a:solidFill>
                <a:latin typeface="Times New Roman" pitchFamily="18" charset="0"/>
                <a:cs typeface="Times New Roman" pitchFamily="18" charset="0"/>
              </a:rPr>
              <a:t>3 Republic of Korea :  50.8 </a:t>
            </a:r>
            <a:r>
              <a:rPr lang="en-US" sz="2000" b="1" dirty="0">
                <a:solidFill>
                  <a:srgbClr val="0070C0"/>
                </a:solidFill>
                <a:latin typeface="Times New Roman" pitchFamily="18" charset="0"/>
                <a:cs typeface="Times New Roman" pitchFamily="18" charset="0"/>
              </a:rPr>
              <a:t>million - </a:t>
            </a:r>
            <a:r>
              <a:rPr lang="en-US" sz="2000" b="1" dirty="0" smtClean="0">
                <a:solidFill>
                  <a:srgbClr val="0070C0"/>
                </a:solidFill>
                <a:latin typeface="Times New Roman" pitchFamily="18" charset="0"/>
                <a:cs typeface="Times New Roman" pitchFamily="18" charset="0"/>
              </a:rPr>
              <a:t>AKFTA</a:t>
            </a:r>
            <a:endParaRPr lang="en-US" sz="2000" dirty="0">
              <a:solidFill>
                <a:srgbClr val="0070C0"/>
              </a:solidFill>
              <a:latin typeface="Times New Roman" pitchFamily="18" charset="0"/>
              <a:cs typeface="Times New Roman" pitchFamily="18" charset="0"/>
            </a:endParaRPr>
          </a:p>
        </p:txBody>
      </p:sp>
      <p:sp>
        <p:nvSpPr>
          <p:cNvPr id="67" name="TextBox 66"/>
          <p:cNvSpPr txBox="1"/>
          <p:nvPr/>
        </p:nvSpPr>
        <p:spPr>
          <a:xfrm>
            <a:off x="862734" y="5567939"/>
            <a:ext cx="633507" cy="1015663"/>
          </a:xfrm>
          <a:prstGeom prst="rect">
            <a:avLst/>
          </a:prstGeom>
          <a:noFill/>
        </p:spPr>
        <p:txBody>
          <a:bodyPr wrap="none" rtlCol="0">
            <a:spAutoFit/>
          </a:bodyPr>
          <a:lstStyle/>
          <a:p>
            <a:r>
              <a:rPr lang="en-US" sz="6000" dirty="0" smtClean="0">
                <a:solidFill>
                  <a:srgbClr val="FFFF00"/>
                </a:solidFill>
                <a:effectLst>
                  <a:outerShdw blurRad="38100" dist="38100" dir="2700000" algn="tl">
                    <a:srgbClr val="000000">
                      <a:alpha val="43137"/>
                    </a:srgbClr>
                  </a:outerShdw>
                </a:effectLst>
                <a:latin typeface="Arial"/>
              </a:rPr>
              <a:t>+</a:t>
            </a:r>
            <a:endParaRPr lang="en-US" sz="6000" dirty="0">
              <a:solidFill>
                <a:srgbClr val="FFFF00"/>
              </a:solidFill>
              <a:effectLst>
                <a:outerShdw blurRad="38100" dist="38100" dir="2700000" algn="tl">
                  <a:srgbClr val="000000">
                    <a:alpha val="43137"/>
                  </a:srgbClr>
                </a:outerShdw>
              </a:effectLst>
              <a:latin typeface="Arial"/>
            </a:endParaRPr>
          </a:p>
        </p:txBody>
      </p:sp>
      <p:pic>
        <p:nvPicPr>
          <p:cNvPr id="74" name="Picture 2" descr="http://www.kidsdomain.com/holiday/winter/color/dragon90.gif"/>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rot="2272204">
            <a:off x="5643039" y="1905858"/>
            <a:ext cx="1912937" cy="2552700"/>
          </a:xfrm>
          <a:prstGeom prst="rect">
            <a:avLst/>
          </a:prstGeom>
          <a:noFill/>
          <a:ln w="9525">
            <a:noFill/>
            <a:miter lim="800000"/>
            <a:headEnd/>
            <a:tailEnd/>
          </a:ln>
        </p:spPr>
      </p:pic>
      <p:pic>
        <p:nvPicPr>
          <p:cNvPr id="75" name="Picture 74" descr="tiger.png"/>
          <p:cNvPicPr>
            <a:picLocks noChangeAspect="1"/>
          </p:cNvPicPr>
          <p:nvPr/>
        </p:nvPicPr>
        <p:blipFill>
          <a:blip r:embed="rId5" cstate="print">
            <a:duotone>
              <a:prstClr val="black"/>
              <a:srgbClr val="FFC000">
                <a:tint val="45000"/>
                <a:satMod val="400000"/>
              </a:srgbClr>
            </a:duotone>
          </a:blip>
          <a:stretch>
            <a:fillRect/>
          </a:stretch>
        </p:blipFill>
        <p:spPr>
          <a:xfrm flipH="1">
            <a:off x="743419" y="4420699"/>
            <a:ext cx="2519677" cy="1385196"/>
          </a:xfrm>
          <a:prstGeom prst="rect">
            <a:avLst/>
          </a:prstGeom>
        </p:spPr>
      </p:pic>
      <p:sp>
        <p:nvSpPr>
          <p:cNvPr id="15" name="TextBox 14"/>
          <p:cNvSpPr txBox="1"/>
          <p:nvPr/>
        </p:nvSpPr>
        <p:spPr>
          <a:xfrm>
            <a:off x="2661072" y="5864032"/>
            <a:ext cx="425116" cy="584775"/>
          </a:xfrm>
          <a:prstGeom prst="rect">
            <a:avLst/>
          </a:prstGeom>
          <a:noFill/>
        </p:spPr>
        <p:txBody>
          <a:bodyPr wrap="none" rtlCol="0">
            <a:spAutoFit/>
          </a:bodyPr>
          <a:lstStyle/>
          <a:p>
            <a:r>
              <a:rPr lang="en-US" sz="3200" dirty="0" smtClean="0">
                <a:solidFill>
                  <a:srgbClr val="FFFF00"/>
                </a:solidFill>
                <a:effectLst>
                  <a:outerShdw blurRad="38100" dist="38100" dir="2700000" algn="tl">
                    <a:srgbClr val="000000">
                      <a:alpha val="43137"/>
                    </a:srgbClr>
                  </a:outerShdw>
                </a:effectLst>
                <a:latin typeface="Arial"/>
              </a:rPr>
              <a:t>+</a:t>
            </a:r>
            <a:endParaRPr lang="en-US" sz="3200" dirty="0">
              <a:solidFill>
                <a:srgbClr val="FFFF00"/>
              </a:solidFill>
              <a:effectLst>
                <a:outerShdw blurRad="38100" dist="38100" dir="2700000" algn="tl">
                  <a:srgbClr val="000000">
                    <a:alpha val="43137"/>
                  </a:srgbClr>
                </a:outerShdw>
              </a:effectLst>
              <a:latin typeface="Arial"/>
            </a:endParaRPr>
          </a:p>
        </p:txBody>
      </p:sp>
      <p:sp>
        <p:nvSpPr>
          <p:cNvPr id="6" name="Rectangle 5"/>
          <p:cNvSpPr/>
          <p:nvPr/>
        </p:nvSpPr>
        <p:spPr>
          <a:xfrm>
            <a:off x="6150333" y="2219908"/>
            <a:ext cx="364202" cy="523220"/>
          </a:xfrm>
          <a:prstGeom prst="rect">
            <a:avLst/>
          </a:prstGeom>
        </p:spPr>
        <p:txBody>
          <a:bodyPr wrap="none">
            <a:spAutoFit/>
          </a:bodyPr>
          <a:lstStyle/>
          <a:p>
            <a:r>
              <a:rPr lang="en-US" b="1" dirty="0">
                <a:solidFill>
                  <a:srgbClr val="FFFF00"/>
                </a:solidFill>
                <a:effectLst>
                  <a:outerShdw blurRad="38100" dist="38100" dir="2700000" algn="tl">
                    <a:srgbClr val="000000"/>
                  </a:outerShdw>
                </a:effectLst>
                <a:latin typeface="Times New Roman" pitchFamily="18" charset="0"/>
                <a:cs typeface="Times New Roman" pitchFamily="18" charset="0"/>
              </a:rPr>
              <a:t>1</a:t>
            </a:r>
            <a:endParaRPr lang="th-TH" dirty="0">
              <a:solidFill>
                <a:prstClr val="white"/>
              </a:solidFill>
              <a:latin typeface="Arial"/>
            </a:endParaRPr>
          </a:p>
        </p:txBody>
      </p:sp>
      <p:sp>
        <p:nvSpPr>
          <p:cNvPr id="22" name="Rectangle 21"/>
          <p:cNvSpPr/>
          <p:nvPr/>
        </p:nvSpPr>
        <p:spPr>
          <a:xfrm>
            <a:off x="8178114" y="1958298"/>
            <a:ext cx="364202" cy="523220"/>
          </a:xfrm>
          <a:prstGeom prst="rect">
            <a:avLst/>
          </a:prstGeom>
        </p:spPr>
        <p:txBody>
          <a:bodyPr wrap="none">
            <a:spAutoFit/>
          </a:bodyPr>
          <a:lstStyle/>
          <a:p>
            <a:r>
              <a:rPr lang="en-US" b="1" dirty="0" smtClean="0">
                <a:solidFill>
                  <a:srgbClr val="FFFF00"/>
                </a:solidFill>
                <a:effectLst>
                  <a:outerShdw blurRad="38100" dist="38100" dir="2700000" algn="tl">
                    <a:srgbClr val="000000"/>
                  </a:outerShdw>
                </a:effectLst>
                <a:latin typeface="Times New Roman" pitchFamily="18" charset="0"/>
                <a:cs typeface="Times New Roman" pitchFamily="18" charset="0"/>
              </a:rPr>
              <a:t>2</a:t>
            </a:r>
            <a:endParaRPr lang="th-TH" dirty="0">
              <a:solidFill>
                <a:prstClr val="white"/>
              </a:solidFill>
              <a:latin typeface="Arial"/>
            </a:endParaRPr>
          </a:p>
        </p:txBody>
      </p:sp>
      <p:sp>
        <p:nvSpPr>
          <p:cNvPr id="23" name="Rectangle 22"/>
          <p:cNvSpPr/>
          <p:nvPr/>
        </p:nvSpPr>
        <p:spPr>
          <a:xfrm>
            <a:off x="7171664" y="2786240"/>
            <a:ext cx="364202" cy="523220"/>
          </a:xfrm>
          <a:prstGeom prst="rect">
            <a:avLst/>
          </a:prstGeom>
        </p:spPr>
        <p:txBody>
          <a:bodyPr wrap="none">
            <a:spAutoFit/>
          </a:bodyPr>
          <a:lstStyle/>
          <a:p>
            <a:r>
              <a:rPr lang="en-US" b="1" dirty="0" smtClean="0">
                <a:solidFill>
                  <a:srgbClr val="FFFF00"/>
                </a:solidFill>
                <a:effectLst>
                  <a:outerShdw blurRad="38100" dist="38100" dir="2700000" algn="tl">
                    <a:srgbClr val="000000"/>
                  </a:outerShdw>
                </a:effectLst>
                <a:latin typeface="Times New Roman" pitchFamily="18" charset="0"/>
                <a:cs typeface="Times New Roman" pitchFamily="18" charset="0"/>
              </a:rPr>
              <a:t>3</a:t>
            </a:r>
            <a:endParaRPr lang="th-TH" dirty="0">
              <a:solidFill>
                <a:prstClr val="white"/>
              </a:solidFill>
              <a:latin typeface="Arial"/>
            </a:endParaRPr>
          </a:p>
        </p:txBody>
      </p:sp>
      <p:sp>
        <p:nvSpPr>
          <p:cNvPr id="24" name="Rectangle 23"/>
          <p:cNvSpPr/>
          <p:nvPr/>
        </p:nvSpPr>
        <p:spPr>
          <a:xfrm>
            <a:off x="1744438" y="3465999"/>
            <a:ext cx="364202" cy="523220"/>
          </a:xfrm>
          <a:prstGeom prst="rect">
            <a:avLst/>
          </a:prstGeom>
        </p:spPr>
        <p:txBody>
          <a:bodyPr wrap="none">
            <a:spAutoFit/>
          </a:bodyPr>
          <a:lstStyle/>
          <a:p>
            <a:r>
              <a:rPr lang="en-US" b="1" dirty="0" smtClean="0">
                <a:solidFill>
                  <a:srgbClr val="FFFF00"/>
                </a:solidFill>
                <a:effectLst>
                  <a:outerShdw blurRad="38100" dist="38100" dir="2700000" algn="tl">
                    <a:srgbClr val="000000"/>
                  </a:outerShdw>
                </a:effectLst>
                <a:latin typeface="Times New Roman" pitchFamily="18" charset="0"/>
                <a:cs typeface="Times New Roman" pitchFamily="18" charset="0"/>
              </a:rPr>
              <a:t>4</a:t>
            </a:r>
            <a:endParaRPr lang="th-TH" dirty="0">
              <a:solidFill>
                <a:prstClr val="white"/>
              </a:solidFill>
              <a:latin typeface="Arial"/>
            </a:endParaRPr>
          </a:p>
        </p:txBody>
      </p:sp>
      <p:sp>
        <p:nvSpPr>
          <p:cNvPr id="25" name="Rectangle 24"/>
          <p:cNvSpPr/>
          <p:nvPr/>
        </p:nvSpPr>
        <p:spPr>
          <a:xfrm>
            <a:off x="8210334" y="5122260"/>
            <a:ext cx="663964" cy="523220"/>
          </a:xfrm>
          <a:prstGeom prst="rect">
            <a:avLst/>
          </a:prstGeom>
        </p:spPr>
        <p:txBody>
          <a:bodyPr wrap="none">
            <a:spAutoFit/>
          </a:bodyPr>
          <a:lstStyle/>
          <a:p>
            <a:r>
              <a:rPr lang="en-US" b="1" dirty="0" smtClean="0">
                <a:solidFill>
                  <a:srgbClr val="FFFF00"/>
                </a:solidFill>
                <a:effectLst>
                  <a:outerShdw blurRad="38100" dist="38100" dir="2700000" algn="tl">
                    <a:srgbClr val="000000"/>
                  </a:outerShdw>
                </a:effectLst>
                <a:latin typeface="Times New Roman" pitchFamily="18" charset="0"/>
                <a:cs typeface="Times New Roman" pitchFamily="18" charset="0"/>
              </a:rPr>
              <a:t>5-6</a:t>
            </a:r>
            <a:endParaRPr lang="th-TH" dirty="0">
              <a:solidFill>
                <a:prstClr val="white"/>
              </a:solidFill>
              <a:latin typeface="Arial"/>
            </a:endParaRPr>
          </a:p>
        </p:txBody>
      </p:sp>
      <p:sp>
        <p:nvSpPr>
          <p:cNvPr id="7" name="Down Arrow 6"/>
          <p:cNvSpPr/>
          <p:nvPr/>
        </p:nvSpPr>
        <p:spPr>
          <a:xfrm>
            <a:off x="8210334" y="4557128"/>
            <a:ext cx="729780" cy="452063"/>
          </a:xfrm>
          <a:prstGeom prst="down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a:solidFill>
                <a:prstClr val="white"/>
              </a:solidFill>
            </a:endParaRPr>
          </a:p>
        </p:txBody>
      </p:sp>
      <p:sp>
        <p:nvSpPr>
          <p:cNvPr id="29" name="TextBox 4"/>
          <p:cNvSpPr txBox="1">
            <a:spLocks noChangeArrowheads="1"/>
          </p:cNvSpPr>
          <p:nvPr/>
        </p:nvSpPr>
        <p:spPr bwMode="auto">
          <a:xfrm>
            <a:off x="1295400" y="6495179"/>
            <a:ext cx="5638799" cy="369332"/>
          </a:xfrm>
          <a:prstGeom prst="rect">
            <a:avLst/>
          </a:prstGeom>
          <a:noFill/>
          <a:ln w="9525">
            <a:noFill/>
            <a:miter lim="800000"/>
            <a:headEnd/>
            <a:tailEnd/>
          </a:ln>
        </p:spPr>
        <p:txBody>
          <a:bodyPr wrap="square">
            <a:spAutoFit/>
          </a:bodyPr>
          <a:lstStyle/>
          <a:p>
            <a:r>
              <a:rPr lang="th-TH" sz="1600" b="1" dirty="0">
                <a:solidFill>
                  <a:prstClr val="black"/>
                </a:solidFill>
                <a:latin typeface="Angsana New" pitchFamily="18" charset="-34"/>
              </a:rPr>
              <a:t>แหล่งข้อมูล</a:t>
            </a:r>
            <a:r>
              <a:rPr lang="th-TH" sz="1800" b="1" dirty="0">
                <a:solidFill>
                  <a:prstClr val="black"/>
                </a:solidFill>
                <a:latin typeface="Angsana New" pitchFamily="18" charset="-34"/>
              </a:rPr>
              <a:t> </a:t>
            </a:r>
            <a:r>
              <a:rPr lang="en-US" sz="1800" b="1" dirty="0">
                <a:solidFill>
                  <a:prstClr val="black"/>
                </a:solidFill>
                <a:latin typeface="Angsana New" pitchFamily="18" charset="-34"/>
              </a:rPr>
              <a:t>:</a:t>
            </a:r>
            <a:r>
              <a:rPr lang="th-TH" sz="1800" b="1" dirty="0">
                <a:solidFill>
                  <a:prstClr val="black"/>
                </a:solidFill>
                <a:latin typeface="Angsana New" pitchFamily="18" charset="-34"/>
              </a:rPr>
              <a:t> </a:t>
            </a:r>
            <a:r>
              <a:rPr lang="en-US" sz="1800" b="1" dirty="0" smtClean="0">
                <a:solidFill>
                  <a:prstClr val="black"/>
                </a:solidFill>
                <a:latin typeface="Angsana New" pitchFamily="18" charset="-34"/>
              </a:rPr>
              <a:t>https://th.wikipedia.org/wiki/</a:t>
            </a:r>
            <a:r>
              <a:rPr lang="th-TH" sz="1600" b="1" dirty="0">
                <a:solidFill>
                  <a:prstClr val="black"/>
                </a:solidFill>
                <a:latin typeface="Angsana New" pitchFamily="18" charset="-34"/>
              </a:rPr>
              <a:t>รายชื่อประเทศเรียงตามจำนวน</a:t>
            </a:r>
            <a:r>
              <a:rPr lang="th-TH" sz="1600" b="1" dirty="0" smtClean="0">
                <a:solidFill>
                  <a:prstClr val="black"/>
                </a:solidFill>
                <a:latin typeface="Angsana New" pitchFamily="18" charset="-34"/>
              </a:rPr>
              <a:t>ประชากร</a:t>
            </a:r>
            <a:r>
              <a:rPr lang="en-US" sz="1600" b="1" dirty="0" smtClean="0">
                <a:solidFill>
                  <a:prstClr val="black"/>
                </a:solidFill>
                <a:latin typeface="Angsana New" pitchFamily="18" charset="-34"/>
              </a:rPr>
              <a:t>2016</a:t>
            </a:r>
            <a:r>
              <a:rPr lang="th-TH" sz="1600" b="1" dirty="0" smtClean="0">
                <a:solidFill>
                  <a:prstClr val="black"/>
                </a:solidFill>
                <a:latin typeface="Angsana New" pitchFamily="18" charset="-34"/>
              </a:rPr>
              <a:t> </a:t>
            </a:r>
            <a:endParaRPr lang="th-TH" sz="1600" b="1" dirty="0">
              <a:solidFill>
                <a:prstClr val="black"/>
              </a:solidFill>
              <a:latin typeface="Angsana New" pitchFamily="18" charset="-34"/>
            </a:endParaRPr>
          </a:p>
        </p:txBody>
      </p:sp>
      <p:grpSp>
        <p:nvGrpSpPr>
          <p:cNvPr id="16" name="Group 15"/>
          <p:cNvGrpSpPr/>
          <p:nvPr/>
        </p:nvGrpSpPr>
        <p:grpSpPr>
          <a:xfrm>
            <a:off x="2400164" y="3096363"/>
            <a:ext cx="4187549" cy="2876678"/>
            <a:chOff x="2400164" y="3186516"/>
            <a:chExt cx="4187549" cy="2876678"/>
          </a:xfrm>
        </p:grpSpPr>
        <p:grpSp>
          <p:nvGrpSpPr>
            <p:cNvPr id="14" name="Group 13"/>
            <p:cNvGrpSpPr/>
            <p:nvPr/>
          </p:nvGrpSpPr>
          <p:grpSpPr>
            <a:xfrm>
              <a:off x="2400164" y="3186516"/>
              <a:ext cx="4187549" cy="2876678"/>
              <a:chOff x="419675" y="3268975"/>
              <a:chExt cx="4187549" cy="2876678"/>
            </a:xfrm>
          </p:grpSpPr>
          <p:sp>
            <p:nvSpPr>
              <p:cNvPr id="13" name="Isosceles Triangle 12"/>
              <p:cNvSpPr/>
              <p:nvPr/>
            </p:nvSpPr>
            <p:spPr>
              <a:xfrm rot="10032239">
                <a:off x="419675" y="3268975"/>
                <a:ext cx="4187549" cy="2876678"/>
              </a:xfrm>
              <a:prstGeom prst="triangle">
                <a:avLst>
                  <a:gd name="adj" fmla="val 38183"/>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th-TH">
                  <a:solidFill>
                    <a:prstClr val="white"/>
                  </a:solidFill>
                </a:endParaRPr>
              </a:p>
            </p:txBody>
          </p:sp>
          <p:sp>
            <p:nvSpPr>
              <p:cNvPr id="33" name="Half Frame 32"/>
              <p:cNvSpPr/>
              <p:nvPr/>
            </p:nvSpPr>
            <p:spPr>
              <a:xfrm rot="12233603">
                <a:off x="3242876" y="5787615"/>
                <a:ext cx="161093" cy="161093"/>
              </a:xfrm>
              <a:prstGeom prst="halfFrame">
                <a:avLst>
                  <a:gd name="adj1" fmla="val 16274"/>
                  <a:gd name="adj2" fmla="val 15106"/>
                </a:avLst>
              </a:prstGeom>
              <a:ln>
                <a:noFill/>
              </a:ln>
            </p:spPr>
            <p:style>
              <a:lnRef idx="0">
                <a:schemeClr val="accent2"/>
              </a:lnRef>
              <a:fillRef idx="3">
                <a:schemeClr val="accent2"/>
              </a:fillRef>
              <a:effectRef idx="3">
                <a:schemeClr val="accent2"/>
              </a:effectRef>
              <a:fontRef idx="minor">
                <a:schemeClr val="lt1"/>
              </a:fontRef>
            </p:style>
            <p:txBody>
              <a:bodyPr rtlCol="0" anchor="ctr"/>
              <a:lstStyle/>
              <a:p>
                <a:pPr algn="ctr"/>
                <a:endParaRPr lang="th-TH">
                  <a:solidFill>
                    <a:prstClr val="white"/>
                  </a:solidFill>
                </a:endParaRPr>
              </a:p>
            </p:txBody>
          </p:sp>
        </p:grpSp>
        <p:sp>
          <p:nvSpPr>
            <p:cNvPr id="2" name="Rectangle 1"/>
            <p:cNvSpPr/>
            <p:nvPr/>
          </p:nvSpPr>
          <p:spPr>
            <a:xfrm>
              <a:off x="2608744" y="3575138"/>
              <a:ext cx="3380413" cy="769441"/>
            </a:xfrm>
            <a:prstGeom prst="rect">
              <a:avLst/>
            </a:prstGeom>
          </p:spPr>
          <p:txBody>
            <a:bodyPr wrap="none">
              <a:spAutoFit/>
            </a:bodyPr>
            <a:lstStyle/>
            <a:p>
              <a:pPr fontAlgn="auto">
                <a:spcBef>
                  <a:spcPts val="0"/>
                </a:spcBef>
                <a:spcAft>
                  <a:spcPts val="0"/>
                </a:spcAft>
              </a:pPr>
              <a:r>
                <a:rPr lang="en-US" sz="2400" b="1" dirty="0">
                  <a:solidFill>
                    <a:prstClr val="black"/>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ordia New" panose="020B0304020202020204" pitchFamily="34" charset="-34"/>
                </a:rPr>
                <a:t>The United States of </a:t>
              </a:r>
              <a:r>
                <a:rPr lang="en-US" sz="2400" b="1" dirty="0" smtClean="0">
                  <a:solidFill>
                    <a:prstClr val="black"/>
                  </a:solidFill>
                  <a:effectLst>
                    <a:outerShdw blurRad="38100" dist="38100" dir="2700000" algn="tl">
                      <a:srgbClr val="000000">
                        <a:alpha val="43137"/>
                      </a:srgbClr>
                    </a:outerShdw>
                  </a:effectLst>
                  <a:latin typeface="Calibri" panose="020F0502020204030204" pitchFamily="34" charset="0"/>
                  <a:ea typeface="Calibri" panose="020F0502020204030204" pitchFamily="34" charset="0"/>
                  <a:cs typeface="Cordia New" panose="020B0304020202020204" pitchFamily="34" charset="-34"/>
                </a:rPr>
                <a:t>Asia</a:t>
              </a:r>
            </a:p>
            <a:p>
              <a:pPr algn="ctr" fontAlgn="auto">
                <a:spcBef>
                  <a:spcPts val="0"/>
                </a:spcBef>
                <a:spcAft>
                  <a:spcPts val="0"/>
                </a:spcAft>
              </a:pPr>
              <a:r>
                <a:rPr lang="en-US" sz="2000" dirty="0">
                  <a:solidFill>
                    <a:prstClr val="black"/>
                  </a:solidFill>
                  <a:latin typeface="Arial"/>
                  <a:cs typeface="+mn-cs"/>
                </a:rPr>
                <a:t>(The New USA)</a:t>
              </a:r>
              <a:endParaRPr lang="th-TH" sz="2000" dirty="0">
                <a:solidFill>
                  <a:prstClr val="black"/>
                </a:solidFill>
                <a:latin typeface="Arial"/>
                <a:cs typeface="LilyUPC" panose="020B0604020202020204" pitchFamily="34" charset="-34"/>
              </a:endParaRPr>
            </a:p>
          </p:txBody>
        </p:sp>
      </p:grpSp>
    </p:spTree>
    <p:extLst>
      <p:ext uri="{BB962C8B-B14F-4D97-AF65-F5344CB8AC3E}">
        <p14:creationId xmlns:p14="http://schemas.microsoft.com/office/powerpoint/2010/main" val="18006845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460229"/>
                                        </p:tgtEl>
                                        <p:attrNameLst>
                                          <p:attrName>style.visibility</p:attrName>
                                        </p:attrNameLst>
                                      </p:cBhvr>
                                      <p:to>
                                        <p:strVal val="visible"/>
                                      </p:to>
                                    </p:set>
                                    <p:animEffect transition="in" filter="wipe(left)">
                                      <p:cBhvr>
                                        <p:cTn id="7" dur="500"/>
                                        <p:tgtEl>
                                          <p:spTgt spid="1460229"/>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500"/>
                                        <p:tgtEl>
                                          <p:spTgt spid="15"/>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67"/>
                                        </p:tgtEl>
                                        <p:attrNameLst>
                                          <p:attrName>style.visibility</p:attrName>
                                        </p:attrNameLst>
                                      </p:cBhvr>
                                      <p:to>
                                        <p:strVal val="visible"/>
                                      </p:to>
                                    </p:set>
                                    <p:animEffect transition="in" filter="wipe(left)">
                                      <p:cBhvr>
                                        <p:cTn id="14" dur="500"/>
                                        <p:tgtEl>
                                          <p:spTgt spid="67"/>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grpId="0" nodeType="clickEffect">
                                  <p:stCondLst>
                                    <p:cond delay="0"/>
                                  </p:stCondLst>
                                  <p:childTnLst>
                                    <p:set>
                                      <p:cBhvr>
                                        <p:cTn id="18" dur="1" fill="hold">
                                          <p:stCondLst>
                                            <p:cond delay="0"/>
                                          </p:stCondLst>
                                        </p:cTn>
                                        <p:tgtEl>
                                          <p:spTgt spid="1460231"/>
                                        </p:tgtEl>
                                        <p:attrNameLst>
                                          <p:attrName>style.visibility</p:attrName>
                                        </p:attrNameLst>
                                      </p:cBhvr>
                                      <p:to>
                                        <p:strVal val="visible"/>
                                      </p:to>
                                    </p:set>
                                    <p:animEffect transition="in" filter="wipe(left)">
                                      <p:cBhvr>
                                        <p:cTn id="19" dur="500"/>
                                        <p:tgtEl>
                                          <p:spTgt spid="1460231"/>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wipe(left)">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1460233"/>
                                        </p:tgtEl>
                                        <p:attrNameLst>
                                          <p:attrName>style.visibility</p:attrName>
                                        </p:attrNameLst>
                                      </p:cBhvr>
                                      <p:to>
                                        <p:strVal val="visible"/>
                                      </p:to>
                                    </p:set>
                                    <p:animEffect transition="in" filter="wipe(left)">
                                      <p:cBhvr>
                                        <p:cTn id="27" dur="500"/>
                                        <p:tgtEl>
                                          <p:spTgt spid="1460233"/>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63"/>
                                        </p:tgtEl>
                                        <p:attrNameLst>
                                          <p:attrName>style.visibility</p:attrName>
                                        </p:attrNameLst>
                                      </p:cBhvr>
                                      <p:to>
                                        <p:strVal val="visible"/>
                                      </p:to>
                                    </p:set>
                                    <p:animEffect transition="in" filter="wipe(left)">
                                      <p:cBhvr>
                                        <p:cTn id="30" dur="500"/>
                                        <p:tgtEl>
                                          <p:spTgt spid="63"/>
                                        </p:tgtEl>
                                      </p:cBhvr>
                                    </p:animEffect>
                                  </p:childTnLst>
                                </p:cTn>
                              </p:par>
                              <p:par>
                                <p:cTn id="31" presetID="22" presetClass="entr" presetSubtype="8"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animEffect transition="in" filter="wipe(left)">
                                      <p:cBhvr>
                                        <p:cTn id="33" dur="500"/>
                                        <p:tgtEl>
                                          <p:spTgt spid="23"/>
                                        </p:tgtEl>
                                      </p:cBhvr>
                                    </p:animEffect>
                                  </p:childTnLst>
                                </p:cTn>
                              </p:par>
                              <p:par>
                                <p:cTn id="34" presetID="22" presetClass="entr" presetSubtype="8" fill="hold" grpId="0" nodeType="withEffect">
                                  <p:stCondLst>
                                    <p:cond delay="0"/>
                                  </p:stCondLst>
                                  <p:childTnLst>
                                    <p:set>
                                      <p:cBhvr>
                                        <p:cTn id="35" dur="1" fill="hold">
                                          <p:stCondLst>
                                            <p:cond delay="0"/>
                                          </p:stCondLst>
                                        </p:cTn>
                                        <p:tgtEl>
                                          <p:spTgt spid="22"/>
                                        </p:tgtEl>
                                        <p:attrNameLst>
                                          <p:attrName>style.visibility</p:attrName>
                                        </p:attrNameLst>
                                      </p:cBhvr>
                                      <p:to>
                                        <p:strVal val="visible"/>
                                      </p:to>
                                    </p:set>
                                    <p:animEffect transition="in" filter="wipe(left)">
                                      <p:cBhvr>
                                        <p:cTn id="36" dur="500"/>
                                        <p:tgtEl>
                                          <p:spTgt spid="22"/>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grpId="0" nodeType="clickEffect">
                                  <p:stCondLst>
                                    <p:cond delay="0"/>
                                  </p:stCondLst>
                                  <p:childTnLst>
                                    <p:set>
                                      <p:cBhvr>
                                        <p:cTn id="40" dur="1" fill="hold">
                                          <p:stCondLst>
                                            <p:cond delay="0"/>
                                          </p:stCondLst>
                                        </p:cTn>
                                        <p:tgtEl>
                                          <p:spTgt spid="1460232"/>
                                        </p:tgtEl>
                                        <p:attrNameLst>
                                          <p:attrName>style.visibility</p:attrName>
                                        </p:attrNameLst>
                                      </p:cBhvr>
                                      <p:to>
                                        <p:strVal val="visible"/>
                                      </p:to>
                                    </p:set>
                                    <p:animEffect transition="in" filter="wipe(left)">
                                      <p:cBhvr>
                                        <p:cTn id="41" dur="500"/>
                                        <p:tgtEl>
                                          <p:spTgt spid="1460232"/>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wipe(left)">
                                      <p:cBhvr>
                                        <p:cTn id="44" dur="500"/>
                                        <p:tgtEl>
                                          <p:spTgt spid="24"/>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8" fill="hold" grpId="0" nodeType="clickEffect">
                                  <p:stCondLst>
                                    <p:cond delay="0"/>
                                  </p:stCondLst>
                                  <p:childTnLst>
                                    <p:set>
                                      <p:cBhvr>
                                        <p:cTn id="48" dur="1" fill="hold">
                                          <p:stCondLst>
                                            <p:cond delay="0"/>
                                          </p:stCondLst>
                                        </p:cTn>
                                        <p:tgtEl>
                                          <p:spTgt spid="1460230"/>
                                        </p:tgtEl>
                                        <p:attrNameLst>
                                          <p:attrName>style.visibility</p:attrName>
                                        </p:attrNameLst>
                                      </p:cBhvr>
                                      <p:to>
                                        <p:strVal val="visible"/>
                                      </p:to>
                                    </p:set>
                                    <p:animEffect transition="in" filter="wipe(left)">
                                      <p:cBhvr>
                                        <p:cTn id="49" dur="500"/>
                                        <p:tgtEl>
                                          <p:spTgt spid="1460230"/>
                                        </p:tgtEl>
                                      </p:cBhvr>
                                    </p:animEffect>
                                  </p:childTnLst>
                                </p:cTn>
                              </p:par>
                              <p:par>
                                <p:cTn id="50" presetID="22" presetClass="entr" presetSubtype="8" fill="hold" grpId="0" nodeType="withEffect">
                                  <p:stCondLst>
                                    <p:cond delay="0"/>
                                  </p:stCondLst>
                                  <p:childTnLst>
                                    <p:set>
                                      <p:cBhvr>
                                        <p:cTn id="51" dur="1" fill="hold">
                                          <p:stCondLst>
                                            <p:cond delay="0"/>
                                          </p:stCondLst>
                                        </p:cTn>
                                        <p:tgtEl>
                                          <p:spTgt spid="1460234"/>
                                        </p:tgtEl>
                                        <p:attrNameLst>
                                          <p:attrName>style.visibility</p:attrName>
                                        </p:attrNameLst>
                                      </p:cBhvr>
                                      <p:to>
                                        <p:strVal val="visible"/>
                                      </p:to>
                                    </p:set>
                                    <p:animEffect transition="in" filter="wipe(left)">
                                      <p:cBhvr>
                                        <p:cTn id="52" dur="500"/>
                                        <p:tgtEl>
                                          <p:spTgt spid="1460234"/>
                                        </p:tgtEl>
                                      </p:cBhvr>
                                    </p:animEffect>
                                  </p:childTnLst>
                                </p:cTn>
                              </p:par>
                              <p:par>
                                <p:cTn id="53" presetID="22" presetClass="entr" presetSubtype="1" fill="hold" grpId="0" nodeType="withEffect">
                                  <p:stCondLst>
                                    <p:cond delay="0"/>
                                  </p:stCondLst>
                                  <p:childTnLst>
                                    <p:set>
                                      <p:cBhvr>
                                        <p:cTn id="54" dur="1" fill="hold">
                                          <p:stCondLst>
                                            <p:cond delay="0"/>
                                          </p:stCondLst>
                                        </p:cTn>
                                        <p:tgtEl>
                                          <p:spTgt spid="7"/>
                                        </p:tgtEl>
                                        <p:attrNameLst>
                                          <p:attrName>style.visibility</p:attrName>
                                        </p:attrNameLst>
                                      </p:cBhvr>
                                      <p:to>
                                        <p:strVal val="visible"/>
                                      </p:to>
                                    </p:set>
                                    <p:animEffect transition="in" filter="wipe(up)">
                                      <p:cBhvr>
                                        <p:cTn id="55" dur="500"/>
                                        <p:tgtEl>
                                          <p:spTgt spid="7"/>
                                        </p:tgtEl>
                                      </p:cBhvr>
                                    </p:animEffect>
                                  </p:childTnLst>
                                </p:cTn>
                              </p:par>
                              <p:par>
                                <p:cTn id="56" presetID="22" presetClass="entr" presetSubtype="8" fill="hold" grpId="0" nodeType="withEffect">
                                  <p:stCondLst>
                                    <p:cond delay="0"/>
                                  </p:stCondLst>
                                  <p:childTnLst>
                                    <p:set>
                                      <p:cBhvr>
                                        <p:cTn id="57" dur="1" fill="hold">
                                          <p:stCondLst>
                                            <p:cond delay="0"/>
                                          </p:stCondLst>
                                        </p:cTn>
                                        <p:tgtEl>
                                          <p:spTgt spid="25"/>
                                        </p:tgtEl>
                                        <p:attrNameLst>
                                          <p:attrName>style.visibility</p:attrName>
                                        </p:attrNameLst>
                                      </p:cBhvr>
                                      <p:to>
                                        <p:strVal val="visible"/>
                                      </p:to>
                                    </p:set>
                                    <p:animEffect transition="in" filter="wipe(left)">
                                      <p:cBhvr>
                                        <p:cTn id="58" dur="500"/>
                                        <p:tgtEl>
                                          <p:spTgt spid="25"/>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16"/>
                                        </p:tgtEl>
                                        <p:attrNameLst>
                                          <p:attrName>style.visibility</p:attrName>
                                        </p:attrNameLst>
                                      </p:cBhvr>
                                      <p:to>
                                        <p:strVal val="visible"/>
                                      </p:to>
                                    </p:set>
                                    <p:animEffect transition="in" filter="wipe(left)">
                                      <p:cBhvr>
                                        <p:cTn id="63"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60230" grpId="0" animBg="1"/>
      <p:bldP spid="1460231" grpId="0" animBg="1"/>
      <p:bldP spid="1460233" grpId="0" animBg="1"/>
      <p:bldP spid="1460234" grpId="0" animBg="1"/>
      <p:bldP spid="1460229" grpId="0" animBg="1"/>
      <p:bldP spid="1460232" grpId="0" animBg="1"/>
      <p:bldP spid="63" grpId="0" animBg="1"/>
      <p:bldP spid="67" grpId="0"/>
      <p:bldP spid="15" grpId="0"/>
      <p:bldP spid="6" grpId="0"/>
      <p:bldP spid="22" grpId="0"/>
      <p:bldP spid="23" grpId="0"/>
      <p:bldP spid="24" grpId="0"/>
      <p:bldP spid="25" grpId="0"/>
      <p:bldP spid="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สี่เหลี่ยมผืนผ้า 4"/>
          <p:cNvSpPr>
            <a:spLocks noChangeArrowheads="1"/>
          </p:cNvSpPr>
          <p:nvPr/>
        </p:nvSpPr>
        <p:spPr bwMode="auto">
          <a:xfrm>
            <a:off x="0" y="0"/>
            <a:ext cx="9144000" cy="830997"/>
          </a:xfrm>
          <a:prstGeom prst="rect">
            <a:avLst/>
          </a:prstGeom>
          <a:noFill/>
          <a:ln w="9525">
            <a:noFill/>
            <a:miter lim="800000"/>
            <a:headEnd/>
            <a:tailEnd/>
          </a:ln>
        </p:spPr>
        <p:txBody>
          <a:bodyPr>
            <a:spAutoFit/>
          </a:bodyPr>
          <a:lstStyle/>
          <a:p>
            <a:pPr algn="ctr" fontAlgn="base">
              <a:spcBef>
                <a:spcPct val="0"/>
              </a:spcBef>
              <a:spcAft>
                <a:spcPct val="0"/>
              </a:spcAft>
            </a:pPr>
            <a:r>
              <a:rPr lang="th-TH" sz="2400" b="1" dirty="0">
                <a:solidFill>
                  <a:srgbClr val="0070C0"/>
                </a:solidFill>
                <a:latin typeface="CordiaUPC" pitchFamily="34" charset="-34"/>
                <a:cs typeface="CordiaUPC" pitchFamily="34" charset="-34"/>
              </a:rPr>
              <a:t>กงล้อประวัติศาสตร์เริ่มซ้ำรอย จากสมัยถัง-สยามทวารวดี (พ.ศ.1161</a:t>
            </a:r>
            <a:r>
              <a:rPr lang="en-US" sz="2400" b="1" dirty="0">
                <a:solidFill>
                  <a:srgbClr val="0070C0"/>
                </a:solidFill>
                <a:latin typeface="CordiaUPC" pitchFamily="34" charset="-34"/>
                <a:cs typeface="CordiaUPC" pitchFamily="34" charset="-34"/>
              </a:rPr>
              <a:t>-1452) </a:t>
            </a:r>
            <a:endParaRPr lang="th-TH" sz="2800" b="1" dirty="0">
              <a:solidFill>
                <a:srgbClr val="0070C0"/>
              </a:solidFill>
              <a:latin typeface="CordiaUPC" pitchFamily="34" charset="-34"/>
              <a:cs typeface="CordiaUPC" pitchFamily="34" charset="-34"/>
            </a:endParaRPr>
          </a:p>
          <a:p>
            <a:pPr algn="ctr" fontAlgn="base">
              <a:spcBef>
                <a:spcPct val="0"/>
              </a:spcBef>
              <a:spcAft>
                <a:spcPct val="0"/>
              </a:spcAft>
            </a:pPr>
            <a:r>
              <a:rPr lang="th-TH" sz="2400" b="1" dirty="0">
                <a:solidFill>
                  <a:srgbClr val="0070C0"/>
                </a:solidFill>
                <a:latin typeface="CordiaUPC" pitchFamily="34" charset="-34"/>
                <a:cs typeface="CordiaUPC" pitchFamily="34" charset="-34"/>
              </a:rPr>
              <a:t>สู่สมัยอาเซียน </a:t>
            </a:r>
            <a:r>
              <a:rPr lang="en-US" sz="2400" b="1" dirty="0">
                <a:solidFill>
                  <a:srgbClr val="0070C0"/>
                </a:solidFill>
                <a:latin typeface="CordiaUPC" pitchFamily="34" charset="-34"/>
                <a:cs typeface="CordiaUPC" pitchFamily="34" charset="-34"/>
              </a:rPr>
              <a:t>+3 </a:t>
            </a:r>
            <a:r>
              <a:rPr lang="th-TH" sz="2400" b="1" dirty="0">
                <a:solidFill>
                  <a:srgbClr val="0070C0"/>
                </a:solidFill>
                <a:latin typeface="CordiaUPC" pitchFamily="34" charset="-34"/>
                <a:cs typeface="CordiaUPC" pitchFamily="34" charset="-34"/>
              </a:rPr>
              <a:t>(จีน เกาหลี ญี่ปุ่น) พ.ศ.</a:t>
            </a:r>
            <a:r>
              <a:rPr lang="en-US" sz="2400" b="1" dirty="0">
                <a:solidFill>
                  <a:srgbClr val="0070C0"/>
                </a:solidFill>
                <a:latin typeface="CordiaUPC" pitchFamily="34" charset="-34"/>
                <a:cs typeface="CordiaUPC" pitchFamily="34" charset="-34"/>
              </a:rPr>
              <a:t>2558</a:t>
            </a:r>
            <a:endParaRPr lang="th-TH" sz="2400" b="1" dirty="0">
              <a:solidFill>
                <a:srgbClr val="0070C0"/>
              </a:solidFill>
              <a:latin typeface="CordiaUPC" pitchFamily="34" charset="-34"/>
              <a:cs typeface="CordiaUPC" pitchFamily="34" charset="-34"/>
            </a:endParaRPr>
          </a:p>
        </p:txBody>
      </p:sp>
      <p:pic>
        <p:nvPicPr>
          <p:cNvPr id="6" name="Picture 1" descr="D:\Users\FireCoM\Desktop\New Folder\Untitled01-3.jpg"/>
          <p:cNvPicPr>
            <a:picLocks noChangeAspect="1" noChangeArrowheads="1"/>
          </p:cNvPicPr>
          <p:nvPr/>
        </p:nvPicPr>
        <p:blipFill rotWithShape="1">
          <a:blip r:embed="rId3" cstate="print"/>
          <a:srcRect l="10757" r="3080"/>
          <a:stretch/>
        </p:blipFill>
        <p:spPr bwMode="auto">
          <a:xfrm>
            <a:off x="1" y="804237"/>
            <a:ext cx="9023683" cy="5035453"/>
          </a:xfrm>
          <a:prstGeom prst="rect">
            <a:avLst/>
          </a:prstGeom>
          <a:noFill/>
          <a:ln w="9525">
            <a:noFill/>
            <a:miter lim="800000"/>
            <a:headEnd/>
            <a:tailEnd/>
          </a:ln>
        </p:spPr>
      </p:pic>
      <p:sp>
        <p:nvSpPr>
          <p:cNvPr id="7" name="TextBox 5"/>
          <p:cNvSpPr txBox="1">
            <a:spLocks noChangeArrowheads="1"/>
          </p:cNvSpPr>
          <p:nvPr/>
        </p:nvSpPr>
        <p:spPr bwMode="auto">
          <a:xfrm>
            <a:off x="0" y="5842337"/>
            <a:ext cx="9144000" cy="1015663"/>
          </a:xfrm>
          <a:prstGeom prst="rect">
            <a:avLst/>
          </a:prstGeom>
          <a:noFill/>
          <a:ln w="9525">
            <a:noFill/>
            <a:miter lim="800000"/>
            <a:headEnd/>
            <a:tailEnd/>
          </a:ln>
        </p:spPr>
        <p:txBody>
          <a:bodyPr>
            <a:spAutoFit/>
          </a:bodyPr>
          <a:lstStyle/>
          <a:p>
            <a:pPr algn="thaiDist" fontAlgn="base">
              <a:spcBef>
                <a:spcPct val="0"/>
              </a:spcBef>
              <a:spcAft>
                <a:spcPct val="0"/>
              </a:spcAft>
            </a:pPr>
            <a:r>
              <a:rPr lang="th-TH" sz="2000" b="1" dirty="0" smtClean="0">
                <a:solidFill>
                  <a:prstClr val="black"/>
                </a:solidFill>
                <a:latin typeface="CordiaUPC" pitchFamily="34" charset="-34"/>
                <a:cs typeface="CordiaUPC" pitchFamily="34" charset="-34"/>
              </a:rPr>
              <a:t>      ปัจจุบันจีนได้สร้างโครงสร้างพื้นฐานรองรับไว้แล้ว เช่น ถนน </a:t>
            </a:r>
            <a:r>
              <a:rPr lang="en-US" sz="2000" b="1" dirty="0" smtClean="0">
                <a:solidFill>
                  <a:prstClr val="black"/>
                </a:solidFill>
                <a:latin typeface="CordiaUPC" pitchFamily="34" charset="-34"/>
                <a:cs typeface="CordiaUPC" pitchFamily="34" charset="-34"/>
              </a:rPr>
              <a:t>R3A, R3B </a:t>
            </a:r>
            <a:r>
              <a:rPr lang="th-TH" sz="2000" b="1" dirty="0" smtClean="0">
                <a:solidFill>
                  <a:prstClr val="black"/>
                </a:solidFill>
                <a:latin typeface="CordiaUPC" pitchFamily="34" charset="-34"/>
                <a:cs typeface="CordiaUPC" pitchFamily="34" charset="-34"/>
              </a:rPr>
              <a:t>จาก</a:t>
            </a:r>
            <a:r>
              <a:rPr lang="th-TH" sz="2000" b="1" dirty="0" err="1" smtClean="0">
                <a:solidFill>
                  <a:prstClr val="black"/>
                </a:solidFill>
                <a:latin typeface="CordiaUPC" pitchFamily="34" charset="-34"/>
                <a:cs typeface="CordiaUPC" pitchFamily="34" charset="-34"/>
              </a:rPr>
              <a:t>คุนหมิง</a:t>
            </a:r>
            <a:r>
              <a:rPr lang="th-TH" sz="2000" b="1" dirty="0" smtClean="0">
                <a:solidFill>
                  <a:prstClr val="black"/>
                </a:solidFill>
                <a:latin typeface="CordiaUPC" pitchFamily="34" charset="-34"/>
                <a:cs typeface="CordiaUPC" pitchFamily="34" charset="-34"/>
              </a:rPr>
              <a:t>มาไทย หรือ </a:t>
            </a:r>
            <a:r>
              <a:rPr lang="en-US" sz="2000" b="1" dirty="0" smtClean="0">
                <a:solidFill>
                  <a:prstClr val="black"/>
                </a:solidFill>
                <a:latin typeface="CordiaUPC" pitchFamily="34" charset="-34"/>
                <a:cs typeface="CordiaUPC" pitchFamily="34" charset="-34"/>
              </a:rPr>
              <a:t>R8-R9-R12 </a:t>
            </a:r>
            <a:r>
              <a:rPr lang="th-TH" sz="2000" b="1" dirty="0" smtClean="0">
                <a:solidFill>
                  <a:prstClr val="black"/>
                </a:solidFill>
                <a:latin typeface="CordiaUPC" pitchFamily="34" charset="-34"/>
                <a:cs typeface="CordiaUPC" pitchFamily="34" charset="-34"/>
              </a:rPr>
              <a:t>จากพม่าผ่านไทยสู่</a:t>
            </a:r>
            <a:r>
              <a:rPr lang="th-TH" sz="2000" b="1" dirty="0" err="1" smtClean="0">
                <a:solidFill>
                  <a:prstClr val="black"/>
                </a:solidFill>
                <a:latin typeface="CordiaUPC" pitchFamily="34" charset="-34"/>
                <a:cs typeface="CordiaUPC" pitchFamily="34" charset="-34"/>
              </a:rPr>
              <a:t>ดานัง</a:t>
            </a:r>
            <a:r>
              <a:rPr lang="th-TH" sz="2000" b="1" dirty="0" smtClean="0">
                <a:solidFill>
                  <a:prstClr val="black"/>
                </a:solidFill>
                <a:latin typeface="CordiaUPC" pitchFamily="34" charset="-34"/>
                <a:cs typeface="CordiaUPC" pitchFamily="34" charset="-34"/>
              </a:rPr>
              <a:t> และเปิดเส้นทางจากนครกวาง</a:t>
            </a:r>
            <a:r>
              <a:rPr lang="th-TH" sz="2000" b="1" dirty="0" err="1" smtClean="0">
                <a:solidFill>
                  <a:prstClr val="black"/>
                </a:solidFill>
                <a:latin typeface="CordiaUPC" pitchFamily="34" charset="-34"/>
                <a:cs typeface="CordiaUPC" pitchFamily="34" charset="-34"/>
              </a:rPr>
              <a:t>โจว</a:t>
            </a:r>
            <a:r>
              <a:rPr lang="en-US" sz="2000" b="1" dirty="0" smtClean="0">
                <a:solidFill>
                  <a:prstClr val="black"/>
                </a:solidFill>
                <a:latin typeface="CordiaUPC" pitchFamily="34" charset="-34"/>
                <a:cs typeface="CordiaUPC" pitchFamily="34" charset="-34"/>
              </a:rPr>
              <a:t>-</a:t>
            </a:r>
            <a:r>
              <a:rPr lang="th-TH" sz="2000" b="1" dirty="0" err="1" smtClean="0">
                <a:solidFill>
                  <a:prstClr val="black"/>
                </a:solidFill>
                <a:latin typeface="CordiaUPC" pitchFamily="34" charset="-34"/>
                <a:cs typeface="CordiaUPC" pitchFamily="34" charset="-34"/>
              </a:rPr>
              <a:t>หนานห</a:t>
            </a:r>
            <a:r>
              <a:rPr lang="th-TH" sz="2000" b="1" dirty="0" smtClean="0">
                <a:solidFill>
                  <a:prstClr val="black"/>
                </a:solidFill>
                <a:latin typeface="CordiaUPC" pitchFamily="34" charset="-34"/>
                <a:cs typeface="CordiaUPC" pitchFamily="34" charset="-34"/>
              </a:rPr>
              <a:t>นิง ผ่านฮานอย ลาว เข้าไทย ตลอดจนเตรียมสร้างทางรถไฟความเร็วสูงเชื่อมโยงจีนกับสิงคโปร์ ผ่านไทย</a:t>
            </a:r>
          </a:p>
        </p:txBody>
      </p:sp>
    </p:spTree>
    <p:extLst>
      <p:ext uri="{BB962C8B-B14F-4D97-AF65-F5344CB8AC3E}">
        <p14:creationId xmlns:p14="http://schemas.microsoft.com/office/powerpoint/2010/main" val="3603239267"/>
      </p:ext>
    </p:extLst>
  </p:cSld>
  <p:clrMapOvr>
    <a:masterClrMapping/>
  </p:clrMapOvr>
  <p:transition spd="slow">
    <p:split orient="vert"/>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7"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0" y="756376"/>
            <a:ext cx="7315200" cy="6035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893618" y="34636"/>
            <a:ext cx="8030045" cy="5400600"/>
          </a:xfrm>
        </p:spPr>
        <p:txBody>
          <a:bodyPr anchor="t" anchorCtr="0">
            <a:normAutofit/>
          </a:bodyPr>
          <a:lstStyle/>
          <a:p>
            <a:pPr algn="r"/>
            <a:r>
              <a:rPr lang="th-TH" sz="3600" b="1" dirty="0" smtClean="0">
                <a:solidFill>
                  <a:schemeClr val="accent2"/>
                </a:solidFill>
                <a:latin typeface="AngsanaUPC" panose="02020603050405020304" pitchFamily="18" charset="-34"/>
                <a:cs typeface="AngsanaUPC" panose="02020603050405020304" pitchFamily="18" charset="-34"/>
              </a:rPr>
              <a:t>ชาติพันธุ์</a:t>
            </a:r>
            <a:br>
              <a:rPr lang="th-TH" sz="3600" b="1" dirty="0" smtClean="0">
                <a:solidFill>
                  <a:schemeClr val="accent2"/>
                </a:solidFill>
                <a:latin typeface="AngsanaUPC" panose="02020603050405020304" pitchFamily="18" charset="-34"/>
                <a:cs typeface="AngsanaUPC" panose="02020603050405020304" pitchFamily="18" charset="-34"/>
              </a:rPr>
            </a:br>
            <a:r>
              <a:rPr lang="th-TH" sz="3600" b="1" dirty="0" smtClean="0">
                <a:solidFill>
                  <a:schemeClr val="accent2"/>
                </a:solidFill>
                <a:latin typeface="AngsanaUPC" panose="02020603050405020304" pitchFamily="18" charset="-34"/>
                <a:cs typeface="AngsanaUPC" panose="02020603050405020304" pitchFamily="18" charset="-34"/>
              </a:rPr>
              <a:t>วัฒนธรรม</a:t>
            </a:r>
            <a:br>
              <a:rPr lang="th-TH" sz="3600" b="1" dirty="0" smtClean="0">
                <a:solidFill>
                  <a:schemeClr val="accent2"/>
                </a:solidFill>
                <a:latin typeface="AngsanaUPC" panose="02020603050405020304" pitchFamily="18" charset="-34"/>
                <a:cs typeface="AngsanaUPC" panose="02020603050405020304" pitchFamily="18" charset="-34"/>
              </a:rPr>
            </a:br>
            <a:r>
              <a:rPr lang="th-TH" sz="3600" b="1" dirty="0" smtClean="0">
                <a:solidFill>
                  <a:schemeClr val="accent2"/>
                </a:solidFill>
                <a:latin typeface="AngsanaUPC" panose="02020603050405020304" pitchFamily="18" charset="-34"/>
                <a:cs typeface="AngsanaUPC" panose="02020603050405020304" pitchFamily="18" charset="-34"/>
              </a:rPr>
              <a:t>ศาสนา</a:t>
            </a:r>
            <a:br>
              <a:rPr lang="th-TH" sz="3600" b="1" dirty="0" smtClean="0">
                <a:solidFill>
                  <a:schemeClr val="accent2"/>
                </a:solidFill>
                <a:latin typeface="AngsanaUPC" panose="02020603050405020304" pitchFamily="18" charset="-34"/>
                <a:cs typeface="AngsanaUPC" panose="02020603050405020304" pitchFamily="18" charset="-34"/>
              </a:rPr>
            </a:br>
            <a:r>
              <a:rPr lang="th-TH" sz="3600" b="1" dirty="0" smtClean="0">
                <a:solidFill>
                  <a:schemeClr val="accent2"/>
                </a:solidFill>
                <a:latin typeface="AngsanaUPC" panose="02020603050405020304" pitchFamily="18" charset="-34"/>
                <a:cs typeface="AngsanaUPC" panose="02020603050405020304" pitchFamily="18" charset="-34"/>
              </a:rPr>
              <a:t>ภาษา</a:t>
            </a:r>
            <a:br>
              <a:rPr lang="th-TH" sz="3600" b="1" dirty="0" smtClean="0">
                <a:solidFill>
                  <a:schemeClr val="accent2"/>
                </a:solidFill>
                <a:latin typeface="AngsanaUPC" panose="02020603050405020304" pitchFamily="18" charset="-34"/>
                <a:cs typeface="AngsanaUPC" panose="02020603050405020304" pitchFamily="18" charset="-34"/>
              </a:rPr>
            </a:br>
            <a:r>
              <a:rPr lang="th-TH" sz="3600" b="1" dirty="0">
                <a:solidFill>
                  <a:schemeClr val="accent2"/>
                </a:solidFill>
                <a:latin typeface="AngsanaUPC" panose="02020603050405020304" pitchFamily="18" charset="-34"/>
                <a:cs typeface="AngsanaUPC" panose="02020603050405020304" pitchFamily="18" charset="-34"/>
              </a:rPr>
              <a:t>การเมืองการ</a:t>
            </a:r>
            <a:r>
              <a:rPr lang="th-TH" sz="3600" b="1" dirty="0" smtClean="0">
                <a:solidFill>
                  <a:schemeClr val="accent2"/>
                </a:solidFill>
                <a:latin typeface="AngsanaUPC" panose="02020603050405020304" pitchFamily="18" charset="-34"/>
                <a:cs typeface="AngsanaUPC" panose="02020603050405020304" pitchFamily="18" charset="-34"/>
              </a:rPr>
              <a:t>ปกครอง</a:t>
            </a:r>
            <a:br>
              <a:rPr lang="th-TH" sz="3600" b="1" dirty="0" smtClean="0">
                <a:solidFill>
                  <a:schemeClr val="accent2"/>
                </a:solidFill>
                <a:latin typeface="AngsanaUPC" panose="02020603050405020304" pitchFamily="18" charset="-34"/>
                <a:cs typeface="AngsanaUPC" panose="02020603050405020304" pitchFamily="18" charset="-34"/>
              </a:rPr>
            </a:br>
            <a:r>
              <a:rPr lang="th-TH" sz="3600" b="1" dirty="0" smtClean="0">
                <a:solidFill>
                  <a:schemeClr val="accent2"/>
                </a:solidFill>
                <a:latin typeface="AngsanaUPC" panose="02020603050405020304" pitchFamily="18" charset="-34"/>
                <a:cs typeface="AngsanaUPC" panose="02020603050405020304" pitchFamily="18" charset="-34"/>
              </a:rPr>
              <a:t>ฯลฯ</a:t>
            </a:r>
            <a:endParaRPr lang="th-TH" sz="3600" b="1" dirty="0">
              <a:solidFill>
                <a:schemeClr val="accent2"/>
              </a:solidFill>
              <a:latin typeface="AngsanaUPC" panose="02020603050405020304" pitchFamily="18" charset="-34"/>
              <a:cs typeface="AngsanaUPC" panose="02020603050405020304" pitchFamily="18" charset="-34"/>
            </a:endParaRPr>
          </a:p>
        </p:txBody>
      </p:sp>
      <p:sp>
        <p:nvSpPr>
          <p:cNvPr id="4" name="Rectangle 3"/>
          <p:cNvSpPr/>
          <p:nvPr/>
        </p:nvSpPr>
        <p:spPr>
          <a:xfrm>
            <a:off x="0" y="6927"/>
            <a:ext cx="5791200" cy="707886"/>
          </a:xfrm>
          <a:prstGeom prst="rect">
            <a:avLst/>
          </a:prstGeom>
        </p:spPr>
        <p:txBody>
          <a:bodyPr wrap="square">
            <a:spAutoFit/>
          </a:bodyPr>
          <a:lstStyle/>
          <a:p>
            <a:r>
              <a:rPr lang="th-TH" sz="4000" b="1" dirty="0">
                <a:solidFill>
                  <a:prstClr val="black"/>
                </a:solidFill>
                <a:ea typeface="+mj-ea"/>
                <a:cs typeface="Angsana New" panose="02020603050405020304" pitchFamily="18" charset="-34"/>
              </a:rPr>
              <a:t>ประเทศอาเซียนมีความแตกต่างทาง </a:t>
            </a:r>
            <a:endParaRPr lang="th-TH" sz="1600" dirty="0"/>
          </a:p>
        </p:txBody>
      </p:sp>
      <p:sp>
        <p:nvSpPr>
          <p:cNvPr id="6" name="Rectangle 5"/>
          <p:cNvSpPr/>
          <p:nvPr/>
        </p:nvSpPr>
        <p:spPr>
          <a:xfrm>
            <a:off x="5981700" y="4343400"/>
            <a:ext cx="3124200" cy="707886"/>
          </a:xfrm>
          <a:prstGeom prst="rect">
            <a:avLst/>
          </a:prstGeom>
        </p:spPr>
        <p:txBody>
          <a:bodyPr wrap="square">
            <a:spAutoFit/>
          </a:bodyPr>
          <a:lstStyle/>
          <a:p>
            <a:r>
              <a:rPr lang="th-TH" sz="4000" b="1" dirty="0" smtClean="0">
                <a:solidFill>
                  <a:prstClr val="black"/>
                </a:solidFill>
                <a:ea typeface="+mj-ea"/>
                <a:cs typeface="Angsana New" panose="02020603050405020304" pitchFamily="18" charset="-34"/>
              </a:rPr>
              <a:t>รู้จักอาเซียนในทุกมิติ</a:t>
            </a:r>
            <a:endParaRPr lang="th-TH" sz="1600" dirty="0"/>
          </a:p>
        </p:txBody>
      </p:sp>
    </p:spTree>
    <p:extLst>
      <p:ext uri="{BB962C8B-B14F-4D97-AF65-F5344CB8AC3E}">
        <p14:creationId xmlns:p14="http://schemas.microsoft.com/office/powerpoint/2010/main" val="1238462318"/>
      </p:ext>
    </p:extLst>
  </p:cSld>
  <p:clrMapOvr>
    <a:masterClrMapping/>
  </p:clrMapOvr>
  <p:transition>
    <p:strips dir="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McKinsey Global Institute: 12 Disruptive Technologies Infographic"/>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635" y="270456"/>
            <a:ext cx="9000179" cy="6465195"/>
          </a:xfrm>
          <a:prstGeom prst="rect">
            <a:avLst/>
          </a:prstGeom>
          <a:solidFill>
            <a:sysClr val="window" lastClr="FFFFFF"/>
          </a:solidFill>
          <a:ln>
            <a:noFill/>
          </a:ln>
          <a:extLst/>
        </p:spPr>
      </p:pic>
    </p:spTree>
    <p:extLst>
      <p:ext uri="{BB962C8B-B14F-4D97-AF65-F5344CB8AC3E}">
        <p14:creationId xmlns:p14="http://schemas.microsoft.com/office/powerpoint/2010/main" val="4136927981"/>
      </p:ext>
    </p:extLst>
  </p:cSld>
  <p:clrMapOvr>
    <a:masterClrMapping/>
  </p:clrMapOvr>
  <p:transition advClick="0">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Slide Number Placeholder 1"/>
          <p:cNvSpPr>
            <a:spLocks noGrp="1"/>
          </p:cNvSpPr>
          <p:nvPr>
            <p:ph type="sldNum" sz="quarter" idx="12"/>
          </p:nvPr>
        </p:nvSpPr>
        <p:spPr>
          <a:xfrm>
            <a:off x="7033386" y="6462250"/>
            <a:ext cx="2133600" cy="326150"/>
          </a:xfrm>
        </p:spPr>
        <p:txBody>
          <a:bodyPr/>
          <a:lstStyle/>
          <a:p>
            <a:fld id="{B614AA4E-CE5C-4AC3-9B37-1474BA325E16}" type="slidenum">
              <a:rPr lang="th-TH" smtClean="0">
                <a:solidFill>
                  <a:prstClr val="black">
                    <a:tint val="75000"/>
                  </a:prstClr>
                </a:solidFill>
              </a:rPr>
              <a:pPr/>
              <a:t>19</a:t>
            </a:fld>
            <a:endParaRPr lang="th-TH" dirty="0">
              <a:solidFill>
                <a:prstClr val="black">
                  <a:tint val="75000"/>
                </a:prstClr>
              </a:solidFill>
            </a:endParaRPr>
          </a:p>
        </p:txBody>
      </p:sp>
      <p:sp>
        <p:nvSpPr>
          <p:cNvPr id="52" name="TextBox 51"/>
          <p:cNvSpPr txBox="1"/>
          <p:nvPr/>
        </p:nvSpPr>
        <p:spPr>
          <a:xfrm>
            <a:off x="43725" y="1093196"/>
            <a:ext cx="2047355" cy="486287"/>
          </a:xfrm>
          <a:prstGeom prst="rect">
            <a:avLst/>
          </a:prstGeom>
          <a:noFill/>
        </p:spPr>
        <p:txBody>
          <a:bodyPr wrap="none" rtlCol="0">
            <a:spAutoFit/>
          </a:bodyPr>
          <a:lstStyle/>
          <a:p>
            <a:pPr marL="2509838" indent="-2509838">
              <a:lnSpc>
                <a:spcPct val="80000"/>
              </a:lnSpc>
              <a:spcBef>
                <a:spcPct val="50000"/>
              </a:spcBef>
              <a:spcAft>
                <a:spcPts val="1200"/>
              </a:spcAft>
              <a:defRPr/>
            </a:pPr>
            <a:r>
              <a:rPr lang="en-US" sz="3200" dirty="0">
                <a:ln>
                  <a:solidFill>
                    <a:srgbClr val="C0504D">
                      <a:lumMod val="75000"/>
                    </a:srgbClr>
                  </a:solidFill>
                </a:ln>
                <a:solidFill>
                  <a:srgbClr val="C0504D">
                    <a:lumMod val="75000"/>
                  </a:srgbClr>
                </a:solidFill>
                <a:latin typeface="AngsanaUPC" panose="02020603050405020304" pitchFamily="18" charset="-34"/>
                <a:cs typeface="AngsanaUPC" panose="02020603050405020304" pitchFamily="18" charset="-34"/>
              </a:rPr>
              <a:t>Country Strategy</a:t>
            </a:r>
            <a:endParaRPr lang="th-TH" sz="3200" dirty="0">
              <a:ln>
                <a:solidFill>
                  <a:srgbClr val="C0504D">
                    <a:lumMod val="75000"/>
                  </a:srgbClr>
                </a:solidFill>
              </a:ln>
              <a:solidFill>
                <a:srgbClr val="C0504D">
                  <a:lumMod val="75000"/>
                </a:srgbClr>
              </a:solidFill>
              <a:latin typeface="AngsanaUPC" panose="02020603050405020304" pitchFamily="18" charset="-34"/>
              <a:cs typeface="AngsanaUPC" panose="02020603050405020304" pitchFamily="18" charset="-34"/>
            </a:endParaRPr>
          </a:p>
        </p:txBody>
      </p:sp>
      <p:sp>
        <p:nvSpPr>
          <p:cNvPr id="53" name="Rectangle 52"/>
          <p:cNvSpPr/>
          <p:nvPr/>
        </p:nvSpPr>
        <p:spPr>
          <a:xfrm>
            <a:off x="43724" y="25400"/>
            <a:ext cx="8056461" cy="523220"/>
          </a:xfrm>
          <a:prstGeom prst="rect">
            <a:avLst/>
          </a:prstGeom>
        </p:spPr>
        <p:txBody>
          <a:bodyPr wrap="square">
            <a:spAutoFit/>
          </a:bodyPr>
          <a:lstStyle/>
          <a:p>
            <a:r>
              <a:rPr lang="th-TH" b="1" dirty="0" smtClean="0">
                <a:solidFill>
                  <a:srgbClr val="0070C0"/>
                </a:solidFill>
                <a:latin typeface="CordiaUPC" panose="020B0304020202020204" pitchFamily="34" charset="-34"/>
                <a:ea typeface="Calibri" panose="020F0502020204030204" pitchFamily="34" charset="0"/>
                <a:cs typeface="CordiaUPC" panose="020B0304020202020204" pitchFamily="34" charset="-34"/>
              </a:rPr>
              <a:t>บทบาทขององค์กรรัฐ ได้ตอบ</a:t>
            </a:r>
            <a:r>
              <a:rPr lang="th-TH" b="1" dirty="0">
                <a:solidFill>
                  <a:srgbClr val="0070C0"/>
                </a:solidFill>
                <a:latin typeface="CordiaUPC" panose="020B0304020202020204" pitchFamily="34" charset="-34"/>
                <a:ea typeface="Calibri" panose="020F0502020204030204" pitchFamily="34" charset="0"/>
                <a:cs typeface="CordiaUPC" panose="020B0304020202020204" pitchFamily="34" charset="-34"/>
              </a:rPr>
              <a:t>โจทย์</a:t>
            </a:r>
            <a:r>
              <a:rPr lang="th-TH" b="1" dirty="0" smtClean="0">
                <a:solidFill>
                  <a:srgbClr val="0070C0"/>
                </a:solidFill>
                <a:latin typeface="CordiaUPC" panose="020B0304020202020204" pitchFamily="34" charset="-34"/>
                <a:ea typeface="Calibri" panose="020F0502020204030204" pitchFamily="34" charset="0"/>
                <a:cs typeface="CordiaUPC" panose="020B0304020202020204" pitchFamily="34" charset="-34"/>
              </a:rPr>
              <a:t>สำคัญอะไรของ</a:t>
            </a:r>
            <a:r>
              <a:rPr lang="th-TH" b="1" dirty="0">
                <a:solidFill>
                  <a:srgbClr val="0070C0"/>
                </a:solidFill>
                <a:latin typeface="CordiaUPC" panose="020B0304020202020204" pitchFamily="34" charset="-34"/>
                <a:ea typeface="Calibri" panose="020F0502020204030204" pitchFamily="34" charset="0"/>
                <a:cs typeface="CordiaUPC" panose="020B0304020202020204" pitchFamily="34" charset="-34"/>
              </a:rPr>
              <a:t>ประเทศ</a:t>
            </a:r>
            <a:r>
              <a:rPr lang="th-TH" b="1" dirty="0" smtClean="0">
                <a:solidFill>
                  <a:srgbClr val="0070C0"/>
                </a:solidFill>
                <a:latin typeface="CordiaUPC" panose="020B0304020202020204" pitchFamily="34" charset="-34"/>
                <a:ea typeface="Calibri" panose="020F0502020204030204" pitchFamily="34" charset="0"/>
                <a:cs typeface="CordiaUPC" panose="020B0304020202020204" pitchFamily="34" charset="-34"/>
              </a:rPr>
              <a:t>ไทยบ้าง </a:t>
            </a:r>
            <a:endParaRPr lang="th-TH" b="1" dirty="0">
              <a:solidFill>
                <a:srgbClr val="0070C0"/>
              </a:solidFill>
            </a:endParaRPr>
          </a:p>
        </p:txBody>
      </p:sp>
      <p:sp>
        <p:nvSpPr>
          <p:cNvPr id="54" name="TextBox 53"/>
          <p:cNvSpPr txBox="1"/>
          <p:nvPr/>
        </p:nvSpPr>
        <p:spPr>
          <a:xfrm>
            <a:off x="4789154" y="6528510"/>
            <a:ext cx="4540025" cy="400110"/>
          </a:xfrm>
          <a:prstGeom prst="rect">
            <a:avLst/>
          </a:prstGeom>
          <a:noFill/>
        </p:spPr>
        <p:txBody>
          <a:bodyPr wrap="none" rtlCol="0">
            <a:spAutoFit/>
          </a:bodyPr>
          <a:lstStyle/>
          <a:p>
            <a:r>
              <a:rPr lang="th-TH" sz="2000" dirty="0">
                <a:solidFill>
                  <a:prstClr val="black"/>
                </a:solidFill>
              </a:rPr>
              <a:t>สำนักงานคณะกรรมการพัฒนาการเศรษฐกิจและสังคมแห่งชาติ</a:t>
            </a:r>
          </a:p>
        </p:txBody>
      </p:sp>
      <p:sp>
        <p:nvSpPr>
          <p:cNvPr id="55" name="Rectangle 54"/>
          <p:cNvSpPr/>
          <p:nvPr/>
        </p:nvSpPr>
        <p:spPr>
          <a:xfrm>
            <a:off x="1856709" y="3731116"/>
            <a:ext cx="931665" cy="646331"/>
          </a:xfrm>
          <a:prstGeom prst="rect">
            <a:avLst/>
          </a:prstGeom>
        </p:spPr>
        <p:txBody>
          <a:bodyPr wrap="none">
            <a:spAutoFit/>
          </a:bodyPr>
          <a:lstStyle/>
          <a:p>
            <a:r>
              <a:rPr lang="th-TH" sz="3600" b="1" dirty="0">
                <a:solidFill>
                  <a:srgbClr val="FF0000"/>
                </a:solidFill>
                <a:latin typeface="Tahoma" panose="020B0604030504040204" pitchFamily="34" charset="0"/>
              </a:rPr>
              <a:t>มั่นคง</a:t>
            </a:r>
            <a:endParaRPr lang="th-TH" sz="3600" b="1" dirty="0">
              <a:solidFill>
                <a:srgbClr val="FF0000"/>
              </a:solidFill>
            </a:endParaRPr>
          </a:p>
        </p:txBody>
      </p:sp>
      <p:sp>
        <p:nvSpPr>
          <p:cNvPr id="56" name="Rectangle 55"/>
          <p:cNvSpPr/>
          <p:nvPr/>
        </p:nvSpPr>
        <p:spPr>
          <a:xfrm>
            <a:off x="2679520" y="1023700"/>
            <a:ext cx="869149" cy="646331"/>
          </a:xfrm>
          <a:prstGeom prst="rect">
            <a:avLst/>
          </a:prstGeom>
        </p:spPr>
        <p:txBody>
          <a:bodyPr wrap="none">
            <a:spAutoFit/>
          </a:bodyPr>
          <a:lstStyle/>
          <a:p>
            <a:r>
              <a:rPr lang="th-TH" sz="3600" b="1" dirty="0" smtClean="0">
                <a:solidFill>
                  <a:srgbClr val="FF0000"/>
                </a:solidFill>
                <a:latin typeface="Tahoma" panose="020B0604030504040204" pitchFamily="34" charset="0"/>
              </a:rPr>
              <a:t>มั่งคั่ง</a:t>
            </a:r>
            <a:endParaRPr lang="th-TH" sz="3600" b="1" dirty="0">
              <a:solidFill>
                <a:srgbClr val="FF0000"/>
              </a:solidFill>
              <a:latin typeface="Tahoma" panose="020B0604030504040204" pitchFamily="34" charset="0"/>
            </a:endParaRPr>
          </a:p>
        </p:txBody>
      </p:sp>
      <p:sp>
        <p:nvSpPr>
          <p:cNvPr id="57" name="Rectangle 56"/>
          <p:cNvSpPr/>
          <p:nvPr/>
        </p:nvSpPr>
        <p:spPr>
          <a:xfrm>
            <a:off x="6183651" y="3719433"/>
            <a:ext cx="888385" cy="646331"/>
          </a:xfrm>
          <a:prstGeom prst="rect">
            <a:avLst/>
          </a:prstGeom>
        </p:spPr>
        <p:txBody>
          <a:bodyPr wrap="none">
            <a:spAutoFit/>
          </a:bodyPr>
          <a:lstStyle/>
          <a:p>
            <a:r>
              <a:rPr lang="th-TH" sz="3600" b="1" dirty="0">
                <a:solidFill>
                  <a:srgbClr val="FF0000"/>
                </a:solidFill>
                <a:latin typeface="Tahoma" panose="020B0604030504040204" pitchFamily="34" charset="0"/>
              </a:rPr>
              <a:t>ยั่งยืน</a:t>
            </a:r>
          </a:p>
        </p:txBody>
      </p:sp>
      <p:sp>
        <p:nvSpPr>
          <p:cNvPr id="58" name="TextBox 57"/>
          <p:cNvSpPr txBox="1"/>
          <p:nvPr/>
        </p:nvSpPr>
        <p:spPr>
          <a:xfrm>
            <a:off x="43725" y="665829"/>
            <a:ext cx="2093843" cy="486287"/>
          </a:xfrm>
          <a:prstGeom prst="rect">
            <a:avLst/>
          </a:prstGeom>
          <a:noFill/>
        </p:spPr>
        <p:txBody>
          <a:bodyPr wrap="none" rtlCol="0">
            <a:spAutoFit/>
          </a:bodyPr>
          <a:lstStyle/>
          <a:p>
            <a:pPr marL="2509838" indent="-2509838">
              <a:lnSpc>
                <a:spcPct val="80000"/>
              </a:lnSpc>
              <a:spcBef>
                <a:spcPct val="50000"/>
              </a:spcBef>
              <a:spcAft>
                <a:spcPts val="1200"/>
              </a:spcAft>
              <a:defRPr/>
            </a:pPr>
            <a:r>
              <a:rPr lang="en-US" sz="3200" b="1" dirty="0">
                <a:ln>
                  <a:solidFill>
                    <a:srgbClr val="FF3300"/>
                  </a:solidFill>
                </a:ln>
                <a:solidFill>
                  <a:srgbClr val="FF0000"/>
                </a:solidFill>
                <a:latin typeface="TH SarabunPSK" pitchFamily="34" charset="-34"/>
                <a:cs typeface="TH SarabunPSK" pitchFamily="34" charset="-34"/>
              </a:rPr>
              <a:t>Country Vision</a:t>
            </a:r>
            <a:endParaRPr lang="th-TH" sz="3200" b="1" dirty="0">
              <a:ln>
                <a:solidFill>
                  <a:srgbClr val="FF3300"/>
                </a:solidFill>
              </a:ln>
              <a:solidFill>
                <a:srgbClr val="FF0000"/>
              </a:solidFill>
              <a:latin typeface="TH SarabunPSK" pitchFamily="34" charset="-34"/>
              <a:cs typeface="TH SarabunPSK" pitchFamily="34" charset="-34"/>
            </a:endParaRPr>
          </a:p>
        </p:txBody>
      </p:sp>
      <p:sp>
        <p:nvSpPr>
          <p:cNvPr id="59" name="Rectangle 58"/>
          <p:cNvSpPr/>
          <p:nvPr/>
        </p:nvSpPr>
        <p:spPr>
          <a:xfrm>
            <a:off x="5354249" y="1049429"/>
            <a:ext cx="2847527" cy="783548"/>
          </a:xfrm>
          <a:prstGeom prst="rect">
            <a:avLst/>
          </a:prstGeom>
        </p:spPr>
        <p:txBody>
          <a:bodyPr wrap="square">
            <a:spAutoFit/>
          </a:bodyPr>
          <a:lstStyle/>
          <a:p>
            <a:pPr algn="ctr">
              <a:lnSpc>
                <a:spcPts val="2600"/>
              </a:lnSpc>
            </a:pPr>
            <a:r>
              <a:rPr lang="th-TH" sz="2000" b="1" dirty="0">
                <a:solidFill>
                  <a:srgbClr val="0070C0"/>
                </a:solidFill>
                <a:latin typeface="AngsanaUPC" panose="02020603050405020304" pitchFamily="18" charset="-34"/>
                <a:cs typeface="AngsanaUPC" panose="02020603050405020304" pitchFamily="18" charset="-34"/>
              </a:rPr>
              <a:t>การสร้างความสามารถในการแข่งขัน</a:t>
            </a:r>
          </a:p>
          <a:p>
            <a:pPr algn="ctr">
              <a:lnSpc>
                <a:spcPts val="2600"/>
              </a:lnSpc>
            </a:pPr>
            <a:r>
              <a:rPr lang="en-US" sz="2000" b="1" dirty="0">
                <a:solidFill>
                  <a:srgbClr val="0070C0"/>
                </a:solidFill>
                <a:latin typeface="AngsanaUPC" panose="02020603050405020304" pitchFamily="18" charset="-34"/>
                <a:cs typeface="AngsanaUPC" panose="02020603050405020304" pitchFamily="18" charset="-34"/>
              </a:rPr>
              <a:t>Growth &amp; Competitiveness</a:t>
            </a:r>
            <a:endParaRPr lang="th-TH" sz="2000" b="1" dirty="0">
              <a:solidFill>
                <a:srgbClr val="0070C0"/>
              </a:solidFill>
              <a:latin typeface="AngsanaUPC" panose="02020603050405020304" pitchFamily="18" charset="-34"/>
              <a:cs typeface="AngsanaUPC" panose="02020603050405020304" pitchFamily="18" charset="-34"/>
            </a:endParaRPr>
          </a:p>
        </p:txBody>
      </p:sp>
      <p:sp>
        <p:nvSpPr>
          <p:cNvPr id="60" name="Rectangle 59"/>
          <p:cNvSpPr/>
          <p:nvPr/>
        </p:nvSpPr>
        <p:spPr>
          <a:xfrm>
            <a:off x="7059166" y="4929400"/>
            <a:ext cx="2334274" cy="1426031"/>
          </a:xfrm>
          <a:prstGeom prst="rect">
            <a:avLst/>
          </a:prstGeom>
        </p:spPr>
        <p:txBody>
          <a:bodyPr wrap="square">
            <a:spAutoFit/>
          </a:bodyPr>
          <a:lstStyle/>
          <a:p>
            <a:pPr algn="ctr">
              <a:lnSpc>
                <a:spcPts val="2600"/>
              </a:lnSpc>
            </a:pPr>
            <a:r>
              <a:rPr lang="th-TH" sz="2000" b="1" dirty="0">
                <a:solidFill>
                  <a:srgbClr val="0070C0"/>
                </a:solidFill>
                <a:latin typeface="AngsanaUPC" panose="02020603050405020304" pitchFamily="18" charset="-34"/>
                <a:cs typeface="AngsanaUPC" panose="02020603050405020304" pitchFamily="18" charset="-34"/>
              </a:rPr>
              <a:t>การสร้างการเติบโต</a:t>
            </a:r>
          </a:p>
          <a:p>
            <a:pPr algn="ctr">
              <a:lnSpc>
                <a:spcPts val="2600"/>
              </a:lnSpc>
            </a:pPr>
            <a:r>
              <a:rPr lang="th-TH" sz="2000" b="1" dirty="0">
                <a:solidFill>
                  <a:srgbClr val="0070C0"/>
                </a:solidFill>
                <a:latin typeface="AngsanaUPC" panose="02020603050405020304" pitchFamily="18" charset="-34"/>
                <a:cs typeface="AngsanaUPC" panose="02020603050405020304" pitchFamily="18" charset="-34"/>
              </a:rPr>
              <a:t>บนคุณภาพชีวิต</a:t>
            </a:r>
          </a:p>
          <a:p>
            <a:pPr algn="ctr">
              <a:lnSpc>
                <a:spcPts val="2600"/>
              </a:lnSpc>
            </a:pPr>
            <a:r>
              <a:rPr lang="th-TH" sz="2000" b="1" dirty="0">
                <a:solidFill>
                  <a:srgbClr val="0070C0"/>
                </a:solidFill>
                <a:latin typeface="AngsanaUPC" panose="02020603050405020304" pitchFamily="18" charset="-34"/>
                <a:cs typeface="AngsanaUPC" panose="02020603050405020304" pitchFamily="18" charset="-34"/>
              </a:rPr>
              <a:t>ที่เป็นมิตรกับสิ่งแวดล้อม</a:t>
            </a:r>
          </a:p>
          <a:p>
            <a:pPr algn="ctr">
              <a:lnSpc>
                <a:spcPts val="2600"/>
              </a:lnSpc>
            </a:pPr>
            <a:r>
              <a:rPr lang="en-US" sz="2000" b="1" dirty="0">
                <a:solidFill>
                  <a:srgbClr val="0070C0"/>
                </a:solidFill>
                <a:latin typeface="AngsanaUPC" panose="02020603050405020304" pitchFamily="18" charset="-34"/>
                <a:cs typeface="AngsanaUPC" panose="02020603050405020304" pitchFamily="18" charset="-34"/>
              </a:rPr>
              <a:t>(Green Growth)</a:t>
            </a:r>
            <a:endParaRPr lang="th-TH" sz="2000" b="1" dirty="0">
              <a:solidFill>
                <a:srgbClr val="0070C0"/>
              </a:solidFill>
              <a:latin typeface="AngsanaUPC" panose="02020603050405020304" pitchFamily="18" charset="-34"/>
              <a:cs typeface="AngsanaUPC" panose="02020603050405020304" pitchFamily="18" charset="-34"/>
            </a:endParaRPr>
          </a:p>
        </p:txBody>
      </p:sp>
      <p:sp>
        <p:nvSpPr>
          <p:cNvPr id="61" name="Rectangle 60"/>
          <p:cNvSpPr/>
          <p:nvPr/>
        </p:nvSpPr>
        <p:spPr>
          <a:xfrm>
            <a:off x="-397866" y="4685940"/>
            <a:ext cx="2334274" cy="1759456"/>
          </a:xfrm>
          <a:prstGeom prst="rect">
            <a:avLst/>
          </a:prstGeom>
        </p:spPr>
        <p:txBody>
          <a:bodyPr wrap="square">
            <a:spAutoFit/>
          </a:bodyPr>
          <a:lstStyle/>
          <a:p>
            <a:pPr algn="ctr">
              <a:lnSpc>
                <a:spcPts val="2600"/>
              </a:lnSpc>
            </a:pPr>
            <a:r>
              <a:rPr lang="th-TH" sz="2000" b="1" dirty="0">
                <a:solidFill>
                  <a:srgbClr val="0070C0"/>
                </a:solidFill>
                <a:latin typeface="AngsanaUPC" panose="02020603050405020304" pitchFamily="18" charset="-34"/>
                <a:cs typeface="AngsanaUPC" panose="02020603050405020304" pitchFamily="18" charset="-34"/>
              </a:rPr>
              <a:t>การสร้างโอกาส</a:t>
            </a:r>
          </a:p>
          <a:p>
            <a:pPr algn="ctr">
              <a:lnSpc>
                <a:spcPts val="2600"/>
              </a:lnSpc>
            </a:pPr>
            <a:r>
              <a:rPr lang="th-TH" sz="2000" b="1" dirty="0">
                <a:solidFill>
                  <a:srgbClr val="0070C0"/>
                </a:solidFill>
                <a:latin typeface="AngsanaUPC" panose="02020603050405020304" pitchFamily="18" charset="-34"/>
                <a:cs typeface="AngsanaUPC" panose="02020603050405020304" pitchFamily="18" charset="-34"/>
              </a:rPr>
              <a:t>ความเสมอภาค</a:t>
            </a:r>
          </a:p>
          <a:p>
            <a:pPr algn="ctr">
              <a:lnSpc>
                <a:spcPts val="2600"/>
              </a:lnSpc>
            </a:pPr>
            <a:r>
              <a:rPr lang="th-TH" sz="2000" b="1" dirty="0">
                <a:solidFill>
                  <a:srgbClr val="0070C0"/>
                </a:solidFill>
                <a:latin typeface="AngsanaUPC" panose="02020603050405020304" pitchFamily="18" charset="-34"/>
                <a:cs typeface="AngsanaUPC" panose="02020603050405020304" pitchFamily="18" charset="-34"/>
              </a:rPr>
              <a:t>และเท่าเทียมกัน</a:t>
            </a:r>
          </a:p>
          <a:p>
            <a:pPr algn="ctr">
              <a:lnSpc>
                <a:spcPts val="2600"/>
              </a:lnSpc>
            </a:pPr>
            <a:r>
              <a:rPr lang="th-TH" sz="2000" b="1" dirty="0">
                <a:solidFill>
                  <a:srgbClr val="0070C0"/>
                </a:solidFill>
                <a:latin typeface="AngsanaUPC" panose="02020603050405020304" pitchFamily="18" charset="-34"/>
                <a:cs typeface="AngsanaUPC" panose="02020603050405020304" pitchFamily="18" charset="-34"/>
              </a:rPr>
              <a:t>ทางสังคม</a:t>
            </a:r>
          </a:p>
          <a:p>
            <a:pPr algn="ctr">
              <a:lnSpc>
                <a:spcPts val="2600"/>
              </a:lnSpc>
            </a:pPr>
            <a:r>
              <a:rPr lang="en-US" sz="2000" b="1" dirty="0">
                <a:solidFill>
                  <a:srgbClr val="0070C0"/>
                </a:solidFill>
                <a:latin typeface="AngsanaUPC" panose="02020603050405020304" pitchFamily="18" charset="-34"/>
                <a:cs typeface="AngsanaUPC" panose="02020603050405020304" pitchFamily="18" charset="-34"/>
              </a:rPr>
              <a:t>(Inclusive Growth)</a:t>
            </a:r>
            <a:endParaRPr lang="th-TH" sz="2000" b="1" dirty="0">
              <a:solidFill>
                <a:srgbClr val="0070C0"/>
              </a:solidFill>
              <a:latin typeface="AngsanaUPC" panose="02020603050405020304" pitchFamily="18" charset="-34"/>
              <a:cs typeface="AngsanaUPC" panose="02020603050405020304" pitchFamily="18" charset="-34"/>
            </a:endParaRPr>
          </a:p>
        </p:txBody>
      </p:sp>
      <p:grpSp>
        <p:nvGrpSpPr>
          <p:cNvPr id="62" name="Group 61"/>
          <p:cNvGrpSpPr/>
          <p:nvPr/>
        </p:nvGrpSpPr>
        <p:grpSpPr>
          <a:xfrm>
            <a:off x="1143000" y="505778"/>
            <a:ext cx="6761343" cy="6109501"/>
            <a:chOff x="1112983" y="561470"/>
            <a:chExt cx="6761343" cy="6109501"/>
          </a:xfrm>
        </p:grpSpPr>
        <p:grpSp>
          <p:nvGrpSpPr>
            <p:cNvPr id="63" name="Group 62"/>
            <p:cNvGrpSpPr/>
            <p:nvPr/>
          </p:nvGrpSpPr>
          <p:grpSpPr>
            <a:xfrm>
              <a:off x="1112983" y="1382914"/>
              <a:ext cx="6761343" cy="5288057"/>
              <a:chOff x="1112983" y="1382914"/>
              <a:chExt cx="6761343" cy="5288057"/>
            </a:xfrm>
          </p:grpSpPr>
          <p:sp>
            <p:nvSpPr>
              <p:cNvPr id="86" name="Oval 85"/>
              <p:cNvSpPr/>
              <p:nvPr/>
            </p:nvSpPr>
            <p:spPr>
              <a:xfrm>
                <a:off x="1866902" y="1382914"/>
                <a:ext cx="5126325" cy="5126325"/>
              </a:xfrm>
              <a:prstGeom prst="ellipse">
                <a:avLst/>
              </a:prstGeom>
              <a:noFill/>
              <a:ln w="28575">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a:solidFill>
                    <a:prstClr val="white"/>
                  </a:solidFill>
                </a:endParaRPr>
              </a:p>
            </p:txBody>
          </p:sp>
          <p:sp>
            <p:nvSpPr>
              <p:cNvPr id="87" name="TextBox 86"/>
              <p:cNvSpPr txBox="1"/>
              <p:nvPr/>
            </p:nvSpPr>
            <p:spPr>
              <a:xfrm>
                <a:off x="1112983" y="2437929"/>
                <a:ext cx="2430473" cy="723275"/>
              </a:xfrm>
              <a:prstGeom prst="rect">
                <a:avLst/>
              </a:prstGeom>
              <a:solidFill>
                <a:srgbClr val="FFFFFF"/>
              </a:solidFill>
            </p:spPr>
            <p:txBody>
              <a:bodyPr wrap="none" rtlCol="0">
                <a:spAutoFit/>
              </a:bodyPr>
              <a:lstStyle/>
              <a:p>
                <a:pPr algn="ctr">
                  <a:lnSpc>
                    <a:spcPts val="2400"/>
                  </a:lnSpc>
                </a:pPr>
                <a:r>
                  <a:rPr lang="th-TH" sz="2400" dirty="0">
                    <a:solidFill>
                      <a:prstClr val="black"/>
                    </a:solidFill>
                  </a:rPr>
                  <a:t>คน / คุณภาพชีวิต / ความรู้ /</a:t>
                </a:r>
              </a:p>
              <a:p>
                <a:pPr algn="ctr">
                  <a:lnSpc>
                    <a:spcPts val="2400"/>
                  </a:lnSpc>
                </a:pPr>
                <a:r>
                  <a:rPr lang="th-TH" sz="2400" dirty="0">
                    <a:solidFill>
                      <a:prstClr val="black"/>
                    </a:solidFill>
                  </a:rPr>
                  <a:t>ยุติธรรม</a:t>
                </a:r>
              </a:p>
            </p:txBody>
          </p:sp>
          <p:sp>
            <p:nvSpPr>
              <p:cNvPr id="88" name="TextBox 87"/>
              <p:cNvSpPr txBox="1"/>
              <p:nvPr/>
            </p:nvSpPr>
            <p:spPr>
              <a:xfrm>
                <a:off x="5602550" y="2437929"/>
                <a:ext cx="2271776" cy="723275"/>
              </a:xfrm>
              <a:prstGeom prst="rect">
                <a:avLst/>
              </a:prstGeom>
              <a:solidFill>
                <a:srgbClr val="FFFFFF"/>
              </a:solidFill>
            </p:spPr>
            <p:txBody>
              <a:bodyPr wrap="none" rtlCol="0">
                <a:spAutoFit/>
              </a:bodyPr>
              <a:lstStyle/>
              <a:p>
                <a:pPr algn="ctr">
                  <a:lnSpc>
                    <a:spcPts val="2400"/>
                  </a:lnSpc>
                </a:pPr>
                <a:r>
                  <a:rPr lang="th-TH" sz="2400" dirty="0">
                    <a:solidFill>
                      <a:prstClr val="black"/>
                    </a:solidFill>
                  </a:rPr>
                  <a:t>โครงสร้างพื้นฐาน /</a:t>
                </a:r>
              </a:p>
              <a:p>
                <a:pPr algn="ctr">
                  <a:lnSpc>
                    <a:spcPts val="2400"/>
                  </a:lnSpc>
                </a:pPr>
                <a:r>
                  <a:rPr lang="th-TH" sz="2400" dirty="0">
                    <a:solidFill>
                      <a:prstClr val="black"/>
                    </a:solidFill>
                  </a:rPr>
                  <a:t>ผลิตภาพ / </a:t>
                </a:r>
                <a:r>
                  <a:rPr lang="th-TH" sz="2400" u="sng" dirty="0">
                    <a:solidFill>
                      <a:srgbClr val="0070C0"/>
                    </a:solidFill>
                  </a:rPr>
                  <a:t>วิจัยและพัฒนา</a:t>
                </a:r>
              </a:p>
            </p:txBody>
          </p:sp>
          <p:sp>
            <p:nvSpPr>
              <p:cNvPr id="89" name="TextBox 88"/>
              <p:cNvSpPr txBox="1"/>
              <p:nvPr/>
            </p:nvSpPr>
            <p:spPr>
              <a:xfrm>
                <a:off x="3834792" y="6209306"/>
                <a:ext cx="1136850" cy="461665"/>
              </a:xfrm>
              <a:prstGeom prst="rect">
                <a:avLst/>
              </a:prstGeom>
              <a:solidFill>
                <a:srgbClr val="FFFFFF"/>
              </a:solidFill>
            </p:spPr>
            <p:txBody>
              <a:bodyPr wrap="none" rtlCol="0">
                <a:spAutoFit/>
              </a:bodyPr>
              <a:lstStyle/>
              <a:p>
                <a:pPr algn="ctr"/>
                <a:r>
                  <a:rPr lang="th-TH" sz="2400" dirty="0">
                    <a:solidFill>
                      <a:prstClr val="black"/>
                    </a:solidFill>
                  </a:rPr>
                  <a:t>กฎ ระเบียบ</a:t>
                </a:r>
              </a:p>
            </p:txBody>
          </p:sp>
        </p:grpSp>
        <p:grpSp>
          <p:nvGrpSpPr>
            <p:cNvPr id="64" name="Group 63"/>
            <p:cNvGrpSpPr/>
            <p:nvPr/>
          </p:nvGrpSpPr>
          <p:grpSpPr>
            <a:xfrm>
              <a:off x="1341778" y="561470"/>
              <a:ext cx="6151347" cy="5580512"/>
              <a:chOff x="1341778" y="561470"/>
              <a:chExt cx="6151347" cy="5580512"/>
            </a:xfrm>
          </p:grpSpPr>
          <p:grpSp>
            <p:nvGrpSpPr>
              <p:cNvPr id="65" name="Group 64"/>
              <p:cNvGrpSpPr/>
              <p:nvPr/>
            </p:nvGrpSpPr>
            <p:grpSpPr>
              <a:xfrm>
                <a:off x="3472164" y="3021428"/>
                <a:ext cx="1890575" cy="1890575"/>
                <a:chOff x="3245078" y="2463279"/>
                <a:chExt cx="1890575" cy="1890575"/>
              </a:xfrm>
              <a:scene3d>
                <a:camera prst="orthographicFront"/>
                <a:lightRig rig="threePt" dir="t">
                  <a:rot lat="0" lon="0" rev="7500000"/>
                </a:lightRig>
              </a:scene3d>
            </p:grpSpPr>
            <p:sp>
              <p:nvSpPr>
                <p:cNvPr id="84" name="Oval 83"/>
                <p:cNvSpPr/>
                <p:nvPr/>
              </p:nvSpPr>
              <p:spPr>
                <a:xfrm>
                  <a:off x="3245078" y="2463279"/>
                  <a:ext cx="1890575" cy="1890575"/>
                </a:xfrm>
                <a:prstGeom prst="ellipse">
                  <a:avLst/>
                </a:prstGeom>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85" name="Oval 4"/>
                <p:cNvSpPr/>
                <p:nvPr/>
              </p:nvSpPr>
              <p:spPr>
                <a:xfrm>
                  <a:off x="3521946" y="2740147"/>
                  <a:ext cx="1336839" cy="1336839"/>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algn="ctr" defTabSz="889000">
                    <a:lnSpc>
                      <a:spcPct val="90000"/>
                    </a:lnSpc>
                    <a:spcAft>
                      <a:spcPct val="35000"/>
                    </a:spcAft>
                  </a:pPr>
                  <a:r>
                    <a:rPr lang="th-TH" sz="2000" dirty="0">
                      <a:solidFill>
                        <a:prstClr val="white"/>
                      </a:solidFill>
                    </a:rPr>
                    <a:t>ปรับสมดุลและพัฒนาระบบการบริหารจัดการภาครัฐ</a:t>
                  </a:r>
                </a:p>
              </p:txBody>
            </p:sp>
          </p:grpSp>
          <p:grpSp>
            <p:nvGrpSpPr>
              <p:cNvPr id="66" name="Group 65"/>
              <p:cNvGrpSpPr/>
              <p:nvPr/>
            </p:nvGrpSpPr>
            <p:grpSpPr>
              <a:xfrm>
                <a:off x="4397149" y="2452046"/>
                <a:ext cx="40605" cy="569382"/>
                <a:chOff x="4170063" y="1893897"/>
                <a:chExt cx="40605" cy="569382"/>
              </a:xfrm>
              <a:scene3d>
                <a:camera prst="orthographicFront"/>
                <a:lightRig rig="threePt" dir="t">
                  <a:rot lat="0" lon="0" rev="7500000"/>
                </a:lightRig>
              </a:scene3d>
            </p:grpSpPr>
            <p:sp>
              <p:nvSpPr>
                <p:cNvPr id="82" name="Straight Connector 5"/>
                <p:cNvSpPr/>
                <p:nvPr/>
              </p:nvSpPr>
              <p:spPr>
                <a:xfrm rot="16200000">
                  <a:off x="3905675" y="2158285"/>
                  <a:ext cx="569382" cy="40605"/>
                </a:xfrm>
                <a:custGeom>
                  <a:avLst/>
                  <a:gdLst/>
                  <a:ahLst/>
                  <a:cxnLst/>
                  <a:rect l="0" t="0" r="0" b="0"/>
                  <a:pathLst>
                    <a:path>
                      <a:moveTo>
                        <a:pt x="0" y="20302"/>
                      </a:moveTo>
                      <a:lnTo>
                        <a:pt x="569382" y="20302"/>
                      </a:lnTo>
                    </a:path>
                  </a:pathLst>
                </a:custGeom>
                <a:noFill/>
                <a:sp3d z="-40000" prstMaterial="matte"/>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83" name="Straight Connector 6"/>
                <p:cNvSpPr/>
                <p:nvPr/>
              </p:nvSpPr>
              <p:spPr>
                <a:xfrm rot="16200000">
                  <a:off x="4176131" y="2164353"/>
                  <a:ext cx="28469" cy="28469"/>
                </a:xfrm>
                <a:prstGeom prst="rect">
                  <a:avLst/>
                </a:prstGeom>
                <a:sp3d z="-40000"/>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700" tIns="0" rIns="12700" bIns="0" numCol="1" spcCol="1270" anchor="ctr" anchorCtr="0">
                  <a:noAutofit/>
                </a:bodyPr>
                <a:lstStyle/>
                <a:p>
                  <a:pPr algn="ctr" defTabSz="222250">
                    <a:lnSpc>
                      <a:spcPct val="90000"/>
                    </a:lnSpc>
                    <a:spcAft>
                      <a:spcPct val="35000"/>
                    </a:spcAft>
                  </a:pPr>
                  <a:endParaRPr lang="th-TH" sz="500">
                    <a:solidFill>
                      <a:prstClr val="black">
                        <a:hueOff val="0"/>
                        <a:satOff val="0"/>
                        <a:lumOff val="0"/>
                        <a:alphaOff val="0"/>
                      </a:prstClr>
                    </a:solidFill>
                  </a:endParaRPr>
                </a:p>
              </p:txBody>
            </p:sp>
          </p:grpSp>
          <p:grpSp>
            <p:nvGrpSpPr>
              <p:cNvPr id="67" name="Group 66"/>
              <p:cNvGrpSpPr/>
              <p:nvPr/>
            </p:nvGrpSpPr>
            <p:grpSpPr>
              <a:xfrm>
                <a:off x="3472164" y="561470"/>
                <a:ext cx="1890575" cy="1890575"/>
                <a:chOff x="3245078" y="3321"/>
                <a:chExt cx="1890575" cy="1890575"/>
              </a:xfrm>
              <a:scene3d>
                <a:camera prst="orthographicFront"/>
                <a:lightRig rig="threePt" dir="t">
                  <a:rot lat="0" lon="0" rev="7500000"/>
                </a:lightRig>
              </a:scene3d>
            </p:grpSpPr>
            <p:sp>
              <p:nvSpPr>
                <p:cNvPr id="80" name="Oval 79"/>
                <p:cNvSpPr/>
                <p:nvPr/>
              </p:nvSpPr>
              <p:spPr>
                <a:xfrm>
                  <a:off x="3245078" y="3321"/>
                  <a:ext cx="1890575" cy="1890575"/>
                </a:xfrm>
                <a:prstGeom prst="ellipse">
                  <a:avLst/>
                </a:prstGeom>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81" name="Oval 8"/>
                <p:cNvSpPr/>
                <p:nvPr/>
              </p:nvSpPr>
              <p:spPr>
                <a:xfrm>
                  <a:off x="3521946" y="280189"/>
                  <a:ext cx="1336839" cy="1336839"/>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algn="ctr" defTabSz="1155700">
                    <a:lnSpc>
                      <a:spcPct val="90000"/>
                    </a:lnSpc>
                    <a:spcAft>
                      <a:spcPct val="35000"/>
                    </a:spcAft>
                  </a:pPr>
                  <a:r>
                    <a:rPr lang="th-TH" sz="2600" dirty="0">
                      <a:solidFill>
                        <a:prstClr val="white"/>
                      </a:solidFill>
                    </a:rPr>
                    <a:t>หยุดพ้นจากประเทศรายได้ปานกลาง</a:t>
                  </a:r>
                </a:p>
              </p:txBody>
            </p:sp>
          </p:grpSp>
          <p:grpSp>
            <p:nvGrpSpPr>
              <p:cNvPr id="68" name="Group 67"/>
              <p:cNvGrpSpPr/>
              <p:nvPr/>
            </p:nvGrpSpPr>
            <p:grpSpPr>
              <a:xfrm>
                <a:off x="5197954" y="4561402"/>
                <a:ext cx="569382" cy="40605"/>
                <a:chOff x="4970868" y="4003253"/>
                <a:chExt cx="569382" cy="40605"/>
              </a:xfrm>
              <a:scene3d>
                <a:camera prst="orthographicFront"/>
                <a:lightRig rig="threePt" dir="t">
                  <a:rot lat="0" lon="0" rev="7500000"/>
                </a:lightRig>
              </a:scene3d>
            </p:grpSpPr>
            <p:sp>
              <p:nvSpPr>
                <p:cNvPr id="78" name="Straight Connector 9"/>
                <p:cNvSpPr/>
                <p:nvPr/>
              </p:nvSpPr>
              <p:spPr>
                <a:xfrm rot="1800000">
                  <a:off x="4970868" y="4003253"/>
                  <a:ext cx="569382" cy="40605"/>
                </a:xfrm>
                <a:custGeom>
                  <a:avLst/>
                  <a:gdLst/>
                  <a:ahLst/>
                  <a:cxnLst/>
                  <a:rect l="0" t="0" r="0" b="0"/>
                  <a:pathLst>
                    <a:path>
                      <a:moveTo>
                        <a:pt x="0" y="20302"/>
                      </a:moveTo>
                      <a:lnTo>
                        <a:pt x="569382" y="20302"/>
                      </a:lnTo>
                    </a:path>
                  </a:pathLst>
                </a:custGeom>
                <a:noFill/>
                <a:sp3d z="-40000" prstMaterial="matte"/>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79" name="Straight Connector 10"/>
                <p:cNvSpPr/>
                <p:nvPr/>
              </p:nvSpPr>
              <p:spPr>
                <a:xfrm rot="1800000">
                  <a:off x="5241324" y="4009321"/>
                  <a:ext cx="28469" cy="28469"/>
                </a:xfrm>
                <a:prstGeom prst="rect">
                  <a:avLst/>
                </a:prstGeom>
                <a:sp3d z="-40000"/>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700" tIns="0" rIns="12700" bIns="0" numCol="1" spcCol="1270" anchor="ctr" anchorCtr="0">
                  <a:noAutofit/>
                </a:bodyPr>
                <a:lstStyle/>
                <a:p>
                  <a:pPr algn="ctr" defTabSz="222250">
                    <a:lnSpc>
                      <a:spcPct val="90000"/>
                    </a:lnSpc>
                    <a:spcAft>
                      <a:spcPct val="35000"/>
                    </a:spcAft>
                  </a:pPr>
                  <a:endParaRPr lang="th-TH" sz="500">
                    <a:solidFill>
                      <a:prstClr val="black">
                        <a:hueOff val="0"/>
                        <a:satOff val="0"/>
                        <a:lumOff val="0"/>
                        <a:alphaOff val="0"/>
                      </a:prstClr>
                    </a:solidFill>
                  </a:endParaRPr>
                </a:p>
              </p:txBody>
            </p:sp>
          </p:grpSp>
          <p:grpSp>
            <p:nvGrpSpPr>
              <p:cNvPr id="69" name="Group 68"/>
              <p:cNvGrpSpPr/>
              <p:nvPr/>
            </p:nvGrpSpPr>
            <p:grpSpPr>
              <a:xfrm>
                <a:off x="5602550" y="4251407"/>
                <a:ext cx="1890575" cy="1890575"/>
                <a:chOff x="5375464" y="3693258"/>
                <a:chExt cx="1890575" cy="1890575"/>
              </a:xfrm>
              <a:scene3d>
                <a:camera prst="orthographicFront"/>
                <a:lightRig rig="threePt" dir="t">
                  <a:rot lat="0" lon="0" rev="7500000"/>
                </a:lightRig>
              </a:scene3d>
            </p:grpSpPr>
            <p:sp>
              <p:nvSpPr>
                <p:cNvPr id="76" name="Oval 75"/>
                <p:cNvSpPr/>
                <p:nvPr/>
              </p:nvSpPr>
              <p:spPr>
                <a:xfrm>
                  <a:off x="5375464" y="3693258"/>
                  <a:ext cx="1890575" cy="1890575"/>
                </a:xfrm>
                <a:prstGeom prst="ellipse">
                  <a:avLst/>
                </a:prstGeom>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77" name="Oval 12"/>
                <p:cNvSpPr/>
                <p:nvPr/>
              </p:nvSpPr>
              <p:spPr>
                <a:xfrm>
                  <a:off x="5652332" y="3970126"/>
                  <a:ext cx="1336839" cy="1336839"/>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algn="ctr" defTabSz="1155700">
                    <a:lnSpc>
                      <a:spcPct val="90000"/>
                    </a:lnSpc>
                    <a:spcAft>
                      <a:spcPct val="35000"/>
                    </a:spcAft>
                  </a:pPr>
                  <a:r>
                    <a:rPr lang="th-TH" sz="2600" dirty="0">
                      <a:solidFill>
                        <a:prstClr val="white"/>
                      </a:solidFill>
                    </a:rPr>
                    <a:t>เป็นมิตรต่อสิ่งแวดล้อม</a:t>
                  </a:r>
                </a:p>
              </p:txBody>
            </p:sp>
          </p:grpSp>
          <p:grpSp>
            <p:nvGrpSpPr>
              <p:cNvPr id="70" name="Group 69"/>
              <p:cNvGrpSpPr/>
              <p:nvPr/>
            </p:nvGrpSpPr>
            <p:grpSpPr>
              <a:xfrm>
                <a:off x="3067568" y="4561402"/>
                <a:ext cx="569382" cy="40605"/>
                <a:chOff x="2840482" y="4003253"/>
                <a:chExt cx="569382" cy="40605"/>
              </a:xfrm>
              <a:scene3d>
                <a:camera prst="orthographicFront"/>
                <a:lightRig rig="threePt" dir="t">
                  <a:rot lat="0" lon="0" rev="7500000"/>
                </a:lightRig>
              </a:scene3d>
            </p:grpSpPr>
            <p:sp>
              <p:nvSpPr>
                <p:cNvPr id="74" name="Straight Connector 13"/>
                <p:cNvSpPr/>
                <p:nvPr/>
              </p:nvSpPr>
              <p:spPr>
                <a:xfrm rot="9000000">
                  <a:off x="2840482" y="4003253"/>
                  <a:ext cx="569382" cy="40605"/>
                </a:xfrm>
                <a:custGeom>
                  <a:avLst/>
                  <a:gdLst/>
                  <a:ahLst/>
                  <a:cxnLst/>
                  <a:rect l="0" t="0" r="0" b="0"/>
                  <a:pathLst>
                    <a:path>
                      <a:moveTo>
                        <a:pt x="0" y="20302"/>
                      </a:moveTo>
                      <a:lnTo>
                        <a:pt x="569382" y="20302"/>
                      </a:lnTo>
                    </a:path>
                  </a:pathLst>
                </a:custGeom>
                <a:noFill/>
                <a:sp3d z="-40000" prstMaterial="matte"/>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75" name="Straight Connector 14"/>
                <p:cNvSpPr/>
                <p:nvPr/>
              </p:nvSpPr>
              <p:spPr>
                <a:xfrm rot="19800000">
                  <a:off x="3110938" y="4009321"/>
                  <a:ext cx="28469" cy="28469"/>
                </a:xfrm>
                <a:prstGeom prst="rect">
                  <a:avLst/>
                </a:prstGeom>
                <a:sp3d z="-40000"/>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700" tIns="0" rIns="12700" bIns="0" numCol="1" spcCol="1270" anchor="ctr" anchorCtr="0">
                  <a:noAutofit/>
                </a:bodyPr>
                <a:lstStyle/>
                <a:p>
                  <a:pPr algn="ctr" defTabSz="222250">
                    <a:lnSpc>
                      <a:spcPct val="90000"/>
                    </a:lnSpc>
                    <a:spcAft>
                      <a:spcPct val="35000"/>
                    </a:spcAft>
                  </a:pPr>
                  <a:endParaRPr lang="th-TH" sz="500">
                    <a:solidFill>
                      <a:prstClr val="black">
                        <a:hueOff val="0"/>
                        <a:satOff val="0"/>
                        <a:lumOff val="0"/>
                        <a:alphaOff val="0"/>
                      </a:prstClr>
                    </a:solidFill>
                  </a:endParaRPr>
                </a:p>
              </p:txBody>
            </p:sp>
          </p:grpSp>
          <p:grpSp>
            <p:nvGrpSpPr>
              <p:cNvPr id="71" name="Group 70"/>
              <p:cNvGrpSpPr/>
              <p:nvPr/>
            </p:nvGrpSpPr>
            <p:grpSpPr>
              <a:xfrm>
                <a:off x="1341778" y="4251407"/>
                <a:ext cx="1890575" cy="1890575"/>
                <a:chOff x="1114692" y="3693258"/>
                <a:chExt cx="1890575" cy="1890575"/>
              </a:xfrm>
              <a:scene3d>
                <a:camera prst="orthographicFront"/>
                <a:lightRig rig="threePt" dir="t">
                  <a:rot lat="0" lon="0" rev="7500000"/>
                </a:lightRig>
              </a:scene3d>
            </p:grpSpPr>
            <p:sp>
              <p:nvSpPr>
                <p:cNvPr id="72" name="Oval 71"/>
                <p:cNvSpPr/>
                <p:nvPr/>
              </p:nvSpPr>
              <p:spPr>
                <a:xfrm>
                  <a:off x="1114692" y="3693258"/>
                  <a:ext cx="1890575" cy="1890575"/>
                </a:xfrm>
                <a:prstGeom prst="ellipse">
                  <a:avLst/>
                </a:prstGeom>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73" name="Oval 16"/>
                <p:cNvSpPr/>
                <p:nvPr/>
              </p:nvSpPr>
              <p:spPr>
                <a:xfrm>
                  <a:off x="1391560" y="3970126"/>
                  <a:ext cx="1336839" cy="1336839"/>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6510" tIns="16510" rIns="16510" bIns="16510" numCol="1" spcCol="1270" anchor="ctr" anchorCtr="0">
                  <a:noAutofit/>
                </a:bodyPr>
                <a:lstStyle/>
                <a:p>
                  <a:pPr algn="ctr" defTabSz="1155700">
                    <a:lnSpc>
                      <a:spcPct val="90000"/>
                    </a:lnSpc>
                    <a:spcAft>
                      <a:spcPct val="35000"/>
                    </a:spcAft>
                  </a:pPr>
                  <a:r>
                    <a:rPr lang="th-TH" sz="2600" dirty="0">
                      <a:solidFill>
                        <a:prstClr val="white"/>
                      </a:solidFill>
                    </a:rPr>
                    <a:t>ลดความเหลื่อมล้ำ</a:t>
                  </a:r>
                </a:p>
              </p:txBody>
            </p:sp>
          </p:grpSp>
        </p:grpSp>
      </p:grpSp>
      <p:sp>
        <p:nvSpPr>
          <p:cNvPr id="91" name="Rectangle 90"/>
          <p:cNvSpPr/>
          <p:nvPr/>
        </p:nvSpPr>
        <p:spPr>
          <a:xfrm>
            <a:off x="1707225" y="6188607"/>
            <a:ext cx="980768" cy="444493"/>
          </a:xfrm>
          <a:prstGeom prst="rect">
            <a:avLst/>
          </a:prstGeom>
          <a:solidFill>
            <a:schemeClr val="accent4">
              <a:lumMod val="20000"/>
              <a:lumOff val="8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fontAlgn="auto">
              <a:lnSpc>
                <a:spcPct val="80000"/>
              </a:lnSpc>
              <a:spcBef>
                <a:spcPts val="0"/>
              </a:spcBef>
              <a:spcAft>
                <a:spcPts val="0"/>
              </a:spcAft>
            </a:pPr>
            <a:r>
              <a:rPr lang="th-TH" sz="1800" dirty="0">
                <a:solidFill>
                  <a:prstClr val="black"/>
                </a:solidFill>
                <a:latin typeface="TH SarabunPSK" panose="020B0500040200020003" pitchFamily="34" charset="-34"/>
              </a:rPr>
              <a:t>ความมั่นคง</a:t>
            </a:r>
          </a:p>
        </p:txBody>
      </p:sp>
      <p:sp>
        <p:nvSpPr>
          <p:cNvPr id="92" name="Rectangle 91"/>
          <p:cNvSpPr/>
          <p:nvPr/>
        </p:nvSpPr>
        <p:spPr>
          <a:xfrm>
            <a:off x="8064442" y="1233829"/>
            <a:ext cx="980768" cy="718012"/>
          </a:xfrm>
          <a:prstGeom prst="rect">
            <a:avLst/>
          </a:prstGeom>
          <a:solidFill>
            <a:schemeClr val="accent4">
              <a:lumMod val="20000"/>
              <a:lumOff val="8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fontAlgn="auto">
              <a:lnSpc>
                <a:spcPct val="80000"/>
              </a:lnSpc>
              <a:spcBef>
                <a:spcPts val="0"/>
              </a:spcBef>
              <a:spcAft>
                <a:spcPts val="0"/>
              </a:spcAft>
            </a:pPr>
            <a:r>
              <a:rPr lang="th-TH" sz="1800" dirty="0">
                <a:solidFill>
                  <a:prstClr val="black"/>
                </a:solidFill>
                <a:latin typeface="TH SarabunPSK" panose="020B0500040200020003" pitchFamily="34" charset="-34"/>
              </a:rPr>
              <a:t>การสร้างความสามารถ</a:t>
            </a:r>
          </a:p>
          <a:p>
            <a:pPr algn="ctr" fontAlgn="auto">
              <a:lnSpc>
                <a:spcPct val="80000"/>
              </a:lnSpc>
              <a:spcBef>
                <a:spcPts val="0"/>
              </a:spcBef>
              <a:spcAft>
                <a:spcPts val="0"/>
              </a:spcAft>
            </a:pPr>
            <a:r>
              <a:rPr lang="th-TH" sz="1800" dirty="0">
                <a:solidFill>
                  <a:prstClr val="black"/>
                </a:solidFill>
                <a:latin typeface="TH SarabunPSK" panose="020B0500040200020003" pitchFamily="34" charset="-34"/>
              </a:rPr>
              <a:t>ในการแข่งขัน</a:t>
            </a:r>
          </a:p>
        </p:txBody>
      </p:sp>
      <p:sp>
        <p:nvSpPr>
          <p:cNvPr id="93" name="Rectangle 92"/>
          <p:cNvSpPr/>
          <p:nvPr/>
        </p:nvSpPr>
        <p:spPr>
          <a:xfrm>
            <a:off x="170693" y="2364878"/>
            <a:ext cx="1021879" cy="718012"/>
          </a:xfrm>
          <a:prstGeom prst="rect">
            <a:avLst/>
          </a:prstGeom>
          <a:solidFill>
            <a:schemeClr val="accent4">
              <a:lumMod val="20000"/>
              <a:lumOff val="8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fontAlgn="auto">
              <a:lnSpc>
                <a:spcPct val="80000"/>
              </a:lnSpc>
              <a:spcBef>
                <a:spcPts val="0"/>
              </a:spcBef>
              <a:spcAft>
                <a:spcPts val="0"/>
              </a:spcAft>
            </a:pPr>
            <a:r>
              <a:rPr lang="th-TH" sz="1800" dirty="0">
                <a:solidFill>
                  <a:prstClr val="black"/>
                </a:solidFill>
                <a:latin typeface="TH SarabunPSK" panose="020B0500040200020003" pitchFamily="34" charset="-34"/>
              </a:rPr>
              <a:t>การพัฒนาและ</a:t>
            </a:r>
          </a:p>
          <a:p>
            <a:pPr algn="ctr" fontAlgn="auto">
              <a:lnSpc>
                <a:spcPct val="80000"/>
              </a:lnSpc>
              <a:spcBef>
                <a:spcPts val="0"/>
              </a:spcBef>
              <a:spcAft>
                <a:spcPts val="0"/>
              </a:spcAft>
            </a:pPr>
            <a:r>
              <a:rPr lang="th-TH" sz="1800" dirty="0">
                <a:solidFill>
                  <a:prstClr val="black"/>
                </a:solidFill>
                <a:latin typeface="TH SarabunPSK" panose="020B0500040200020003" pitchFamily="34" charset="-34"/>
              </a:rPr>
              <a:t>เสริมสร้างศักยภาพคน</a:t>
            </a:r>
          </a:p>
        </p:txBody>
      </p:sp>
      <p:sp>
        <p:nvSpPr>
          <p:cNvPr id="94" name="Rectangle 93"/>
          <p:cNvSpPr/>
          <p:nvPr/>
        </p:nvSpPr>
        <p:spPr>
          <a:xfrm>
            <a:off x="18175" y="3993460"/>
            <a:ext cx="1474357" cy="669858"/>
          </a:xfrm>
          <a:prstGeom prst="rect">
            <a:avLst/>
          </a:prstGeom>
          <a:solidFill>
            <a:schemeClr val="accent4">
              <a:lumMod val="20000"/>
              <a:lumOff val="8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fontAlgn="auto">
              <a:lnSpc>
                <a:spcPct val="80000"/>
              </a:lnSpc>
              <a:spcBef>
                <a:spcPts val="0"/>
              </a:spcBef>
              <a:spcAft>
                <a:spcPts val="0"/>
              </a:spcAft>
            </a:pPr>
            <a:r>
              <a:rPr lang="th-TH" sz="1800" dirty="0">
                <a:solidFill>
                  <a:prstClr val="black"/>
                </a:solidFill>
                <a:latin typeface="TH SarabunPSK" panose="020B0500040200020003" pitchFamily="34" charset="-34"/>
              </a:rPr>
              <a:t>การสร้างโอกาส</a:t>
            </a:r>
          </a:p>
          <a:p>
            <a:pPr algn="ctr" fontAlgn="auto">
              <a:lnSpc>
                <a:spcPct val="80000"/>
              </a:lnSpc>
              <a:spcBef>
                <a:spcPts val="0"/>
              </a:spcBef>
              <a:spcAft>
                <a:spcPts val="0"/>
              </a:spcAft>
            </a:pPr>
            <a:r>
              <a:rPr lang="th-TH" sz="1800" dirty="0">
                <a:solidFill>
                  <a:prstClr val="black"/>
                </a:solidFill>
                <a:latin typeface="TH SarabunPSK" panose="020B0500040200020003" pitchFamily="34" charset="-34"/>
              </a:rPr>
              <a:t>ความเสมอภาคและ</a:t>
            </a:r>
          </a:p>
          <a:p>
            <a:pPr algn="ctr" fontAlgn="auto">
              <a:lnSpc>
                <a:spcPct val="80000"/>
              </a:lnSpc>
              <a:spcBef>
                <a:spcPts val="0"/>
              </a:spcBef>
              <a:spcAft>
                <a:spcPts val="0"/>
              </a:spcAft>
            </a:pPr>
            <a:r>
              <a:rPr lang="th-TH" sz="1800" dirty="0">
                <a:solidFill>
                  <a:prstClr val="black"/>
                </a:solidFill>
                <a:latin typeface="TH SarabunPSK" panose="020B0500040200020003" pitchFamily="34" charset="-34"/>
              </a:rPr>
              <a:t>เท่าเทียมกันทางสังคม</a:t>
            </a:r>
          </a:p>
        </p:txBody>
      </p:sp>
      <p:sp>
        <p:nvSpPr>
          <p:cNvPr id="95" name="Rectangle 94"/>
          <p:cNvSpPr/>
          <p:nvPr/>
        </p:nvSpPr>
        <p:spPr>
          <a:xfrm>
            <a:off x="7573831" y="4228070"/>
            <a:ext cx="1471379" cy="718012"/>
          </a:xfrm>
          <a:prstGeom prst="rect">
            <a:avLst/>
          </a:prstGeom>
          <a:solidFill>
            <a:schemeClr val="accent4">
              <a:lumMod val="20000"/>
              <a:lumOff val="8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fontAlgn="auto">
              <a:lnSpc>
                <a:spcPct val="80000"/>
              </a:lnSpc>
              <a:spcBef>
                <a:spcPts val="0"/>
              </a:spcBef>
              <a:spcAft>
                <a:spcPts val="0"/>
              </a:spcAft>
            </a:pPr>
            <a:r>
              <a:rPr lang="th-TH" sz="1800" dirty="0">
                <a:solidFill>
                  <a:prstClr val="black"/>
                </a:solidFill>
                <a:latin typeface="TH SarabunPSK" panose="020B0500040200020003" pitchFamily="34" charset="-34"/>
              </a:rPr>
              <a:t>การสร้างการเติบโต</a:t>
            </a:r>
          </a:p>
          <a:p>
            <a:pPr algn="ctr" fontAlgn="auto">
              <a:lnSpc>
                <a:spcPct val="80000"/>
              </a:lnSpc>
              <a:spcBef>
                <a:spcPts val="0"/>
              </a:spcBef>
              <a:spcAft>
                <a:spcPts val="0"/>
              </a:spcAft>
            </a:pPr>
            <a:r>
              <a:rPr lang="th-TH" sz="1800" dirty="0">
                <a:solidFill>
                  <a:prstClr val="black"/>
                </a:solidFill>
                <a:latin typeface="TH SarabunPSK" panose="020B0500040200020003" pitchFamily="34" charset="-34"/>
              </a:rPr>
              <a:t>บนคุณภาพชีวิตที่เป็น</a:t>
            </a:r>
          </a:p>
          <a:p>
            <a:pPr algn="ctr" fontAlgn="auto">
              <a:lnSpc>
                <a:spcPct val="80000"/>
              </a:lnSpc>
              <a:spcBef>
                <a:spcPts val="0"/>
              </a:spcBef>
              <a:spcAft>
                <a:spcPts val="0"/>
              </a:spcAft>
            </a:pPr>
            <a:r>
              <a:rPr lang="th-TH" sz="1800" dirty="0">
                <a:solidFill>
                  <a:prstClr val="black"/>
                </a:solidFill>
                <a:latin typeface="TH SarabunPSK" panose="020B0500040200020003" pitchFamily="34" charset="-34"/>
              </a:rPr>
              <a:t>มิตรต่อสิ่งแวดล้อม</a:t>
            </a:r>
          </a:p>
        </p:txBody>
      </p:sp>
      <p:sp>
        <p:nvSpPr>
          <p:cNvPr id="96" name="Rectangle 95"/>
          <p:cNvSpPr/>
          <p:nvPr/>
        </p:nvSpPr>
        <p:spPr>
          <a:xfrm>
            <a:off x="1412392" y="3049524"/>
            <a:ext cx="1495737" cy="718012"/>
          </a:xfrm>
          <a:prstGeom prst="rect">
            <a:avLst/>
          </a:prstGeom>
          <a:solidFill>
            <a:schemeClr val="accent4">
              <a:lumMod val="20000"/>
              <a:lumOff val="8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fontAlgn="auto">
              <a:lnSpc>
                <a:spcPct val="80000"/>
              </a:lnSpc>
              <a:spcBef>
                <a:spcPts val="0"/>
              </a:spcBef>
              <a:spcAft>
                <a:spcPts val="0"/>
              </a:spcAft>
            </a:pPr>
            <a:r>
              <a:rPr lang="th-TH" sz="1800" b="1" dirty="0">
                <a:solidFill>
                  <a:prstClr val="black"/>
                </a:solidFill>
                <a:latin typeface="TH SarabunPSK" panose="020B0500040200020003" pitchFamily="34" charset="-34"/>
              </a:rPr>
              <a:t>การปรับสมดุลและ</a:t>
            </a:r>
          </a:p>
          <a:p>
            <a:pPr algn="ctr" fontAlgn="auto">
              <a:lnSpc>
                <a:spcPct val="80000"/>
              </a:lnSpc>
              <a:spcBef>
                <a:spcPts val="0"/>
              </a:spcBef>
              <a:spcAft>
                <a:spcPts val="0"/>
              </a:spcAft>
            </a:pPr>
            <a:r>
              <a:rPr lang="th-TH" sz="1800" b="1" dirty="0">
                <a:solidFill>
                  <a:prstClr val="black"/>
                </a:solidFill>
                <a:latin typeface="TH SarabunPSK" panose="020B0500040200020003" pitchFamily="34" charset="-34"/>
              </a:rPr>
              <a:t>พัฒนาระบบการ</a:t>
            </a:r>
          </a:p>
          <a:p>
            <a:pPr algn="ctr" fontAlgn="auto">
              <a:lnSpc>
                <a:spcPct val="80000"/>
              </a:lnSpc>
              <a:spcBef>
                <a:spcPts val="0"/>
              </a:spcBef>
              <a:spcAft>
                <a:spcPts val="0"/>
              </a:spcAft>
            </a:pPr>
            <a:r>
              <a:rPr lang="th-TH" sz="1800" b="1" dirty="0">
                <a:solidFill>
                  <a:prstClr val="black"/>
                </a:solidFill>
                <a:latin typeface="TH SarabunPSK" panose="020B0500040200020003" pitchFamily="34" charset="-34"/>
              </a:rPr>
              <a:t>บริหารจัดการภาครัฐ</a:t>
            </a:r>
          </a:p>
        </p:txBody>
      </p:sp>
      <p:pic>
        <p:nvPicPr>
          <p:cNvPr id="97" name="Picture 9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79126" y="1989322"/>
            <a:ext cx="2955092" cy="1317399"/>
          </a:xfrm>
          <a:prstGeom prst="rect">
            <a:avLst/>
          </a:prstGeom>
        </p:spPr>
      </p:pic>
      <p:sp>
        <p:nvSpPr>
          <p:cNvPr id="98" name="Rectangle 97"/>
          <p:cNvSpPr/>
          <p:nvPr/>
        </p:nvSpPr>
        <p:spPr>
          <a:xfrm>
            <a:off x="150460" y="1702559"/>
            <a:ext cx="1785947" cy="587355"/>
          </a:xfrm>
          <a:prstGeom prst="rect">
            <a:avLst/>
          </a:prstGeom>
          <a:solidFill>
            <a:schemeClr val="accent4">
              <a:lumMod val="20000"/>
              <a:lumOff val="8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fontAlgn="auto">
              <a:lnSpc>
                <a:spcPct val="80000"/>
              </a:lnSpc>
              <a:spcBef>
                <a:spcPts val="0"/>
              </a:spcBef>
              <a:spcAft>
                <a:spcPts val="0"/>
              </a:spcAft>
            </a:pPr>
            <a:r>
              <a:rPr lang="th-TH" sz="1800" b="1" dirty="0" smtClean="0">
                <a:solidFill>
                  <a:prstClr val="black"/>
                </a:solidFill>
                <a:latin typeface="TH SarabunPSK" panose="020B0500040200020003" pitchFamily="34" charset="-34"/>
                <a:cs typeface="TH SarabunPSK" panose="020B0500040200020003" pitchFamily="34" charset="-34"/>
              </a:rPr>
              <a:t>เป้าหมาย</a:t>
            </a:r>
          </a:p>
          <a:p>
            <a:pPr algn="ctr" fontAlgn="auto">
              <a:lnSpc>
                <a:spcPct val="80000"/>
              </a:lnSpc>
              <a:spcBef>
                <a:spcPts val="0"/>
              </a:spcBef>
              <a:spcAft>
                <a:spcPts val="0"/>
              </a:spcAft>
            </a:pPr>
            <a:r>
              <a:rPr lang="th-TH" sz="1800" b="1" dirty="0" smtClean="0">
                <a:solidFill>
                  <a:prstClr val="black"/>
                </a:solidFill>
                <a:latin typeface="TH SarabunPSK" panose="020B0500040200020003" pitchFamily="34" charset="-34"/>
                <a:cs typeface="TH SarabunPSK" panose="020B0500040200020003" pitchFamily="34" charset="-34"/>
              </a:rPr>
              <a:t>ยุทธศาสตร์</a:t>
            </a:r>
            <a:r>
              <a:rPr lang="th-TH" sz="1800" b="1" dirty="0">
                <a:solidFill>
                  <a:prstClr val="black"/>
                </a:solidFill>
                <a:latin typeface="TH SarabunPSK" panose="020B0500040200020003" pitchFamily="34" charset="-34"/>
                <a:cs typeface="TH SarabunPSK" panose="020B0500040200020003" pitchFamily="34" charset="-34"/>
              </a:rPr>
              <a:t>ชาติ 20 ปี</a:t>
            </a:r>
          </a:p>
        </p:txBody>
      </p:sp>
      <p:sp>
        <p:nvSpPr>
          <p:cNvPr id="2" name="Rectangle 1"/>
          <p:cNvSpPr/>
          <p:nvPr/>
        </p:nvSpPr>
        <p:spPr>
          <a:xfrm>
            <a:off x="3074926" y="5682024"/>
            <a:ext cx="2770310" cy="461665"/>
          </a:xfrm>
          <a:prstGeom prst="rect">
            <a:avLst/>
          </a:prstGeom>
        </p:spPr>
        <p:txBody>
          <a:bodyPr wrap="none">
            <a:spAutoFit/>
          </a:bodyPr>
          <a:lstStyle/>
          <a:p>
            <a:pPr algn="ctr"/>
            <a:r>
              <a:rPr lang="th-TH" sz="2400" dirty="0" smtClean="0">
                <a:solidFill>
                  <a:srgbClr val="FF0000"/>
                </a:solidFill>
              </a:rPr>
              <a:t>ประชาคมจึง</a:t>
            </a:r>
            <a:r>
              <a:rPr lang="th-TH" sz="2400" dirty="0">
                <a:solidFill>
                  <a:srgbClr val="FF0000"/>
                </a:solidFill>
              </a:rPr>
              <a:t>ต้องเข้าใจในบริบท</a:t>
            </a:r>
          </a:p>
        </p:txBody>
      </p:sp>
      <p:grpSp>
        <p:nvGrpSpPr>
          <p:cNvPr id="102" name="Group 101"/>
          <p:cNvGrpSpPr/>
          <p:nvPr/>
        </p:nvGrpSpPr>
        <p:grpSpPr>
          <a:xfrm rot="2990517">
            <a:off x="2924417" y="2424714"/>
            <a:ext cx="3016176" cy="3016176"/>
            <a:chOff x="2875600" y="2366390"/>
            <a:chExt cx="3119214" cy="3119214"/>
          </a:xfrm>
        </p:grpSpPr>
        <p:sp>
          <p:nvSpPr>
            <p:cNvPr id="103" name="Donut 102"/>
            <p:cNvSpPr/>
            <p:nvPr/>
          </p:nvSpPr>
          <p:spPr>
            <a:xfrm>
              <a:off x="2875600" y="2366390"/>
              <a:ext cx="3119214" cy="3119214"/>
            </a:xfrm>
            <a:prstGeom prst="donut">
              <a:avLst>
                <a:gd name="adj" fmla="val 21012"/>
              </a:avLst>
            </a:prstGeom>
          </p:spPr>
          <p:style>
            <a:lnRef idx="1">
              <a:schemeClr val="accent2"/>
            </a:lnRef>
            <a:fillRef idx="3">
              <a:schemeClr val="accent2"/>
            </a:fillRef>
            <a:effectRef idx="2">
              <a:schemeClr val="accent2"/>
            </a:effectRef>
            <a:fontRef idx="minor">
              <a:schemeClr val="lt1"/>
            </a:fontRef>
          </p:style>
          <p:txBody>
            <a:bodyPr rtlCol="0" anchor="ctr"/>
            <a:lstStyle/>
            <a:p>
              <a:pPr algn="ctr" fontAlgn="auto">
                <a:spcBef>
                  <a:spcPts val="0"/>
                </a:spcBef>
                <a:spcAft>
                  <a:spcPts val="0"/>
                </a:spcAft>
              </a:pPr>
              <a:endParaRPr lang="th-TH">
                <a:solidFill>
                  <a:prstClr val="black"/>
                </a:solidFill>
              </a:endParaRPr>
            </a:p>
          </p:txBody>
        </p:sp>
        <p:sp>
          <p:nvSpPr>
            <p:cNvPr id="104" name="TextBox 103"/>
            <p:cNvSpPr txBox="1"/>
            <p:nvPr/>
          </p:nvSpPr>
          <p:spPr>
            <a:xfrm rot="16200000">
              <a:off x="3181711" y="2687249"/>
              <a:ext cx="2506992" cy="2477497"/>
            </a:xfrm>
            <a:prstGeom prst="rect">
              <a:avLst/>
            </a:prstGeom>
            <a:noFill/>
          </p:spPr>
          <p:txBody>
            <a:bodyPr wrap="none" rtlCol="0">
              <a:prstTxWarp prst="textCircle">
                <a:avLst>
                  <a:gd name="adj" fmla="val 15058247"/>
                </a:avLst>
              </a:prstTxWarp>
              <a:spAutoFit/>
            </a:bodyPr>
            <a:lstStyle/>
            <a:p>
              <a:pPr fontAlgn="auto">
                <a:spcBef>
                  <a:spcPts val="0"/>
                </a:spcBef>
                <a:spcAft>
                  <a:spcPts val="0"/>
                </a:spcAft>
              </a:pPr>
              <a:r>
                <a:rPr lang="th-TH" b="1" dirty="0" smtClean="0">
                  <a:solidFill>
                    <a:prstClr val="white"/>
                  </a:solidFill>
                  <a:latin typeface="Calibri"/>
                  <a:cs typeface="Cordia New" panose="020B0304020202020204" pitchFamily="34" charset="-34"/>
                </a:rPr>
                <a:t>พันธกิจของหน่วยงานรัฐ</a:t>
              </a:r>
              <a:endParaRPr lang="th-TH" b="1" dirty="0">
                <a:solidFill>
                  <a:prstClr val="white"/>
                </a:solidFill>
                <a:latin typeface="Calibri"/>
                <a:cs typeface="Cordia New" panose="020B0304020202020204" pitchFamily="34" charset="-34"/>
              </a:endParaRPr>
            </a:p>
          </p:txBody>
        </p:sp>
      </p:grpSp>
    </p:spTree>
    <p:extLst>
      <p:ext uri="{BB962C8B-B14F-4D97-AF65-F5344CB8AC3E}">
        <p14:creationId xmlns:p14="http://schemas.microsoft.com/office/powerpoint/2010/main" val="4733769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ipe(left)">
                                      <p:cBhvr>
                                        <p:cTn id="7" dur="500"/>
                                        <p:tgtEl>
                                          <p:spTgt spid="52"/>
                                        </p:tgtEl>
                                      </p:cBhvr>
                                    </p:animEffect>
                                  </p:childTnLst>
                                </p:cTn>
                              </p:par>
                              <p:par>
                                <p:cTn id="8" presetID="6" presetClass="entr" presetSubtype="32" fill="hold" nodeType="withEffect">
                                  <p:stCondLst>
                                    <p:cond delay="0"/>
                                  </p:stCondLst>
                                  <p:childTnLst>
                                    <p:set>
                                      <p:cBhvr>
                                        <p:cTn id="9" dur="1" fill="hold">
                                          <p:stCondLst>
                                            <p:cond delay="0"/>
                                          </p:stCondLst>
                                        </p:cTn>
                                        <p:tgtEl>
                                          <p:spTgt spid="62"/>
                                        </p:tgtEl>
                                        <p:attrNameLst>
                                          <p:attrName>style.visibility</p:attrName>
                                        </p:attrNameLst>
                                      </p:cBhvr>
                                      <p:to>
                                        <p:strVal val="visible"/>
                                      </p:to>
                                    </p:set>
                                    <p:animEffect transition="in" filter="circle(out)">
                                      <p:cBhvr>
                                        <p:cTn id="10" dur="2000"/>
                                        <p:tgtEl>
                                          <p:spTgt spid="62"/>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58"/>
                                        </p:tgtEl>
                                        <p:attrNameLst>
                                          <p:attrName>style.visibility</p:attrName>
                                        </p:attrNameLst>
                                      </p:cBhvr>
                                      <p:to>
                                        <p:strVal val="visible"/>
                                      </p:to>
                                    </p:set>
                                    <p:animEffect transition="in" filter="wipe(left)">
                                      <p:cBhvr>
                                        <p:cTn id="15" dur="500"/>
                                        <p:tgtEl>
                                          <p:spTgt spid="58"/>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55"/>
                                        </p:tgtEl>
                                        <p:attrNameLst>
                                          <p:attrName>style.visibility</p:attrName>
                                        </p:attrNameLst>
                                      </p:cBhvr>
                                      <p:to>
                                        <p:strVal val="visible"/>
                                      </p:to>
                                    </p:set>
                                    <p:animEffect transition="in" filter="wipe(left)">
                                      <p:cBhvr>
                                        <p:cTn id="18" dur="500"/>
                                        <p:tgtEl>
                                          <p:spTgt spid="55"/>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wipe(left)">
                                      <p:cBhvr>
                                        <p:cTn id="21" dur="500"/>
                                        <p:tgtEl>
                                          <p:spTgt spid="61"/>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grpId="0" nodeType="clickEffect">
                                  <p:stCondLst>
                                    <p:cond delay="0"/>
                                  </p:stCondLst>
                                  <p:childTnLst>
                                    <p:set>
                                      <p:cBhvr>
                                        <p:cTn id="25" dur="1" fill="hold">
                                          <p:stCondLst>
                                            <p:cond delay="0"/>
                                          </p:stCondLst>
                                        </p:cTn>
                                        <p:tgtEl>
                                          <p:spTgt spid="56"/>
                                        </p:tgtEl>
                                        <p:attrNameLst>
                                          <p:attrName>style.visibility</p:attrName>
                                        </p:attrNameLst>
                                      </p:cBhvr>
                                      <p:to>
                                        <p:strVal val="visible"/>
                                      </p:to>
                                    </p:set>
                                    <p:animEffect transition="in" filter="wipe(left)">
                                      <p:cBhvr>
                                        <p:cTn id="26" dur="500"/>
                                        <p:tgtEl>
                                          <p:spTgt spid="56"/>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59"/>
                                        </p:tgtEl>
                                        <p:attrNameLst>
                                          <p:attrName>style.visibility</p:attrName>
                                        </p:attrNameLst>
                                      </p:cBhvr>
                                      <p:to>
                                        <p:strVal val="visible"/>
                                      </p:to>
                                    </p:set>
                                    <p:animEffect transition="in" filter="wipe(left)">
                                      <p:cBhvr>
                                        <p:cTn id="29" dur="500"/>
                                        <p:tgtEl>
                                          <p:spTgt spid="59"/>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grpId="0" nodeType="clickEffect">
                                  <p:stCondLst>
                                    <p:cond delay="0"/>
                                  </p:stCondLst>
                                  <p:childTnLst>
                                    <p:set>
                                      <p:cBhvr>
                                        <p:cTn id="33" dur="1" fill="hold">
                                          <p:stCondLst>
                                            <p:cond delay="0"/>
                                          </p:stCondLst>
                                        </p:cTn>
                                        <p:tgtEl>
                                          <p:spTgt spid="57"/>
                                        </p:tgtEl>
                                        <p:attrNameLst>
                                          <p:attrName>style.visibility</p:attrName>
                                        </p:attrNameLst>
                                      </p:cBhvr>
                                      <p:to>
                                        <p:strVal val="visible"/>
                                      </p:to>
                                    </p:set>
                                    <p:animEffect transition="in" filter="wipe(left)">
                                      <p:cBhvr>
                                        <p:cTn id="34" dur="500"/>
                                        <p:tgtEl>
                                          <p:spTgt spid="57"/>
                                        </p:tgtEl>
                                      </p:cBhvr>
                                    </p:animEffect>
                                  </p:childTnLst>
                                </p:cTn>
                              </p:par>
                              <p:par>
                                <p:cTn id="35" presetID="22" presetClass="entr" presetSubtype="8" fill="hold" grpId="0" nodeType="withEffect">
                                  <p:stCondLst>
                                    <p:cond delay="0"/>
                                  </p:stCondLst>
                                  <p:childTnLst>
                                    <p:set>
                                      <p:cBhvr>
                                        <p:cTn id="36" dur="1" fill="hold">
                                          <p:stCondLst>
                                            <p:cond delay="0"/>
                                          </p:stCondLst>
                                        </p:cTn>
                                        <p:tgtEl>
                                          <p:spTgt spid="60"/>
                                        </p:tgtEl>
                                        <p:attrNameLst>
                                          <p:attrName>style.visibility</p:attrName>
                                        </p:attrNameLst>
                                      </p:cBhvr>
                                      <p:to>
                                        <p:strVal val="visible"/>
                                      </p:to>
                                    </p:set>
                                    <p:animEffect transition="in" filter="wipe(left)">
                                      <p:cBhvr>
                                        <p:cTn id="37" dur="500"/>
                                        <p:tgtEl>
                                          <p:spTgt spid="60"/>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grpId="0" nodeType="clickEffect">
                                  <p:stCondLst>
                                    <p:cond delay="0"/>
                                  </p:stCondLst>
                                  <p:childTnLst>
                                    <p:set>
                                      <p:cBhvr>
                                        <p:cTn id="41" dur="1" fill="hold">
                                          <p:stCondLst>
                                            <p:cond delay="0"/>
                                          </p:stCondLst>
                                        </p:cTn>
                                        <p:tgtEl>
                                          <p:spTgt spid="98"/>
                                        </p:tgtEl>
                                        <p:attrNameLst>
                                          <p:attrName>style.visibility</p:attrName>
                                        </p:attrNameLst>
                                      </p:cBhvr>
                                      <p:to>
                                        <p:strVal val="visible"/>
                                      </p:to>
                                    </p:set>
                                    <p:animEffect transition="in" filter="wipe(left)">
                                      <p:cBhvr>
                                        <p:cTn id="42" dur="500"/>
                                        <p:tgtEl>
                                          <p:spTgt spid="98"/>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grpId="0" nodeType="clickEffect">
                                  <p:stCondLst>
                                    <p:cond delay="0"/>
                                  </p:stCondLst>
                                  <p:childTnLst>
                                    <p:set>
                                      <p:cBhvr>
                                        <p:cTn id="46" dur="1" fill="hold">
                                          <p:stCondLst>
                                            <p:cond delay="0"/>
                                          </p:stCondLst>
                                        </p:cTn>
                                        <p:tgtEl>
                                          <p:spTgt spid="91"/>
                                        </p:tgtEl>
                                        <p:attrNameLst>
                                          <p:attrName>style.visibility</p:attrName>
                                        </p:attrNameLst>
                                      </p:cBhvr>
                                      <p:to>
                                        <p:strVal val="visible"/>
                                      </p:to>
                                    </p:set>
                                    <p:animEffect transition="in" filter="wipe(left)">
                                      <p:cBhvr>
                                        <p:cTn id="47" dur="10"/>
                                        <p:tgtEl>
                                          <p:spTgt spid="91"/>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grpId="0" nodeType="clickEffect">
                                  <p:stCondLst>
                                    <p:cond delay="0"/>
                                  </p:stCondLst>
                                  <p:childTnLst>
                                    <p:set>
                                      <p:cBhvr>
                                        <p:cTn id="51" dur="1" fill="hold">
                                          <p:stCondLst>
                                            <p:cond delay="0"/>
                                          </p:stCondLst>
                                        </p:cTn>
                                        <p:tgtEl>
                                          <p:spTgt spid="92"/>
                                        </p:tgtEl>
                                        <p:attrNameLst>
                                          <p:attrName>style.visibility</p:attrName>
                                        </p:attrNameLst>
                                      </p:cBhvr>
                                      <p:to>
                                        <p:strVal val="visible"/>
                                      </p:to>
                                    </p:set>
                                    <p:animEffect transition="in" filter="wipe(left)">
                                      <p:cBhvr>
                                        <p:cTn id="52" dur="10"/>
                                        <p:tgtEl>
                                          <p:spTgt spid="92"/>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8" fill="hold" grpId="0" nodeType="clickEffect">
                                  <p:stCondLst>
                                    <p:cond delay="0"/>
                                  </p:stCondLst>
                                  <p:childTnLst>
                                    <p:set>
                                      <p:cBhvr>
                                        <p:cTn id="56" dur="1" fill="hold">
                                          <p:stCondLst>
                                            <p:cond delay="0"/>
                                          </p:stCondLst>
                                        </p:cTn>
                                        <p:tgtEl>
                                          <p:spTgt spid="93"/>
                                        </p:tgtEl>
                                        <p:attrNameLst>
                                          <p:attrName>style.visibility</p:attrName>
                                        </p:attrNameLst>
                                      </p:cBhvr>
                                      <p:to>
                                        <p:strVal val="visible"/>
                                      </p:to>
                                    </p:set>
                                    <p:animEffect transition="in" filter="wipe(left)">
                                      <p:cBhvr>
                                        <p:cTn id="57" dur="10"/>
                                        <p:tgtEl>
                                          <p:spTgt spid="93"/>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8" fill="hold" grpId="0" nodeType="clickEffect">
                                  <p:stCondLst>
                                    <p:cond delay="0"/>
                                  </p:stCondLst>
                                  <p:childTnLst>
                                    <p:set>
                                      <p:cBhvr>
                                        <p:cTn id="61" dur="1" fill="hold">
                                          <p:stCondLst>
                                            <p:cond delay="0"/>
                                          </p:stCondLst>
                                        </p:cTn>
                                        <p:tgtEl>
                                          <p:spTgt spid="94"/>
                                        </p:tgtEl>
                                        <p:attrNameLst>
                                          <p:attrName>style.visibility</p:attrName>
                                        </p:attrNameLst>
                                      </p:cBhvr>
                                      <p:to>
                                        <p:strVal val="visible"/>
                                      </p:to>
                                    </p:set>
                                    <p:animEffect transition="in" filter="wipe(left)">
                                      <p:cBhvr>
                                        <p:cTn id="62" dur="10"/>
                                        <p:tgtEl>
                                          <p:spTgt spid="94"/>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grpId="0" nodeType="clickEffect">
                                  <p:stCondLst>
                                    <p:cond delay="0"/>
                                  </p:stCondLst>
                                  <p:childTnLst>
                                    <p:set>
                                      <p:cBhvr>
                                        <p:cTn id="66" dur="1" fill="hold">
                                          <p:stCondLst>
                                            <p:cond delay="0"/>
                                          </p:stCondLst>
                                        </p:cTn>
                                        <p:tgtEl>
                                          <p:spTgt spid="95"/>
                                        </p:tgtEl>
                                        <p:attrNameLst>
                                          <p:attrName>style.visibility</p:attrName>
                                        </p:attrNameLst>
                                      </p:cBhvr>
                                      <p:to>
                                        <p:strVal val="visible"/>
                                      </p:to>
                                    </p:set>
                                    <p:animEffect transition="in" filter="wipe(left)">
                                      <p:cBhvr>
                                        <p:cTn id="67" dur="10"/>
                                        <p:tgtEl>
                                          <p:spTgt spid="95"/>
                                        </p:tgtEl>
                                      </p:cBhvr>
                                    </p:animEffect>
                                  </p:childTnLst>
                                </p:cTn>
                              </p:par>
                            </p:childTnLst>
                          </p:cTn>
                        </p:par>
                      </p:childTnLst>
                    </p:cTn>
                  </p:par>
                  <p:par>
                    <p:cTn id="68" fill="hold">
                      <p:stCondLst>
                        <p:cond delay="indefinite"/>
                      </p:stCondLst>
                      <p:childTnLst>
                        <p:par>
                          <p:cTn id="69" fill="hold">
                            <p:stCondLst>
                              <p:cond delay="0"/>
                            </p:stCondLst>
                            <p:childTnLst>
                              <p:par>
                                <p:cTn id="70" presetID="22" presetClass="entr" presetSubtype="8" fill="hold" grpId="0" nodeType="clickEffect">
                                  <p:stCondLst>
                                    <p:cond delay="0"/>
                                  </p:stCondLst>
                                  <p:childTnLst>
                                    <p:set>
                                      <p:cBhvr>
                                        <p:cTn id="71" dur="1" fill="hold">
                                          <p:stCondLst>
                                            <p:cond delay="0"/>
                                          </p:stCondLst>
                                        </p:cTn>
                                        <p:tgtEl>
                                          <p:spTgt spid="96"/>
                                        </p:tgtEl>
                                        <p:attrNameLst>
                                          <p:attrName>style.visibility</p:attrName>
                                        </p:attrNameLst>
                                      </p:cBhvr>
                                      <p:to>
                                        <p:strVal val="visible"/>
                                      </p:to>
                                    </p:set>
                                    <p:animEffect transition="in" filter="wipe(left)">
                                      <p:cBhvr>
                                        <p:cTn id="72" dur="10"/>
                                        <p:tgtEl>
                                          <p:spTgt spid="96"/>
                                        </p:tgtEl>
                                      </p:cBhvr>
                                    </p:animEffect>
                                  </p:childTnLst>
                                </p:cTn>
                              </p:par>
                            </p:childTnLst>
                          </p:cTn>
                        </p:par>
                      </p:childTnLst>
                    </p:cTn>
                  </p:par>
                  <p:par>
                    <p:cTn id="73" fill="hold">
                      <p:stCondLst>
                        <p:cond delay="indefinite"/>
                      </p:stCondLst>
                      <p:childTnLst>
                        <p:par>
                          <p:cTn id="74" fill="hold">
                            <p:stCondLst>
                              <p:cond delay="0"/>
                            </p:stCondLst>
                            <p:childTnLst>
                              <p:par>
                                <p:cTn id="75" presetID="22" presetClass="entr" presetSubtype="8" fill="hold" nodeType="clickEffect">
                                  <p:stCondLst>
                                    <p:cond delay="0"/>
                                  </p:stCondLst>
                                  <p:childTnLst>
                                    <p:set>
                                      <p:cBhvr>
                                        <p:cTn id="76" dur="1" fill="hold">
                                          <p:stCondLst>
                                            <p:cond delay="0"/>
                                          </p:stCondLst>
                                        </p:cTn>
                                        <p:tgtEl>
                                          <p:spTgt spid="97"/>
                                        </p:tgtEl>
                                        <p:attrNameLst>
                                          <p:attrName>style.visibility</p:attrName>
                                        </p:attrNameLst>
                                      </p:cBhvr>
                                      <p:to>
                                        <p:strVal val="visible"/>
                                      </p:to>
                                    </p:set>
                                    <p:animEffect transition="in" filter="wipe(left)">
                                      <p:cBhvr>
                                        <p:cTn id="77" dur="10"/>
                                        <p:tgtEl>
                                          <p:spTgt spid="97"/>
                                        </p:tgtEl>
                                      </p:cBhvr>
                                    </p:animEffect>
                                  </p:childTnLst>
                                </p:cTn>
                              </p:par>
                            </p:childTnLst>
                          </p:cTn>
                        </p:par>
                      </p:childTnLst>
                    </p:cTn>
                  </p:par>
                  <p:par>
                    <p:cTn id="78" fill="hold">
                      <p:stCondLst>
                        <p:cond delay="indefinite"/>
                      </p:stCondLst>
                      <p:childTnLst>
                        <p:par>
                          <p:cTn id="79" fill="hold">
                            <p:stCondLst>
                              <p:cond delay="0"/>
                            </p:stCondLst>
                            <p:childTnLst>
                              <p:par>
                                <p:cTn id="80" presetID="22" presetClass="entr" presetSubtype="8" fill="hold" grpId="0" nodeType="clickEffect">
                                  <p:stCondLst>
                                    <p:cond delay="0"/>
                                  </p:stCondLst>
                                  <p:childTnLst>
                                    <p:set>
                                      <p:cBhvr>
                                        <p:cTn id="81" dur="1" fill="hold">
                                          <p:stCondLst>
                                            <p:cond delay="0"/>
                                          </p:stCondLst>
                                        </p:cTn>
                                        <p:tgtEl>
                                          <p:spTgt spid="2"/>
                                        </p:tgtEl>
                                        <p:attrNameLst>
                                          <p:attrName>style.visibility</p:attrName>
                                        </p:attrNameLst>
                                      </p:cBhvr>
                                      <p:to>
                                        <p:strVal val="visible"/>
                                      </p:to>
                                    </p:set>
                                    <p:animEffect transition="in" filter="wipe(left)">
                                      <p:cBhvr>
                                        <p:cTn id="82" dur="500"/>
                                        <p:tgtEl>
                                          <p:spTgt spid="2"/>
                                        </p:tgtEl>
                                      </p:cBhvr>
                                    </p:animEffect>
                                  </p:childTnLst>
                                </p:cTn>
                              </p:par>
                            </p:childTnLst>
                          </p:cTn>
                        </p:par>
                        <p:par>
                          <p:cTn id="83" fill="hold">
                            <p:stCondLst>
                              <p:cond delay="500"/>
                            </p:stCondLst>
                            <p:childTnLst>
                              <p:par>
                                <p:cTn id="84" presetID="6" presetClass="entr" presetSubtype="16" fill="hold" nodeType="afterEffect">
                                  <p:stCondLst>
                                    <p:cond delay="0"/>
                                  </p:stCondLst>
                                  <p:childTnLst>
                                    <p:set>
                                      <p:cBhvr>
                                        <p:cTn id="85" dur="1" fill="hold">
                                          <p:stCondLst>
                                            <p:cond delay="0"/>
                                          </p:stCondLst>
                                        </p:cTn>
                                        <p:tgtEl>
                                          <p:spTgt spid="102"/>
                                        </p:tgtEl>
                                        <p:attrNameLst>
                                          <p:attrName>style.visibility</p:attrName>
                                        </p:attrNameLst>
                                      </p:cBhvr>
                                      <p:to>
                                        <p:strVal val="visible"/>
                                      </p:to>
                                    </p:set>
                                    <p:animEffect transition="in" filter="circle(in)">
                                      <p:cBhvr>
                                        <p:cTn id="86" dur="2000"/>
                                        <p:tgtEl>
                                          <p:spTgt spid="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55" grpId="0"/>
      <p:bldP spid="56" grpId="0"/>
      <p:bldP spid="57" grpId="0"/>
      <p:bldP spid="58" grpId="0"/>
      <p:bldP spid="59" grpId="0"/>
      <p:bldP spid="60" grpId="0"/>
      <p:bldP spid="61" grpId="0"/>
      <p:bldP spid="91" grpId="0" animBg="1"/>
      <p:bldP spid="92" grpId="0" animBg="1"/>
      <p:bldP spid="93" grpId="0" animBg="1"/>
      <p:bldP spid="94" grpId="0" animBg="1"/>
      <p:bldP spid="95" grpId="0" animBg="1"/>
      <p:bldP spid="96" grpId="0" animBg="1"/>
      <p:bldP spid="98" grpId="0" animBg="1"/>
      <p:bldP spid="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Group 40"/>
          <p:cNvGrpSpPr/>
          <p:nvPr/>
        </p:nvGrpSpPr>
        <p:grpSpPr>
          <a:xfrm>
            <a:off x="2330375" y="1140923"/>
            <a:ext cx="4400544" cy="4400544"/>
            <a:chOff x="2286000" y="762000"/>
            <a:chExt cx="4705350" cy="4705350"/>
          </a:xfrm>
          <a:effectLst>
            <a:outerShdw blurRad="63500" sx="102000" sy="102000" algn="ctr" rotWithShape="0">
              <a:prstClr val="black">
                <a:alpha val="40000"/>
              </a:prstClr>
            </a:outerShdw>
          </a:effectLst>
          <a:scene3d>
            <a:camera prst="perspectiveFront" fov="2400000">
              <a:rot lat="20742046" lon="20488205" rev="2866913"/>
            </a:camera>
            <a:lightRig rig="threePt" dir="t"/>
          </a:scene3d>
        </p:grpSpPr>
        <p:sp>
          <p:nvSpPr>
            <p:cNvPr id="52" name="Teardrop 51"/>
            <p:cNvSpPr/>
            <p:nvPr/>
          </p:nvSpPr>
          <p:spPr>
            <a:xfrm rot="5400000">
              <a:off x="2286000" y="762000"/>
              <a:ext cx="2236970" cy="2236970"/>
            </a:xfrm>
            <a:prstGeom prst="teardrop">
              <a:avLst>
                <a:gd name="adj" fmla="val 100919"/>
              </a:avLst>
            </a:prstGeom>
            <a:solidFill>
              <a:sysClr val="window" lastClr="FFFFFF">
                <a:lumMod val="65000"/>
              </a:sysClr>
            </a:solidFill>
            <a:ln w="25400" cap="flat" cmpd="sng" algn="ctr">
              <a:noFill/>
              <a:prstDash val="solid"/>
            </a:ln>
            <a:effectLst/>
            <a:sp3d>
              <a:bevelT w="127000" h="127000"/>
              <a:bevelB w="127000" h="127000"/>
            </a:sp3d>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Trebuchet MS" pitchFamily="34" charset="0"/>
                <a:ea typeface="+mn-ea"/>
                <a:cs typeface="TH Sarabun New"/>
              </a:endParaRPr>
            </a:p>
          </p:txBody>
        </p:sp>
        <p:sp>
          <p:nvSpPr>
            <p:cNvPr id="53" name="Oval 52"/>
            <p:cNvSpPr/>
            <p:nvPr/>
          </p:nvSpPr>
          <p:spPr>
            <a:xfrm>
              <a:off x="2440274" y="916274"/>
              <a:ext cx="1928422" cy="1928422"/>
            </a:xfrm>
            <a:prstGeom prst="ellipse">
              <a:avLst/>
            </a:prstGeom>
            <a:solidFill>
              <a:srgbClr val="CC9900"/>
            </a:solidFill>
            <a:ln w="25400" cap="flat" cmpd="sng" algn="ctr">
              <a:noFill/>
              <a:prstDash val="solid"/>
            </a:ln>
            <a:effectLst>
              <a:innerShdw blurRad="63500" dist="50800" dir="18900000">
                <a:prstClr val="black">
                  <a:alpha val="50000"/>
                </a:prstClr>
              </a:innerShdw>
            </a:effectLst>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lumMod val="95000"/>
                  </a:prstClr>
                </a:solidFill>
                <a:effectLst/>
                <a:uLnTx/>
                <a:uFillTx/>
                <a:latin typeface="Trebuchet MS" pitchFamily="34" charset="0"/>
                <a:ea typeface="+mn-ea"/>
                <a:cs typeface="TH Sarabun New"/>
              </a:endParaRPr>
            </a:p>
          </p:txBody>
        </p:sp>
        <p:sp>
          <p:nvSpPr>
            <p:cNvPr id="54" name="Teardrop 53"/>
            <p:cNvSpPr/>
            <p:nvPr/>
          </p:nvSpPr>
          <p:spPr>
            <a:xfrm>
              <a:off x="2286000" y="3230380"/>
              <a:ext cx="2236970" cy="2236970"/>
            </a:xfrm>
            <a:prstGeom prst="teardrop">
              <a:avLst>
                <a:gd name="adj" fmla="val 100919"/>
              </a:avLst>
            </a:prstGeom>
            <a:solidFill>
              <a:sysClr val="window" lastClr="FFFFFF">
                <a:lumMod val="65000"/>
              </a:sysClr>
            </a:solidFill>
            <a:ln w="25400" cap="flat" cmpd="sng" algn="ctr">
              <a:noFill/>
              <a:prstDash val="solid"/>
            </a:ln>
            <a:effectLst/>
            <a:sp3d>
              <a:bevelT w="127000" h="127000"/>
              <a:bevelB w="127000" h="127000"/>
            </a:sp3d>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Trebuchet MS" pitchFamily="34" charset="0"/>
                <a:ea typeface="+mn-ea"/>
                <a:cs typeface="TH Sarabun New"/>
              </a:endParaRPr>
            </a:p>
          </p:txBody>
        </p:sp>
        <p:sp>
          <p:nvSpPr>
            <p:cNvPr id="55" name="Oval 54"/>
            <p:cNvSpPr/>
            <p:nvPr/>
          </p:nvSpPr>
          <p:spPr>
            <a:xfrm>
              <a:off x="2440274" y="3384654"/>
              <a:ext cx="1928422" cy="1928422"/>
            </a:xfrm>
            <a:prstGeom prst="ellipse">
              <a:avLst/>
            </a:prstGeom>
            <a:solidFill>
              <a:srgbClr val="00B050"/>
            </a:solidFill>
            <a:ln w="25400" cap="flat" cmpd="sng" algn="ctr">
              <a:noFill/>
              <a:prstDash val="solid"/>
            </a:ln>
            <a:effectLst>
              <a:innerShdw blurRad="63500" dist="50800" dir="18900000">
                <a:prstClr val="black">
                  <a:alpha val="50000"/>
                </a:prstClr>
              </a:innerShdw>
            </a:effectLst>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lumMod val="95000"/>
                  </a:prstClr>
                </a:solidFill>
                <a:effectLst/>
                <a:uLnTx/>
                <a:uFillTx/>
                <a:latin typeface="Trebuchet MS" pitchFamily="34" charset="0"/>
                <a:ea typeface="+mn-ea"/>
                <a:cs typeface="TH Sarabun New"/>
              </a:endParaRPr>
            </a:p>
          </p:txBody>
        </p:sp>
        <p:sp>
          <p:nvSpPr>
            <p:cNvPr id="56" name="Teardrop 55"/>
            <p:cNvSpPr/>
            <p:nvPr/>
          </p:nvSpPr>
          <p:spPr>
            <a:xfrm rot="16200000">
              <a:off x="4754380" y="3230380"/>
              <a:ext cx="2236970" cy="2236970"/>
            </a:xfrm>
            <a:prstGeom prst="teardrop">
              <a:avLst>
                <a:gd name="adj" fmla="val 100919"/>
              </a:avLst>
            </a:prstGeom>
            <a:solidFill>
              <a:sysClr val="window" lastClr="FFFFFF">
                <a:lumMod val="65000"/>
              </a:sysClr>
            </a:solidFill>
            <a:ln w="25400" cap="flat" cmpd="sng" algn="ctr">
              <a:noFill/>
              <a:prstDash val="solid"/>
            </a:ln>
            <a:effectLst/>
            <a:sp3d>
              <a:bevelT w="127000" h="127000"/>
              <a:bevelB w="127000" h="127000"/>
            </a:sp3d>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Trebuchet MS" pitchFamily="34" charset="0"/>
                <a:ea typeface="+mn-ea"/>
                <a:cs typeface="TH Sarabun New"/>
              </a:endParaRPr>
            </a:p>
          </p:txBody>
        </p:sp>
        <p:sp>
          <p:nvSpPr>
            <p:cNvPr id="57" name="Oval 56"/>
            <p:cNvSpPr/>
            <p:nvPr/>
          </p:nvSpPr>
          <p:spPr>
            <a:xfrm>
              <a:off x="4908654" y="3384654"/>
              <a:ext cx="1928422" cy="1928422"/>
            </a:xfrm>
            <a:prstGeom prst="ellipse">
              <a:avLst/>
            </a:prstGeom>
            <a:solidFill>
              <a:srgbClr val="9BBB59">
                <a:lumMod val="75000"/>
              </a:srgbClr>
            </a:solidFill>
            <a:ln w="25400" cap="flat" cmpd="sng" algn="ctr">
              <a:noFill/>
              <a:prstDash val="solid"/>
            </a:ln>
            <a:effectLst>
              <a:innerShdw blurRad="63500" dist="50800" dir="18900000">
                <a:prstClr val="black">
                  <a:alpha val="50000"/>
                </a:prstClr>
              </a:innerShdw>
            </a:effectLst>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lumMod val="95000"/>
                  </a:prstClr>
                </a:solidFill>
                <a:effectLst/>
                <a:uLnTx/>
                <a:uFillTx/>
                <a:latin typeface="Trebuchet MS" pitchFamily="34" charset="0"/>
                <a:ea typeface="+mn-ea"/>
                <a:cs typeface="TH Sarabun New"/>
              </a:endParaRPr>
            </a:p>
          </p:txBody>
        </p:sp>
        <p:sp>
          <p:nvSpPr>
            <p:cNvPr id="58" name="Teardrop 57"/>
            <p:cNvSpPr/>
            <p:nvPr/>
          </p:nvSpPr>
          <p:spPr>
            <a:xfrm rot="10800000">
              <a:off x="4754380" y="762000"/>
              <a:ext cx="2236970" cy="2236970"/>
            </a:xfrm>
            <a:prstGeom prst="teardrop">
              <a:avLst>
                <a:gd name="adj" fmla="val 100919"/>
              </a:avLst>
            </a:prstGeom>
            <a:solidFill>
              <a:sysClr val="window" lastClr="FFFFFF">
                <a:lumMod val="65000"/>
              </a:sysClr>
            </a:solidFill>
            <a:ln w="25400" cap="flat" cmpd="sng" algn="ctr">
              <a:noFill/>
              <a:prstDash val="solid"/>
            </a:ln>
            <a:effectLst/>
            <a:sp3d>
              <a:bevelT w="127000" h="127000"/>
              <a:bevelB w="127000" h="127000"/>
            </a:sp3d>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Trebuchet MS" pitchFamily="34" charset="0"/>
                <a:ea typeface="+mn-ea"/>
                <a:cs typeface="TH Sarabun New"/>
              </a:endParaRPr>
            </a:p>
          </p:txBody>
        </p:sp>
        <p:sp>
          <p:nvSpPr>
            <p:cNvPr id="81" name="Oval 80"/>
            <p:cNvSpPr/>
            <p:nvPr/>
          </p:nvSpPr>
          <p:spPr>
            <a:xfrm>
              <a:off x="4908654" y="916274"/>
              <a:ext cx="1928422" cy="1928422"/>
            </a:xfrm>
            <a:prstGeom prst="ellipse">
              <a:avLst/>
            </a:prstGeom>
            <a:solidFill>
              <a:srgbClr val="996633"/>
            </a:solidFill>
            <a:ln w="25400" cap="flat" cmpd="sng" algn="ctr">
              <a:noFill/>
              <a:prstDash val="solid"/>
            </a:ln>
            <a:effectLst>
              <a:innerShdw blurRad="63500" dist="50800" dir="18900000">
                <a:prstClr val="black">
                  <a:alpha val="50000"/>
                </a:prstClr>
              </a:innerShdw>
            </a:effectLst>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lumMod val="95000"/>
                  </a:prstClr>
                </a:solidFill>
                <a:effectLst/>
                <a:uLnTx/>
                <a:uFillTx/>
                <a:latin typeface="Trebuchet MS" pitchFamily="34" charset="0"/>
                <a:ea typeface="+mn-ea"/>
                <a:cs typeface="TH Sarabun New"/>
              </a:endParaRPr>
            </a:p>
          </p:txBody>
        </p:sp>
      </p:grpSp>
      <p:sp>
        <p:nvSpPr>
          <p:cNvPr id="82" name="TextBox 81"/>
          <p:cNvSpPr txBox="1"/>
          <p:nvPr/>
        </p:nvSpPr>
        <p:spPr>
          <a:xfrm>
            <a:off x="308611" y="106270"/>
            <a:ext cx="2369653" cy="454693"/>
          </a:xfrm>
          <a:prstGeom prst="rect">
            <a:avLst/>
          </a:prstGeom>
          <a:noFill/>
        </p:spPr>
        <p:txBody>
          <a:bodyPr wrap="none">
            <a:prstTxWarp prst="textPlain">
              <a:avLst/>
            </a:prstTxWarp>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th-TH" sz="8800" b="0" i="0" u="none" strike="noStrike" kern="1200" cap="none" spc="0" normalizeH="0" baseline="0" noProof="0" dirty="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uLnTx/>
                <a:uFillTx/>
                <a:latin typeface="Cordia New" pitchFamily="34" charset="-34"/>
                <a:ea typeface="+mn-ea"/>
                <a:cs typeface="Cordia New" pitchFamily="34" charset="-34"/>
              </a:rPr>
              <a:t>แนวทางการบรรยาย</a:t>
            </a:r>
          </a:p>
        </p:txBody>
      </p:sp>
      <p:sp>
        <p:nvSpPr>
          <p:cNvPr id="83" name="Oval 4"/>
          <p:cNvSpPr/>
          <p:nvPr/>
        </p:nvSpPr>
        <p:spPr>
          <a:xfrm>
            <a:off x="3693602" y="1099575"/>
            <a:ext cx="1611006" cy="1611008"/>
          </a:xfrm>
          <a:prstGeom prst="rect">
            <a:avLst/>
          </a:prstGeom>
          <a:noFill/>
          <a:ln>
            <a:noFill/>
          </a:ln>
          <a:effectLst/>
          <a:scene3d>
            <a:camera prst="orthographicFront"/>
            <a:lightRig rig="threePt" dir="t">
              <a:rot lat="0" lon="0" rev="7500000"/>
            </a:lightRig>
          </a:scene3d>
          <a:sp3d/>
        </p:spPr>
        <p:txBody>
          <a:bodyPr lIns="45720" rIns="45720" spcCol="1270" anchor="ctr"/>
          <a:lstStyle/>
          <a:p>
            <a:pPr marL="0" marR="0" lvl="0" indent="0" algn="ctr" defTabSz="1600200" rtl="0" eaLnBrk="1" fontAlgn="auto" latinLnBrk="0" hangingPunct="1">
              <a:lnSpc>
                <a:spcPct val="50000"/>
              </a:lnSpc>
              <a:spcBef>
                <a:spcPts val="0"/>
              </a:spcBef>
              <a:spcAft>
                <a:spcPct val="35000"/>
              </a:spcAft>
              <a:buClrTx/>
              <a:buSzTx/>
              <a:buFontTx/>
              <a:buNone/>
              <a:tabLst/>
              <a:defRPr/>
            </a:pPr>
            <a:r>
              <a:rPr kumimoji="0" lang="th-TH" sz="32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Cordia New" pitchFamily="34" charset="-34"/>
                <a:ea typeface="+mn-ea"/>
                <a:cs typeface="Cordia New" pitchFamily="34" charset="-34"/>
              </a:rPr>
              <a:t>เล่าเรื่อง</a:t>
            </a:r>
            <a:endParaRPr kumimoji="0" lang="th-TH" sz="32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Cordia New" pitchFamily="34" charset="-34"/>
              <a:ea typeface="+mn-ea"/>
              <a:cs typeface="Cordia New" pitchFamily="34" charset="-34"/>
            </a:endParaRPr>
          </a:p>
          <a:p>
            <a:pPr marL="0" marR="0" lvl="0" indent="0" algn="ctr" defTabSz="1600200" rtl="0" eaLnBrk="1" fontAlgn="auto" latinLnBrk="0" hangingPunct="1">
              <a:lnSpc>
                <a:spcPct val="50000"/>
              </a:lnSpc>
              <a:spcBef>
                <a:spcPts val="0"/>
              </a:spcBef>
              <a:spcAft>
                <a:spcPct val="35000"/>
              </a:spcAft>
              <a:buClrTx/>
              <a:buSzTx/>
              <a:buFontTx/>
              <a:buNone/>
              <a:tabLst/>
              <a:defRPr/>
            </a:pPr>
            <a:r>
              <a:rPr kumimoji="0" lang="th-TH" sz="32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Cordia New" pitchFamily="34" charset="-34"/>
                <a:ea typeface="+mn-ea"/>
                <a:cs typeface="Cordia New" pitchFamily="34" charset="-34"/>
              </a:rPr>
              <a:t>ด้วยภาพ</a:t>
            </a:r>
          </a:p>
        </p:txBody>
      </p:sp>
      <p:sp>
        <p:nvSpPr>
          <p:cNvPr id="84" name="Oval 8"/>
          <p:cNvSpPr/>
          <p:nvPr/>
        </p:nvSpPr>
        <p:spPr>
          <a:xfrm>
            <a:off x="5306056" y="2547647"/>
            <a:ext cx="1735600" cy="1611008"/>
          </a:xfrm>
          <a:prstGeom prst="rect">
            <a:avLst/>
          </a:prstGeom>
          <a:noFill/>
          <a:ln>
            <a:noFill/>
          </a:ln>
          <a:effectLst/>
          <a:scene3d>
            <a:camera prst="orthographicFront"/>
            <a:lightRig rig="threePt" dir="t">
              <a:rot lat="0" lon="0" rev="7500000"/>
            </a:lightRig>
          </a:scene3d>
          <a:sp3d/>
        </p:spPr>
        <p:txBody>
          <a:bodyPr lIns="45720" rIns="45720" spcCol="1270" anchor="ctr"/>
          <a:lstStyle/>
          <a:p>
            <a:pPr marL="0" marR="0" lvl="0" indent="0" algn="ctr" defTabSz="1600200" rtl="0" eaLnBrk="1" fontAlgn="auto" latinLnBrk="0" hangingPunct="1">
              <a:lnSpc>
                <a:spcPct val="50000"/>
              </a:lnSpc>
              <a:spcBef>
                <a:spcPts val="0"/>
              </a:spcBef>
              <a:spcAft>
                <a:spcPct val="35000"/>
              </a:spcAft>
              <a:buClrTx/>
              <a:buSzTx/>
              <a:buFontTx/>
              <a:buNone/>
              <a:tabLst/>
              <a:defRPr/>
            </a:pPr>
            <a:r>
              <a:rPr kumimoji="0" lang="th-TH" sz="32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Cordia New" pitchFamily="34" charset="-34"/>
                <a:ea typeface="+mn-ea"/>
                <a:cs typeface="Cordia New" pitchFamily="34" charset="-34"/>
              </a:rPr>
              <a:t>ชวนให้คิด</a:t>
            </a:r>
          </a:p>
          <a:p>
            <a:pPr marL="0" marR="0" lvl="0" indent="0" algn="ctr" defTabSz="1600200" rtl="0" eaLnBrk="1" fontAlgn="auto" latinLnBrk="0" hangingPunct="1">
              <a:lnSpc>
                <a:spcPct val="50000"/>
              </a:lnSpc>
              <a:spcBef>
                <a:spcPts val="0"/>
              </a:spcBef>
              <a:spcAft>
                <a:spcPct val="35000"/>
              </a:spcAft>
              <a:buClrTx/>
              <a:buSzTx/>
              <a:buFontTx/>
              <a:buNone/>
              <a:tabLst/>
              <a:defRPr/>
            </a:pPr>
            <a:r>
              <a:rPr kumimoji="0" lang="th-TH" sz="32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Cordia New" pitchFamily="34" charset="-34"/>
                <a:ea typeface="+mn-ea"/>
                <a:cs typeface="Cordia New" pitchFamily="34" charset="-34"/>
              </a:rPr>
              <a:t>วิเคราะห์</a:t>
            </a:r>
          </a:p>
        </p:txBody>
      </p:sp>
      <p:sp>
        <p:nvSpPr>
          <p:cNvPr id="85" name="Oval 12"/>
          <p:cNvSpPr/>
          <p:nvPr/>
        </p:nvSpPr>
        <p:spPr>
          <a:xfrm>
            <a:off x="3371787" y="4187998"/>
            <a:ext cx="2389904" cy="1611008"/>
          </a:xfrm>
          <a:prstGeom prst="rect">
            <a:avLst/>
          </a:prstGeom>
          <a:noFill/>
          <a:ln>
            <a:noFill/>
          </a:ln>
          <a:effectLst/>
          <a:scene3d>
            <a:camera prst="orthographicFront"/>
            <a:lightRig rig="threePt" dir="t">
              <a:rot lat="0" lon="0" rev="7500000"/>
            </a:lightRig>
          </a:scene3d>
          <a:sp3d/>
        </p:spPr>
        <p:txBody>
          <a:bodyPr lIns="45720" rIns="45720" spcCol="1270" anchor="ctr"/>
          <a:lstStyle/>
          <a:p>
            <a:pPr marL="0" marR="0" lvl="0" indent="0" algn="ctr" defTabSz="1600200" rtl="0" eaLnBrk="1" fontAlgn="auto" latinLnBrk="0" hangingPunct="1">
              <a:lnSpc>
                <a:spcPct val="50000"/>
              </a:lnSpc>
              <a:spcBef>
                <a:spcPts val="0"/>
              </a:spcBef>
              <a:spcAft>
                <a:spcPct val="35000"/>
              </a:spcAft>
              <a:buClrTx/>
              <a:buSzTx/>
              <a:buFontTx/>
              <a:buNone/>
              <a:tabLst/>
              <a:defRPr/>
            </a:pPr>
            <a:r>
              <a:rPr kumimoji="0" lang="th-TH" sz="32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Cordia New" pitchFamily="34" charset="-34"/>
                <a:ea typeface="+mn-ea"/>
                <a:cs typeface="Cordia New" pitchFamily="34" charset="-34"/>
              </a:rPr>
              <a:t>ปรับใช้บนฐาน</a:t>
            </a:r>
            <a:endParaRPr kumimoji="0" lang="th-TH" sz="32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Cordia New" pitchFamily="34" charset="-34"/>
              <a:ea typeface="+mn-ea"/>
              <a:cs typeface="Cordia New" pitchFamily="34" charset="-34"/>
            </a:endParaRPr>
          </a:p>
          <a:p>
            <a:pPr marL="0" marR="0" lvl="0" indent="0" algn="ctr" defTabSz="1600200" rtl="0" eaLnBrk="1" fontAlgn="auto" latinLnBrk="0" hangingPunct="1">
              <a:lnSpc>
                <a:spcPct val="50000"/>
              </a:lnSpc>
              <a:spcBef>
                <a:spcPts val="0"/>
              </a:spcBef>
              <a:spcAft>
                <a:spcPct val="35000"/>
              </a:spcAft>
              <a:buClrTx/>
              <a:buSzTx/>
              <a:buFontTx/>
              <a:buNone/>
              <a:tabLst/>
              <a:defRPr/>
            </a:pPr>
            <a:r>
              <a:rPr kumimoji="0" lang="th-TH" sz="32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Cordia New" pitchFamily="34" charset="-34"/>
                <a:ea typeface="+mn-ea"/>
                <a:cs typeface="Cordia New" pitchFamily="34" charset="-34"/>
              </a:rPr>
              <a:t>การดำเนินชีวิต</a:t>
            </a:r>
          </a:p>
        </p:txBody>
      </p:sp>
      <p:sp>
        <p:nvSpPr>
          <p:cNvPr id="86" name="Oval 16"/>
          <p:cNvSpPr/>
          <p:nvPr/>
        </p:nvSpPr>
        <p:spPr>
          <a:xfrm>
            <a:off x="2051720" y="2563602"/>
            <a:ext cx="1611006" cy="1611008"/>
          </a:xfrm>
          <a:prstGeom prst="rect">
            <a:avLst/>
          </a:prstGeom>
          <a:noFill/>
          <a:ln>
            <a:noFill/>
          </a:ln>
          <a:effectLst/>
          <a:scene3d>
            <a:camera prst="orthographicFront"/>
            <a:lightRig rig="threePt" dir="t">
              <a:rot lat="0" lon="0" rev="7500000"/>
            </a:lightRig>
          </a:scene3d>
          <a:sp3d/>
        </p:spPr>
        <p:txBody>
          <a:bodyPr lIns="45720" rIns="45720" spcCol="1270" anchor="ctr"/>
          <a:lstStyle/>
          <a:p>
            <a:pPr marL="0" marR="0" lvl="0" indent="0" algn="ctr" defTabSz="1600200" rtl="0" eaLnBrk="1" fontAlgn="auto" latinLnBrk="0" hangingPunct="1">
              <a:lnSpc>
                <a:spcPts val="2200"/>
              </a:lnSpc>
              <a:spcBef>
                <a:spcPts val="0"/>
              </a:spcBef>
              <a:spcAft>
                <a:spcPct val="35000"/>
              </a:spcAft>
              <a:buClrTx/>
              <a:buSzTx/>
              <a:buFontTx/>
              <a:buNone/>
              <a:tabLst/>
              <a:defRPr/>
            </a:pPr>
            <a:r>
              <a:rPr kumimoji="0" lang="th-TH" sz="32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Cordia New" pitchFamily="34" charset="-34"/>
                <a:ea typeface="+mn-ea"/>
                <a:cs typeface="Cordia New" pitchFamily="34" charset="-34"/>
              </a:rPr>
              <a:t>สร้าง</a:t>
            </a:r>
          </a:p>
          <a:p>
            <a:pPr marL="0" marR="0" lvl="0" indent="0" algn="ctr" defTabSz="1600200" rtl="0" eaLnBrk="1" fontAlgn="auto" latinLnBrk="0" hangingPunct="1">
              <a:lnSpc>
                <a:spcPts val="2200"/>
              </a:lnSpc>
              <a:spcBef>
                <a:spcPts val="0"/>
              </a:spcBef>
              <a:spcAft>
                <a:spcPct val="35000"/>
              </a:spcAft>
              <a:buClrTx/>
              <a:buSzTx/>
              <a:buFontTx/>
              <a:buNone/>
              <a:tabLst/>
              <a:defRPr/>
            </a:pPr>
            <a:r>
              <a:rPr kumimoji="0" lang="th-TH" sz="32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Cordia New" pitchFamily="34" charset="-34"/>
                <a:ea typeface="+mn-ea"/>
                <a:cs typeface="Cordia New" pitchFamily="34" charset="-34"/>
              </a:rPr>
              <a:t>ความคิด</a:t>
            </a:r>
          </a:p>
          <a:p>
            <a:pPr marL="0" marR="0" lvl="0" indent="0" algn="ctr" defTabSz="1600200" rtl="0" eaLnBrk="1" fontAlgn="auto" latinLnBrk="0" hangingPunct="1">
              <a:lnSpc>
                <a:spcPts val="2200"/>
              </a:lnSpc>
              <a:spcBef>
                <a:spcPts val="0"/>
              </a:spcBef>
              <a:spcAft>
                <a:spcPct val="35000"/>
              </a:spcAft>
              <a:buClrTx/>
              <a:buSzTx/>
              <a:buFontTx/>
              <a:buNone/>
              <a:tabLst/>
              <a:defRPr/>
            </a:pPr>
            <a:r>
              <a:rPr kumimoji="0" lang="th-TH" sz="32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Cordia New" pitchFamily="34" charset="-34"/>
                <a:ea typeface="+mn-ea"/>
                <a:cs typeface="Cordia New" pitchFamily="34" charset="-34"/>
              </a:rPr>
              <a:t>รวบ</a:t>
            </a:r>
            <a:r>
              <a:rPr kumimoji="0" lang="th-TH" sz="3200" b="0" i="0"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Cordia New" pitchFamily="34" charset="-34"/>
                <a:ea typeface="+mn-ea"/>
                <a:cs typeface="Cordia New" pitchFamily="34" charset="-34"/>
              </a:rPr>
              <a:t>ยอด</a:t>
            </a:r>
          </a:p>
        </p:txBody>
      </p:sp>
      <p:sp>
        <p:nvSpPr>
          <p:cNvPr id="87" name="TextBox 86"/>
          <p:cNvSpPr txBox="1"/>
          <p:nvPr/>
        </p:nvSpPr>
        <p:spPr>
          <a:xfrm>
            <a:off x="7212178" y="2647771"/>
            <a:ext cx="1785918" cy="828432"/>
          </a:xfrm>
          <a:prstGeom prst="rect">
            <a:avLst/>
          </a:prstGeom>
          <a:noFill/>
        </p:spPr>
        <p:txBody>
          <a:bodyPr wrap="squar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marL="0" marR="0" lvl="0" indent="0" algn="ctr" defTabSz="914400" rtl="0" eaLnBrk="1" fontAlgn="base" latinLnBrk="0" hangingPunct="1">
              <a:lnSpc>
                <a:spcPts val="2800"/>
              </a:lnSpc>
              <a:spcBef>
                <a:spcPct val="0"/>
              </a:spcBef>
              <a:spcAft>
                <a:spcPct val="0"/>
              </a:spcAft>
              <a:buClrTx/>
              <a:buSzTx/>
              <a:buFontTx/>
              <a:buNone/>
              <a:tabLst/>
              <a:defRPr/>
            </a:pPr>
            <a:r>
              <a:rPr kumimoji="0" lang="th-TH" sz="2800" b="1" i="0" u="none" strike="noStrike" kern="1200" cap="none" spc="0" normalizeH="0" baseline="0" noProof="0" dirty="0" smtClean="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uLnTx/>
                <a:uFillTx/>
                <a:latin typeface="Cordia New" pitchFamily="34" charset="-34"/>
                <a:ea typeface="+mn-ea"/>
                <a:cs typeface="Cordia New" pitchFamily="34" charset="-34"/>
              </a:rPr>
              <a:t>สร้างความรู้</a:t>
            </a:r>
          </a:p>
          <a:p>
            <a:pPr marL="0" marR="0" lvl="0" indent="0" algn="ctr" defTabSz="914400" rtl="0" eaLnBrk="1" fontAlgn="base" latinLnBrk="0" hangingPunct="1">
              <a:lnSpc>
                <a:spcPts val="2800"/>
              </a:lnSpc>
              <a:spcBef>
                <a:spcPct val="0"/>
              </a:spcBef>
              <a:spcAft>
                <a:spcPct val="0"/>
              </a:spcAft>
              <a:buClrTx/>
              <a:buSzTx/>
              <a:buFontTx/>
              <a:buNone/>
              <a:tabLst/>
              <a:defRPr/>
            </a:pPr>
            <a:r>
              <a:rPr kumimoji="0" lang="th-TH" sz="2800" b="1" i="0" u="none" strike="noStrike" kern="1200" cap="none" spc="0" normalizeH="0" baseline="0" noProof="0" dirty="0" smtClean="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uLnTx/>
                <a:uFillTx/>
                <a:latin typeface="Cordia New" pitchFamily="34" charset="-34"/>
                <a:ea typeface="+mn-ea"/>
                <a:cs typeface="Cordia New" pitchFamily="34" charset="-34"/>
              </a:rPr>
              <a:t>(วิทยา)</a:t>
            </a:r>
            <a:endParaRPr kumimoji="0" lang="th-TH" sz="2800" b="1" i="0" u="none" strike="noStrike" kern="1200" cap="none" spc="0" normalizeH="0" baseline="0" noProof="0" dirty="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uLnTx/>
              <a:uFillTx/>
              <a:latin typeface="Cordia New" pitchFamily="34" charset="-34"/>
              <a:ea typeface="+mn-ea"/>
              <a:cs typeface="Cordia New" pitchFamily="34" charset="-34"/>
            </a:endParaRPr>
          </a:p>
        </p:txBody>
      </p:sp>
      <p:sp>
        <p:nvSpPr>
          <p:cNvPr id="88" name="TextBox 87"/>
          <p:cNvSpPr txBox="1"/>
          <p:nvPr/>
        </p:nvSpPr>
        <p:spPr>
          <a:xfrm>
            <a:off x="-292392" y="2575998"/>
            <a:ext cx="2678264" cy="828432"/>
          </a:xfrm>
          <a:prstGeom prst="rect">
            <a:avLst/>
          </a:prstGeom>
          <a:noFill/>
        </p:spPr>
        <p:txBody>
          <a:bodyPr wrap="square">
            <a:spAutoFit/>
            <a:scene3d>
              <a:camera prst="orthographicFront"/>
              <a:lightRig rig="flat" dir="tl">
                <a:rot lat="0" lon="0" rev="6600000"/>
              </a:lightRig>
            </a:scene3d>
            <a:sp3d extrusionH="25400" contourW="8890">
              <a:bevelT w="38100" h="31750"/>
              <a:contourClr>
                <a:schemeClr val="accent2">
                  <a:shade val="75000"/>
                </a:schemeClr>
              </a:contourClr>
            </a:sp3d>
          </a:bodyPr>
          <a:lstStyle>
            <a:defPPr>
              <a:defRPr lang="en-US"/>
            </a:defPPr>
            <a:lvl1pPr algn="ctr">
              <a:lnSpc>
                <a:spcPts val="2800"/>
              </a:lnSpc>
              <a:defRPr>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Cordia New" pitchFamily="34" charset="-34"/>
                <a:cs typeface="Cordia New" pitchFamily="34" charset="-34"/>
              </a:defRPr>
            </a:lvl1pPr>
          </a:lstStyle>
          <a:p>
            <a:pPr marL="0" marR="0" lvl="0" indent="0" algn="ctr" defTabSz="914400" rtl="0" eaLnBrk="1" fontAlgn="base" latinLnBrk="0" hangingPunct="1">
              <a:lnSpc>
                <a:spcPts val="2800"/>
              </a:lnSpc>
              <a:spcBef>
                <a:spcPct val="0"/>
              </a:spcBef>
              <a:spcAft>
                <a:spcPct val="0"/>
              </a:spcAft>
              <a:buClrTx/>
              <a:buSzTx/>
              <a:buFontTx/>
              <a:buNone/>
              <a:tabLst/>
              <a:defRPr/>
            </a:pPr>
            <a:r>
              <a:rPr kumimoji="0" lang="th-TH" sz="2800" b="1" i="0" u="none" strike="noStrike" kern="1200" cap="none" spc="0" normalizeH="0" baseline="0" noProof="0" dirty="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uLnTx/>
                <a:uFillTx/>
                <a:latin typeface="Cordia New" pitchFamily="34" charset="-34"/>
                <a:ea typeface="+mn-ea"/>
                <a:cs typeface="Cordia New" pitchFamily="34" charset="-34"/>
              </a:rPr>
              <a:t>สร้างความรู้แห่งตน</a:t>
            </a:r>
          </a:p>
          <a:p>
            <a:pPr marL="0" marR="0" lvl="0" indent="0" algn="ctr" defTabSz="914400" rtl="0" eaLnBrk="1" fontAlgn="base" latinLnBrk="0" hangingPunct="1">
              <a:lnSpc>
                <a:spcPts val="2800"/>
              </a:lnSpc>
              <a:spcBef>
                <a:spcPct val="0"/>
              </a:spcBef>
              <a:spcAft>
                <a:spcPct val="0"/>
              </a:spcAft>
              <a:buClrTx/>
              <a:buSzTx/>
              <a:buFontTx/>
              <a:buNone/>
              <a:tabLst/>
              <a:defRPr/>
            </a:pPr>
            <a:r>
              <a:rPr kumimoji="0" lang="th-TH" sz="2800" b="1" i="0" u="none" strike="noStrike" kern="1200" cap="none" spc="0" normalizeH="0" baseline="0" noProof="0" dirty="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uLnTx/>
                <a:uFillTx/>
                <a:latin typeface="Cordia New" pitchFamily="34" charset="-34"/>
                <a:ea typeface="+mn-ea"/>
                <a:cs typeface="Cordia New" pitchFamily="34" charset="-34"/>
              </a:rPr>
              <a:t>(ภูมิปัญญา) </a:t>
            </a:r>
          </a:p>
        </p:txBody>
      </p:sp>
      <p:sp>
        <p:nvSpPr>
          <p:cNvPr id="89" name="TextBox 88"/>
          <p:cNvSpPr txBox="1"/>
          <p:nvPr/>
        </p:nvSpPr>
        <p:spPr>
          <a:xfrm>
            <a:off x="3267921" y="186749"/>
            <a:ext cx="2561919" cy="605294"/>
          </a:xfrm>
          <a:prstGeom prst="rect">
            <a:avLst/>
          </a:prstGeom>
          <a:noFill/>
        </p:spPr>
        <p:txBody>
          <a:bodyPr wrap="non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marL="0" marR="0" lvl="0" indent="0" algn="r" defTabSz="914400" rtl="0" eaLnBrk="1" fontAlgn="base" latinLnBrk="0" hangingPunct="1">
              <a:lnSpc>
                <a:spcPts val="4000"/>
              </a:lnSpc>
              <a:spcBef>
                <a:spcPct val="0"/>
              </a:spcBef>
              <a:spcAft>
                <a:spcPct val="0"/>
              </a:spcAft>
              <a:buClrTx/>
              <a:buSzTx/>
              <a:buFontTx/>
              <a:buNone/>
              <a:tabLst/>
              <a:defRPr/>
            </a:pPr>
            <a:r>
              <a:rPr kumimoji="0" lang="th-TH" sz="2800" b="1" i="0" u="none" strike="noStrike" kern="1200" cap="none" spc="0" normalizeH="0" baseline="0" noProof="0" dirty="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uLnTx/>
                <a:uFillTx/>
                <a:latin typeface="Cordia New" pitchFamily="34" charset="-34"/>
                <a:ea typeface="+mn-ea"/>
                <a:cs typeface="Cordia New" pitchFamily="34" charset="-34"/>
              </a:rPr>
              <a:t>สร้าง</a:t>
            </a:r>
            <a:r>
              <a:rPr kumimoji="0" lang="th-TH" sz="2800" b="1" i="0" u="none" strike="noStrike" kern="1200" cap="none" spc="0" normalizeH="0" baseline="0" noProof="0" dirty="0" smtClean="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uLnTx/>
                <a:uFillTx/>
                <a:latin typeface="Cordia New" pitchFamily="34" charset="-34"/>
                <a:ea typeface="+mn-ea"/>
                <a:cs typeface="Cordia New" pitchFamily="34" charset="-34"/>
              </a:rPr>
              <a:t>ความจำ (สัญญา)</a:t>
            </a:r>
            <a:endParaRPr kumimoji="0" lang="th-TH" sz="2800" b="1" i="0" u="none" strike="noStrike" kern="1200" cap="none" spc="0" normalizeH="0" baseline="0" noProof="0" dirty="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uLnTx/>
              <a:uFillTx/>
              <a:latin typeface="Cordia New" pitchFamily="34" charset="-34"/>
              <a:ea typeface="+mn-ea"/>
              <a:cs typeface="Cordia New" pitchFamily="34" charset="-34"/>
            </a:endParaRPr>
          </a:p>
        </p:txBody>
      </p:sp>
      <p:sp>
        <p:nvSpPr>
          <p:cNvPr id="90" name="TextBox 89"/>
          <p:cNvSpPr txBox="1"/>
          <p:nvPr/>
        </p:nvSpPr>
        <p:spPr>
          <a:xfrm>
            <a:off x="2884128" y="6310003"/>
            <a:ext cx="3262432" cy="605294"/>
          </a:xfrm>
          <a:prstGeom prst="rect">
            <a:avLst/>
          </a:prstGeom>
          <a:noFill/>
        </p:spPr>
        <p:txBody>
          <a:bodyPr wrap="non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marL="0" marR="0" lvl="0" indent="0" algn="r" defTabSz="914400" rtl="0" eaLnBrk="1" fontAlgn="base" latinLnBrk="0" hangingPunct="1">
              <a:lnSpc>
                <a:spcPts val="4000"/>
              </a:lnSpc>
              <a:spcBef>
                <a:spcPct val="0"/>
              </a:spcBef>
              <a:spcAft>
                <a:spcPct val="0"/>
              </a:spcAft>
              <a:buClrTx/>
              <a:buSzTx/>
              <a:buFontTx/>
              <a:buNone/>
              <a:tabLst/>
              <a:defRPr/>
            </a:pPr>
            <a:r>
              <a:rPr kumimoji="0" lang="th-TH" sz="3200" b="1" i="0" u="none" strike="noStrike" kern="1200" cap="none" spc="0" normalizeH="0" baseline="0" noProof="0" dirty="0" smtClean="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uLnTx/>
                <a:uFillTx/>
                <a:latin typeface="Cordia New" pitchFamily="34" charset="-34"/>
                <a:ea typeface="+mn-ea"/>
                <a:cs typeface="Cordia New" pitchFamily="34" charset="-34"/>
              </a:rPr>
              <a:t>สร้างความรู้แจ้ง (ปัญญา)</a:t>
            </a:r>
            <a:endParaRPr kumimoji="0" lang="th-TH" sz="3200" b="1" i="0" u="none" strike="noStrike" kern="1200" cap="none" spc="0" normalizeH="0" baseline="0" noProof="0" dirty="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uLnTx/>
              <a:uFillTx/>
              <a:latin typeface="Cordia New" pitchFamily="34" charset="-34"/>
              <a:ea typeface="+mn-ea"/>
              <a:cs typeface="Cordia New" pitchFamily="34" charset="-34"/>
            </a:endParaRPr>
          </a:p>
        </p:txBody>
      </p:sp>
      <p:sp>
        <p:nvSpPr>
          <p:cNvPr id="91" name="Rectangle 90"/>
          <p:cNvSpPr/>
          <p:nvPr/>
        </p:nvSpPr>
        <p:spPr>
          <a:xfrm>
            <a:off x="2375329" y="688758"/>
            <a:ext cx="4347103" cy="461665"/>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th-TH" sz="2400" b="0" i="0" u="none" strike="noStrike" kern="1200" cap="none" spc="0" normalizeH="0" baseline="0" noProof="0" dirty="0">
                <a:ln>
                  <a:noFill/>
                </a:ln>
                <a:solidFill>
                  <a:prstClr val="black">
                    <a:lumMod val="95000"/>
                    <a:lumOff val="5000"/>
                  </a:prstClr>
                </a:solidFill>
                <a:effectLst/>
                <a:uLnTx/>
                <a:uFillTx/>
                <a:latin typeface="Browallia New" pitchFamily="34" charset="-34"/>
                <a:ea typeface="+mn-ea"/>
                <a:cs typeface="Cordia New"/>
              </a:rPr>
              <a:t>มองให้</a:t>
            </a:r>
            <a:r>
              <a:rPr kumimoji="0" lang="th-TH" sz="2400" b="0" i="0" u="none" strike="noStrike" kern="1200" cap="none" spc="0" normalizeH="0" baseline="0" noProof="0" dirty="0" smtClean="0">
                <a:ln>
                  <a:noFill/>
                </a:ln>
                <a:solidFill>
                  <a:prstClr val="black">
                    <a:lumMod val="95000"/>
                    <a:lumOff val="5000"/>
                  </a:prstClr>
                </a:solidFill>
                <a:effectLst/>
                <a:uLnTx/>
                <a:uFillTx/>
                <a:latin typeface="Browallia New" pitchFamily="34" charset="-34"/>
                <a:ea typeface="+mn-ea"/>
                <a:cs typeface="Cordia New"/>
              </a:rPr>
              <a:t>เห็น จับให้ได้ประเด็น</a:t>
            </a:r>
            <a:r>
              <a:rPr kumimoji="0" lang="th-TH" sz="2400" b="0" i="0" u="none" strike="noStrike" kern="1200" cap="none" spc="0" normalizeH="0" baseline="0" noProof="0" dirty="0">
                <a:ln>
                  <a:noFill/>
                </a:ln>
                <a:solidFill>
                  <a:prstClr val="black">
                    <a:lumMod val="95000"/>
                    <a:lumOff val="5000"/>
                  </a:prstClr>
                </a:solidFill>
                <a:effectLst/>
                <a:uLnTx/>
                <a:uFillTx/>
                <a:latin typeface="Browallia New" pitchFamily="34" charset="-34"/>
                <a:ea typeface="+mn-ea"/>
                <a:cs typeface="Cordia New"/>
              </a:rPr>
              <a:t>ที่สำคัญ</a:t>
            </a:r>
          </a:p>
        </p:txBody>
      </p:sp>
      <p:sp>
        <p:nvSpPr>
          <p:cNvPr id="92" name="Rectangle 91"/>
          <p:cNvSpPr/>
          <p:nvPr/>
        </p:nvSpPr>
        <p:spPr>
          <a:xfrm>
            <a:off x="6963304" y="3458249"/>
            <a:ext cx="2283666" cy="828432"/>
          </a:xfrm>
          <a:prstGeom prst="rect">
            <a:avLst/>
          </a:prstGeom>
        </p:spPr>
        <p:txBody>
          <a:bodyPr wrap="square">
            <a:spAutoFit/>
          </a:bodyPr>
          <a:lstStyle/>
          <a:p>
            <a:pPr marL="0" marR="0" lvl="0" indent="0" algn="ctr" defTabSz="914400" rtl="0" eaLnBrk="1" fontAlgn="base" latinLnBrk="0" hangingPunct="1">
              <a:lnSpc>
                <a:spcPts val="2800"/>
              </a:lnSpc>
              <a:spcBef>
                <a:spcPct val="0"/>
              </a:spcBef>
              <a:spcAft>
                <a:spcPct val="0"/>
              </a:spcAft>
              <a:buClrTx/>
              <a:buSzTx/>
              <a:buFontTx/>
              <a:buNone/>
              <a:tabLst/>
              <a:defRPr/>
            </a:pPr>
            <a:r>
              <a:rPr kumimoji="0" lang="th-TH" sz="2400" b="0" i="0" u="none" strike="noStrike" kern="1200" cap="none" spc="0" normalizeH="0" baseline="0" noProof="0" dirty="0">
                <a:ln>
                  <a:noFill/>
                </a:ln>
                <a:solidFill>
                  <a:prstClr val="black">
                    <a:lumMod val="95000"/>
                    <a:lumOff val="5000"/>
                  </a:prstClr>
                </a:solidFill>
                <a:effectLst/>
                <a:uLnTx/>
                <a:uFillTx/>
                <a:latin typeface="Arial"/>
                <a:ea typeface="+mn-ea"/>
                <a:cs typeface="Cordia New"/>
              </a:rPr>
              <a:t>อ่าน</a:t>
            </a:r>
            <a:r>
              <a:rPr kumimoji="0" lang="th-TH" sz="2400" b="0" i="0" u="none" strike="noStrike" kern="1200" cap="none" spc="0" normalizeH="0" baseline="0" noProof="0" dirty="0" smtClean="0">
                <a:ln>
                  <a:noFill/>
                </a:ln>
                <a:solidFill>
                  <a:prstClr val="black">
                    <a:lumMod val="95000"/>
                    <a:lumOff val="5000"/>
                  </a:prstClr>
                </a:solidFill>
                <a:effectLst/>
                <a:uLnTx/>
                <a:uFillTx/>
                <a:latin typeface="Arial"/>
                <a:ea typeface="+mn-ea"/>
                <a:cs typeface="Cordia New"/>
              </a:rPr>
              <a:t>เบื้องหลังความคิด</a:t>
            </a:r>
          </a:p>
          <a:p>
            <a:pPr marL="0" marR="0" lvl="0" indent="0" algn="ctr" defTabSz="914400" rtl="0" eaLnBrk="1" fontAlgn="base" latinLnBrk="0" hangingPunct="1">
              <a:lnSpc>
                <a:spcPts val="2800"/>
              </a:lnSpc>
              <a:spcBef>
                <a:spcPct val="0"/>
              </a:spcBef>
              <a:spcAft>
                <a:spcPct val="0"/>
              </a:spcAft>
              <a:buClrTx/>
              <a:buSzTx/>
              <a:buFontTx/>
              <a:buNone/>
              <a:tabLst/>
              <a:defRPr/>
            </a:pPr>
            <a:r>
              <a:rPr kumimoji="0" lang="th-TH" sz="2400" b="0" i="0" u="none" strike="noStrike" kern="1200" cap="none" spc="0" normalizeH="0" baseline="0" noProof="0" dirty="0" smtClean="0">
                <a:ln>
                  <a:noFill/>
                </a:ln>
                <a:solidFill>
                  <a:prstClr val="black">
                    <a:lumMod val="95000"/>
                    <a:lumOff val="5000"/>
                  </a:prstClr>
                </a:solidFill>
                <a:effectLst/>
                <a:uLnTx/>
                <a:uFillTx/>
                <a:latin typeface="Arial"/>
                <a:ea typeface="+mn-ea"/>
                <a:cs typeface="Cordia New"/>
              </a:rPr>
              <a:t>เพื่อคิดไปสู่เบื้องหน้า</a:t>
            </a:r>
            <a:endParaRPr kumimoji="0" lang="th-TH" sz="2400" b="0" i="0" u="none" strike="noStrike" kern="1200" cap="none" spc="0" normalizeH="0" baseline="0" noProof="0" dirty="0">
              <a:ln>
                <a:noFill/>
              </a:ln>
              <a:solidFill>
                <a:prstClr val="black">
                  <a:lumMod val="95000"/>
                  <a:lumOff val="5000"/>
                </a:prstClr>
              </a:solidFill>
              <a:effectLst/>
              <a:uLnTx/>
              <a:uFillTx/>
              <a:latin typeface="Arial"/>
              <a:ea typeface="+mn-ea"/>
              <a:cs typeface="Cordia New"/>
            </a:endParaRPr>
          </a:p>
        </p:txBody>
      </p:sp>
      <p:sp>
        <p:nvSpPr>
          <p:cNvPr id="93" name="Rectangle 92"/>
          <p:cNvSpPr/>
          <p:nvPr/>
        </p:nvSpPr>
        <p:spPr>
          <a:xfrm>
            <a:off x="2070809" y="6004120"/>
            <a:ext cx="4965775" cy="461665"/>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th-TH" sz="2400" b="0" i="0" u="none" strike="noStrike" kern="1200" cap="none" spc="0" normalizeH="0" baseline="0" noProof="0" dirty="0" smtClean="0">
                <a:ln>
                  <a:noFill/>
                </a:ln>
                <a:solidFill>
                  <a:prstClr val="black">
                    <a:lumMod val="95000"/>
                    <a:lumOff val="5000"/>
                  </a:prstClr>
                </a:solidFill>
                <a:effectLst/>
                <a:uLnTx/>
                <a:uFillTx/>
                <a:latin typeface="Arial"/>
                <a:ea typeface="+mn-ea"/>
                <a:cs typeface="Cordia New"/>
              </a:rPr>
              <a:t>โยงความสัมพันธ์เข้ากับการงาน</a:t>
            </a:r>
            <a:r>
              <a:rPr kumimoji="0" lang="th-TH" sz="2400" b="0" i="0" u="none" strike="noStrike" kern="1200" cap="none" spc="0" normalizeH="0" baseline="0" noProof="0" dirty="0">
                <a:ln>
                  <a:noFill/>
                </a:ln>
                <a:solidFill>
                  <a:prstClr val="black">
                    <a:lumMod val="95000"/>
                    <a:lumOff val="5000"/>
                  </a:prstClr>
                </a:solidFill>
                <a:effectLst/>
                <a:uLnTx/>
                <a:uFillTx/>
                <a:latin typeface="Arial"/>
                <a:ea typeface="+mn-ea"/>
                <a:cs typeface="Cordia New"/>
              </a:rPr>
              <a:t>จริง</a:t>
            </a:r>
          </a:p>
        </p:txBody>
      </p:sp>
      <p:sp>
        <p:nvSpPr>
          <p:cNvPr id="94" name="Rectangle 93"/>
          <p:cNvSpPr/>
          <p:nvPr/>
        </p:nvSpPr>
        <p:spPr>
          <a:xfrm>
            <a:off x="-133390" y="3554833"/>
            <a:ext cx="2412036" cy="830997"/>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th-TH" sz="2400" b="0" i="0" u="none" strike="noStrike" kern="1200" cap="none" spc="0" normalizeH="0" baseline="0" noProof="0" dirty="0" smtClean="0">
                <a:ln>
                  <a:noFill/>
                </a:ln>
                <a:solidFill>
                  <a:prstClr val="black">
                    <a:lumMod val="95000"/>
                    <a:lumOff val="5000"/>
                  </a:prstClr>
                </a:solidFill>
                <a:effectLst/>
                <a:uLnTx/>
                <a:uFillTx/>
                <a:latin typeface="Arial"/>
                <a:ea typeface="+mn-ea"/>
                <a:cs typeface="Cordia New"/>
              </a:rPr>
              <a:t>บันทึกการเรียนรู้</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th-TH" sz="2400" b="0" i="0" u="none" strike="noStrike" kern="1200" cap="none" spc="0" normalizeH="0" baseline="0" noProof="0" dirty="0" smtClean="0">
                <a:ln>
                  <a:noFill/>
                </a:ln>
                <a:solidFill>
                  <a:prstClr val="black">
                    <a:lumMod val="95000"/>
                    <a:lumOff val="5000"/>
                  </a:prstClr>
                </a:solidFill>
                <a:effectLst/>
                <a:uLnTx/>
                <a:uFillTx/>
                <a:latin typeface="Arial"/>
                <a:ea typeface="+mn-ea"/>
                <a:cs typeface="Cordia New"/>
              </a:rPr>
              <a:t>แห่งความสำเร็จ/ผิดพลาด</a:t>
            </a:r>
            <a:endParaRPr kumimoji="0" lang="th-TH" sz="2400" b="0" i="0" u="none" strike="noStrike" kern="1200" cap="none" spc="0" normalizeH="0" baseline="0" noProof="0" dirty="0">
              <a:ln>
                <a:noFill/>
              </a:ln>
              <a:solidFill>
                <a:prstClr val="black">
                  <a:lumMod val="95000"/>
                  <a:lumOff val="5000"/>
                </a:prstClr>
              </a:solidFill>
              <a:effectLst/>
              <a:uLnTx/>
              <a:uFillTx/>
              <a:latin typeface="Arial"/>
              <a:ea typeface="+mn-ea"/>
              <a:cs typeface="Cordia New"/>
            </a:endParaRPr>
          </a:p>
        </p:txBody>
      </p:sp>
      <p:sp>
        <p:nvSpPr>
          <p:cNvPr id="95" name="TextBox 94"/>
          <p:cNvSpPr txBox="1"/>
          <p:nvPr/>
        </p:nvSpPr>
        <p:spPr>
          <a:xfrm>
            <a:off x="241059" y="4581128"/>
            <a:ext cx="1712890" cy="2067233"/>
          </a:xfrm>
          <a:prstGeom prst="rect">
            <a:avLst/>
          </a:prstGeom>
          <a:solidFill>
            <a:sysClr val="window" lastClr="FFFFFF"/>
          </a:solidFill>
          <a:scene3d>
            <a:camera prst="orthographicFront"/>
            <a:lightRig rig="threePt" dir="t"/>
          </a:scene3d>
          <a:sp3d>
            <a:bevelT/>
          </a:sp3d>
        </p:spPr>
        <p:txBody>
          <a:bodyPr wrap="square" rtlCol="0">
            <a:spAutoFit/>
          </a:bodyPr>
          <a:lstStyle/>
          <a:p>
            <a:pPr marL="0" marR="0" lvl="0" indent="0" algn="ctr" defTabSz="914400" rtl="0" eaLnBrk="1" fontAlgn="auto" latinLnBrk="0" hangingPunct="1">
              <a:lnSpc>
                <a:spcPts val="5000"/>
              </a:lnSpc>
              <a:spcBef>
                <a:spcPts val="0"/>
              </a:spcBef>
              <a:spcAft>
                <a:spcPts val="0"/>
              </a:spcAft>
              <a:buClrTx/>
              <a:buSzTx/>
              <a:buFontTx/>
              <a:buNone/>
              <a:tabLst/>
              <a:defRPr/>
            </a:pPr>
            <a:r>
              <a:rPr kumimoji="0" lang="th-TH" sz="6000" b="0" i="0" u="none" strike="noStrike" kern="0" cap="none" spc="0" normalizeH="0" baseline="0" noProof="0" dirty="0" smtClean="0">
                <a:ln w="0"/>
                <a:solidFill>
                  <a:srgbClr val="FF3300"/>
                </a:solidFill>
                <a:effectLst>
                  <a:outerShdw blurRad="38100" dist="19050" dir="2700000" algn="tl" rotWithShape="0">
                    <a:prstClr val="black">
                      <a:alpha val="40000"/>
                    </a:prstClr>
                  </a:outerShdw>
                </a:effectLst>
                <a:uLnTx/>
                <a:uFillTx/>
                <a:latin typeface="Arial"/>
                <a:ea typeface="+mn-ea"/>
                <a:cs typeface="Angsana New" pitchFamily="18" charset="-34"/>
              </a:rPr>
              <a:t>ผมเล่า</a:t>
            </a:r>
          </a:p>
          <a:p>
            <a:pPr marL="0" marR="0" lvl="0" indent="0" algn="ctr" defTabSz="914400" rtl="0" eaLnBrk="1" fontAlgn="auto" latinLnBrk="0" hangingPunct="1">
              <a:lnSpc>
                <a:spcPts val="5000"/>
              </a:lnSpc>
              <a:spcBef>
                <a:spcPts val="0"/>
              </a:spcBef>
              <a:spcAft>
                <a:spcPts val="0"/>
              </a:spcAft>
              <a:buClrTx/>
              <a:buSzTx/>
              <a:buFontTx/>
              <a:buNone/>
              <a:tabLst/>
              <a:defRPr/>
            </a:pPr>
            <a:r>
              <a:rPr kumimoji="0" lang="th-TH" sz="5400" b="0" i="0" u="none" strike="noStrike" kern="0" cap="none" spc="0" normalizeH="0" baseline="0" noProof="0" dirty="0" smtClean="0">
                <a:ln w="0"/>
                <a:solidFill>
                  <a:srgbClr val="FF3300"/>
                </a:solidFill>
                <a:effectLst>
                  <a:outerShdw blurRad="38100" dist="19050" dir="2700000" algn="tl" rotWithShape="0">
                    <a:prstClr val="black">
                      <a:alpha val="40000"/>
                    </a:prstClr>
                  </a:outerShdw>
                </a:effectLst>
                <a:uLnTx/>
                <a:uFillTx/>
                <a:latin typeface="Arial"/>
                <a:ea typeface="+mn-ea"/>
                <a:cs typeface="Angsana New" pitchFamily="18" charset="-34"/>
              </a:rPr>
              <a:t>ท่านคิด</a:t>
            </a:r>
          </a:p>
          <a:p>
            <a:pPr marL="0" marR="0" lvl="0" indent="0" algn="ctr" defTabSz="914400" rtl="0" eaLnBrk="1" fontAlgn="auto" latinLnBrk="0" hangingPunct="1">
              <a:lnSpc>
                <a:spcPts val="3000"/>
              </a:lnSpc>
              <a:spcBef>
                <a:spcPts val="0"/>
              </a:spcBef>
              <a:spcAft>
                <a:spcPts val="0"/>
              </a:spcAft>
              <a:buClrTx/>
              <a:buSzTx/>
              <a:buFontTx/>
              <a:buNone/>
              <a:tabLst/>
              <a:defRPr/>
            </a:pPr>
            <a:r>
              <a:rPr kumimoji="0" lang="th-TH" sz="3700" b="0" i="0" u="none" strike="noStrike" kern="0" cap="none" spc="0" normalizeH="0" baseline="0" noProof="0" dirty="0" smtClean="0">
                <a:ln w="0"/>
                <a:solidFill>
                  <a:srgbClr val="FF3300"/>
                </a:solidFill>
                <a:effectLst>
                  <a:outerShdw blurRad="38100" dist="19050" dir="2700000" algn="tl" rotWithShape="0">
                    <a:prstClr val="black">
                      <a:alpha val="40000"/>
                    </a:prstClr>
                  </a:outerShdw>
                </a:effectLst>
                <a:uLnTx/>
                <a:uFillTx/>
                <a:latin typeface="Arial"/>
                <a:ea typeface="+mn-ea"/>
                <a:cs typeface="Angsana New" pitchFamily="18" charset="-34"/>
              </a:rPr>
              <a:t>สู่โหมดชีวิต</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2000" b="0" i="0" u="none" strike="noStrike" kern="0" cap="none" spc="0" normalizeH="0" baseline="0" noProof="0" dirty="0" smtClean="0">
                <a:ln w="0"/>
                <a:solidFill>
                  <a:srgbClr val="FF3300"/>
                </a:solidFill>
                <a:effectLst>
                  <a:outerShdw blurRad="38100" dist="19050" dir="2700000" algn="tl" rotWithShape="0">
                    <a:prstClr val="black">
                      <a:alpha val="40000"/>
                    </a:prstClr>
                  </a:outerShdw>
                </a:effectLst>
                <a:uLnTx/>
                <a:uFillTx/>
                <a:latin typeface="Arial"/>
                <a:ea typeface="+mn-ea"/>
                <a:cs typeface="Angsana New" pitchFamily="18" charset="-34"/>
              </a:rPr>
              <a:t>สรุปความคิดรวบยอด</a:t>
            </a:r>
            <a:endParaRPr kumimoji="0" lang="th-TH" sz="6600" b="0" i="0" u="none" strike="noStrike" kern="0" cap="none" spc="0" normalizeH="0" baseline="0" noProof="0" dirty="0" smtClean="0">
              <a:ln w="0"/>
              <a:solidFill>
                <a:srgbClr val="FF3300"/>
              </a:solidFill>
              <a:effectLst>
                <a:outerShdw blurRad="38100" dist="19050" dir="2700000" algn="tl" rotWithShape="0">
                  <a:prstClr val="black">
                    <a:alpha val="40000"/>
                  </a:prstClr>
                </a:outerShdw>
              </a:effectLst>
              <a:uLnTx/>
              <a:uFillTx/>
              <a:latin typeface="Arial"/>
              <a:ea typeface="+mn-ea"/>
              <a:cs typeface="Angsana New" pitchFamily="18" charset="-34"/>
            </a:endParaRPr>
          </a:p>
        </p:txBody>
      </p:sp>
      <p:sp>
        <p:nvSpPr>
          <p:cNvPr id="96" name="Circular Arrow 95"/>
          <p:cNvSpPr/>
          <p:nvPr/>
        </p:nvSpPr>
        <p:spPr>
          <a:xfrm>
            <a:off x="3966930" y="2787501"/>
            <a:ext cx="1140820" cy="1140820"/>
          </a:xfrm>
          <a:prstGeom prst="circularArrow">
            <a:avLst>
              <a:gd name="adj1" fmla="val 5085"/>
              <a:gd name="adj2" fmla="val 327528"/>
              <a:gd name="adj3" fmla="val 21272472"/>
              <a:gd name="adj4" fmla="val 16200000"/>
              <a:gd name="adj5" fmla="val 5932"/>
            </a:avLst>
          </a:prstGeom>
          <a:gradFill rotWithShape="1">
            <a:gsLst>
              <a:gs pos="0">
                <a:srgbClr val="9BBB59">
                  <a:tint val="60000"/>
                  <a:hueOff val="0"/>
                  <a:satOff val="0"/>
                  <a:lumOff val="0"/>
                  <a:alphaOff val="0"/>
                  <a:shade val="60000"/>
                </a:srgbClr>
              </a:gs>
              <a:gs pos="33000">
                <a:srgbClr val="9BBB59">
                  <a:tint val="60000"/>
                  <a:hueOff val="0"/>
                  <a:satOff val="0"/>
                  <a:lumOff val="0"/>
                  <a:alphaOff val="0"/>
                  <a:tint val="86500"/>
                </a:srgbClr>
              </a:gs>
              <a:gs pos="46750">
                <a:srgbClr val="9BBB59">
                  <a:tint val="60000"/>
                  <a:hueOff val="0"/>
                  <a:satOff val="0"/>
                  <a:lumOff val="0"/>
                  <a:alphaOff val="0"/>
                  <a:tint val="71000"/>
                  <a:satMod val="112000"/>
                </a:srgbClr>
              </a:gs>
              <a:gs pos="53000">
                <a:srgbClr val="9BBB59">
                  <a:tint val="60000"/>
                  <a:hueOff val="0"/>
                  <a:satOff val="0"/>
                  <a:lumOff val="0"/>
                  <a:alphaOff val="0"/>
                  <a:tint val="71000"/>
                  <a:satMod val="112000"/>
                </a:srgbClr>
              </a:gs>
              <a:gs pos="68000">
                <a:srgbClr val="9BBB59">
                  <a:tint val="60000"/>
                  <a:hueOff val="0"/>
                  <a:satOff val="0"/>
                  <a:lumOff val="0"/>
                  <a:alphaOff val="0"/>
                  <a:tint val="86000"/>
                </a:srgbClr>
              </a:gs>
              <a:gs pos="100000">
                <a:srgbClr val="9BBB59">
                  <a:tint val="60000"/>
                  <a:hueOff val="0"/>
                  <a:satOff val="0"/>
                  <a:lumOff val="0"/>
                  <a:alphaOff val="0"/>
                  <a:shade val="60000"/>
                </a:srgbClr>
              </a:gs>
            </a:gsLst>
            <a:lin ang="8350000" scaled="1"/>
          </a:gradFill>
          <a:ln>
            <a:noFill/>
          </a:ln>
          <a:effectLst>
            <a:outerShdw blurRad="190500" dist="228600" dir="2700000" sy="90000" rotWithShape="0">
              <a:srgbClr val="000000">
                <a:alpha val="25500"/>
              </a:srgbClr>
            </a:outerShdw>
          </a:effectLst>
          <a:scene3d>
            <a:camera prst="orthographicFront"/>
            <a:lightRig rig="flat" dir="t"/>
          </a:scene3d>
          <a:sp3d z="127000" prstMaterial="plastic">
            <a:bevelT w="50800" h="50800"/>
            <a:bevelB w="25400" h="25400" prst="angle"/>
          </a:sp3d>
        </p:spPr>
      </p:sp>
      <p:sp>
        <p:nvSpPr>
          <p:cNvPr id="97" name="Circular Arrow 96"/>
          <p:cNvSpPr/>
          <p:nvPr/>
        </p:nvSpPr>
        <p:spPr>
          <a:xfrm>
            <a:off x="3966930" y="2821580"/>
            <a:ext cx="1140820" cy="1140820"/>
          </a:xfrm>
          <a:prstGeom prst="circularArrow">
            <a:avLst>
              <a:gd name="adj1" fmla="val 5085"/>
              <a:gd name="adj2" fmla="val 327528"/>
              <a:gd name="adj3" fmla="val 5072472"/>
              <a:gd name="adj4" fmla="val 48508"/>
              <a:gd name="adj5" fmla="val 5932"/>
            </a:avLst>
          </a:prstGeom>
          <a:gradFill rotWithShape="1">
            <a:gsLst>
              <a:gs pos="0">
                <a:srgbClr val="9BBB59">
                  <a:tint val="60000"/>
                  <a:hueOff val="0"/>
                  <a:satOff val="0"/>
                  <a:lumOff val="0"/>
                  <a:alphaOff val="0"/>
                  <a:shade val="60000"/>
                </a:srgbClr>
              </a:gs>
              <a:gs pos="33000">
                <a:srgbClr val="9BBB59">
                  <a:tint val="60000"/>
                  <a:hueOff val="0"/>
                  <a:satOff val="0"/>
                  <a:lumOff val="0"/>
                  <a:alphaOff val="0"/>
                  <a:tint val="86500"/>
                </a:srgbClr>
              </a:gs>
              <a:gs pos="46750">
                <a:srgbClr val="9BBB59">
                  <a:tint val="60000"/>
                  <a:hueOff val="0"/>
                  <a:satOff val="0"/>
                  <a:lumOff val="0"/>
                  <a:alphaOff val="0"/>
                  <a:tint val="71000"/>
                  <a:satMod val="112000"/>
                </a:srgbClr>
              </a:gs>
              <a:gs pos="53000">
                <a:srgbClr val="9BBB59">
                  <a:tint val="60000"/>
                  <a:hueOff val="0"/>
                  <a:satOff val="0"/>
                  <a:lumOff val="0"/>
                  <a:alphaOff val="0"/>
                  <a:tint val="71000"/>
                  <a:satMod val="112000"/>
                </a:srgbClr>
              </a:gs>
              <a:gs pos="68000">
                <a:srgbClr val="9BBB59">
                  <a:tint val="60000"/>
                  <a:hueOff val="0"/>
                  <a:satOff val="0"/>
                  <a:lumOff val="0"/>
                  <a:alphaOff val="0"/>
                  <a:tint val="86000"/>
                </a:srgbClr>
              </a:gs>
              <a:gs pos="100000">
                <a:srgbClr val="9BBB59">
                  <a:tint val="60000"/>
                  <a:hueOff val="0"/>
                  <a:satOff val="0"/>
                  <a:lumOff val="0"/>
                  <a:alphaOff val="0"/>
                  <a:shade val="60000"/>
                </a:srgbClr>
              </a:gs>
            </a:gsLst>
            <a:lin ang="8350000" scaled="1"/>
          </a:gradFill>
          <a:ln>
            <a:noFill/>
          </a:ln>
          <a:effectLst>
            <a:outerShdw blurRad="190500" dist="228600" dir="2700000" sy="90000" rotWithShape="0">
              <a:srgbClr val="000000">
                <a:alpha val="25500"/>
              </a:srgbClr>
            </a:outerShdw>
          </a:effectLst>
          <a:scene3d>
            <a:camera prst="orthographicFront"/>
            <a:lightRig rig="flat" dir="t"/>
          </a:scene3d>
          <a:sp3d z="127000" prstMaterial="plastic">
            <a:bevelT w="50800" h="50800"/>
            <a:bevelB w="25400" h="25400" prst="angle"/>
          </a:sp3d>
        </p:spPr>
      </p:sp>
      <p:sp>
        <p:nvSpPr>
          <p:cNvPr id="98" name="Circular Arrow 97"/>
          <p:cNvSpPr/>
          <p:nvPr/>
        </p:nvSpPr>
        <p:spPr>
          <a:xfrm>
            <a:off x="3932851" y="2821580"/>
            <a:ext cx="1140820" cy="1140820"/>
          </a:xfrm>
          <a:prstGeom prst="circularArrow">
            <a:avLst>
              <a:gd name="adj1" fmla="val 5085"/>
              <a:gd name="adj2" fmla="val 327528"/>
              <a:gd name="adj3" fmla="val 10472472"/>
              <a:gd name="adj4" fmla="val 5400000"/>
              <a:gd name="adj5" fmla="val 5932"/>
            </a:avLst>
          </a:prstGeom>
          <a:gradFill rotWithShape="1">
            <a:gsLst>
              <a:gs pos="0">
                <a:srgbClr val="9BBB59">
                  <a:tint val="60000"/>
                  <a:hueOff val="0"/>
                  <a:satOff val="0"/>
                  <a:lumOff val="0"/>
                  <a:alphaOff val="0"/>
                  <a:shade val="60000"/>
                </a:srgbClr>
              </a:gs>
              <a:gs pos="33000">
                <a:srgbClr val="9BBB59">
                  <a:tint val="60000"/>
                  <a:hueOff val="0"/>
                  <a:satOff val="0"/>
                  <a:lumOff val="0"/>
                  <a:alphaOff val="0"/>
                  <a:tint val="86500"/>
                </a:srgbClr>
              </a:gs>
              <a:gs pos="46750">
                <a:srgbClr val="9BBB59">
                  <a:tint val="60000"/>
                  <a:hueOff val="0"/>
                  <a:satOff val="0"/>
                  <a:lumOff val="0"/>
                  <a:alphaOff val="0"/>
                  <a:tint val="71000"/>
                  <a:satMod val="112000"/>
                </a:srgbClr>
              </a:gs>
              <a:gs pos="53000">
                <a:srgbClr val="9BBB59">
                  <a:tint val="60000"/>
                  <a:hueOff val="0"/>
                  <a:satOff val="0"/>
                  <a:lumOff val="0"/>
                  <a:alphaOff val="0"/>
                  <a:tint val="71000"/>
                  <a:satMod val="112000"/>
                </a:srgbClr>
              </a:gs>
              <a:gs pos="68000">
                <a:srgbClr val="9BBB59">
                  <a:tint val="60000"/>
                  <a:hueOff val="0"/>
                  <a:satOff val="0"/>
                  <a:lumOff val="0"/>
                  <a:alphaOff val="0"/>
                  <a:tint val="86000"/>
                </a:srgbClr>
              </a:gs>
              <a:gs pos="100000">
                <a:srgbClr val="9BBB59">
                  <a:tint val="60000"/>
                  <a:hueOff val="0"/>
                  <a:satOff val="0"/>
                  <a:lumOff val="0"/>
                  <a:alphaOff val="0"/>
                  <a:shade val="60000"/>
                </a:srgbClr>
              </a:gs>
            </a:gsLst>
            <a:lin ang="8350000" scaled="1"/>
          </a:gradFill>
          <a:ln>
            <a:noFill/>
          </a:ln>
          <a:effectLst>
            <a:outerShdw blurRad="190500" dist="228600" dir="2700000" sy="90000" rotWithShape="0">
              <a:srgbClr val="000000">
                <a:alpha val="25500"/>
              </a:srgbClr>
            </a:outerShdw>
          </a:effectLst>
          <a:scene3d>
            <a:camera prst="orthographicFront"/>
            <a:lightRig rig="flat" dir="t"/>
          </a:scene3d>
          <a:sp3d z="127000" prstMaterial="plastic">
            <a:bevelT w="50800" h="50800"/>
            <a:bevelB w="25400" h="25400" prst="angle"/>
          </a:sp3d>
        </p:spPr>
      </p:sp>
      <p:sp>
        <p:nvSpPr>
          <p:cNvPr id="99" name="Circular Arrow 98"/>
          <p:cNvSpPr/>
          <p:nvPr/>
        </p:nvSpPr>
        <p:spPr>
          <a:xfrm>
            <a:off x="3932851" y="2787501"/>
            <a:ext cx="1140820" cy="1140820"/>
          </a:xfrm>
          <a:prstGeom prst="circularArrow">
            <a:avLst>
              <a:gd name="adj1" fmla="val 5085"/>
              <a:gd name="adj2" fmla="val 327528"/>
              <a:gd name="adj3" fmla="val 15872472"/>
              <a:gd name="adj4" fmla="val 10800000"/>
              <a:gd name="adj5" fmla="val 5932"/>
            </a:avLst>
          </a:prstGeom>
          <a:gradFill rotWithShape="1">
            <a:gsLst>
              <a:gs pos="0">
                <a:srgbClr val="9BBB59">
                  <a:tint val="60000"/>
                  <a:hueOff val="0"/>
                  <a:satOff val="0"/>
                  <a:lumOff val="0"/>
                  <a:alphaOff val="0"/>
                  <a:shade val="60000"/>
                </a:srgbClr>
              </a:gs>
              <a:gs pos="33000">
                <a:srgbClr val="9BBB59">
                  <a:tint val="60000"/>
                  <a:hueOff val="0"/>
                  <a:satOff val="0"/>
                  <a:lumOff val="0"/>
                  <a:alphaOff val="0"/>
                  <a:tint val="86500"/>
                </a:srgbClr>
              </a:gs>
              <a:gs pos="46750">
                <a:srgbClr val="9BBB59">
                  <a:tint val="60000"/>
                  <a:hueOff val="0"/>
                  <a:satOff val="0"/>
                  <a:lumOff val="0"/>
                  <a:alphaOff val="0"/>
                  <a:tint val="71000"/>
                  <a:satMod val="112000"/>
                </a:srgbClr>
              </a:gs>
              <a:gs pos="53000">
                <a:srgbClr val="9BBB59">
                  <a:tint val="60000"/>
                  <a:hueOff val="0"/>
                  <a:satOff val="0"/>
                  <a:lumOff val="0"/>
                  <a:alphaOff val="0"/>
                  <a:tint val="71000"/>
                  <a:satMod val="112000"/>
                </a:srgbClr>
              </a:gs>
              <a:gs pos="68000">
                <a:srgbClr val="9BBB59">
                  <a:tint val="60000"/>
                  <a:hueOff val="0"/>
                  <a:satOff val="0"/>
                  <a:lumOff val="0"/>
                  <a:alphaOff val="0"/>
                  <a:tint val="86000"/>
                </a:srgbClr>
              </a:gs>
              <a:gs pos="100000">
                <a:srgbClr val="9BBB59">
                  <a:tint val="60000"/>
                  <a:hueOff val="0"/>
                  <a:satOff val="0"/>
                  <a:lumOff val="0"/>
                  <a:alphaOff val="0"/>
                  <a:shade val="60000"/>
                </a:srgbClr>
              </a:gs>
            </a:gsLst>
            <a:lin ang="8350000" scaled="1"/>
          </a:gradFill>
          <a:ln>
            <a:noFill/>
          </a:ln>
          <a:effectLst>
            <a:outerShdw blurRad="190500" dist="228600" dir="2700000" sy="90000" rotWithShape="0">
              <a:srgbClr val="000000">
                <a:alpha val="25500"/>
              </a:srgbClr>
            </a:outerShdw>
          </a:effectLst>
          <a:scene3d>
            <a:camera prst="orthographicFront"/>
            <a:lightRig rig="flat" dir="t"/>
          </a:scene3d>
          <a:sp3d z="127000" prstMaterial="plastic">
            <a:bevelT w="50800" h="50800"/>
            <a:bevelB w="25400" h="25400" prst="angle"/>
          </a:sp3d>
        </p:spPr>
      </p:sp>
      <p:sp>
        <p:nvSpPr>
          <p:cNvPr id="6" name="Slide Number Placeholder 5"/>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92B0ED-4054-42B7-A893-2D57CE8DC8A6}" type="slidenum">
              <a:rPr kumimoji="0" lang="th-TH"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th-TH" sz="1600" b="0" i="0" u="none" strike="noStrike" kern="1200" cap="none" spc="0" normalizeH="0" baseline="0" noProof="0" dirty="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
        <p:nvSpPr>
          <p:cNvPr id="30" name="TextBox 29"/>
          <p:cNvSpPr txBox="1"/>
          <p:nvPr/>
        </p:nvSpPr>
        <p:spPr>
          <a:xfrm>
            <a:off x="314392" y="652372"/>
            <a:ext cx="2369653" cy="454693"/>
          </a:xfrm>
          <a:prstGeom prst="rect">
            <a:avLst/>
          </a:prstGeom>
          <a:noFill/>
        </p:spPr>
        <p:txBody>
          <a:bodyPr wrap="none">
            <a:prstTxWarp prst="textPlain">
              <a:avLst/>
            </a:prstTxWarp>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th-TH" sz="8800" b="0" i="0" u="none" strike="noStrike" kern="1200" cap="none" spc="0" normalizeH="0" baseline="0" noProof="0" dirty="0" smtClean="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uLnTx/>
                <a:uFillTx/>
                <a:latin typeface="Cordia New" pitchFamily="34" charset="-34"/>
                <a:ea typeface="+mn-ea"/>
                <a:cs typeface="Cordia New" pitchFamily="34" charset="-34"/>
              </a:rPr>
              <a:t>แนวคิดการเรียนรู้</a:t>
            </a:r>
            <a:endParaRPr kumimoji="0" lang="th-TH" sz="8800" b="0" i="0" u="none" strike="noStrike" kern="1200" cap="none" spc="0" normalizeH="0" baseline="0" noProof="0" dirty="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uLnTx/>
              <a:uFillTx/>
              <a:latin typeface="Cordia New" pitchFamily="34" charset="-34"/>
              <a:ea typeface="+mn-ea"/>
              <a:cs typeface="Cordia New" pitchFamily="34" charset="-34"/>
            </a:endParaRPr>
          </a:p>
        </p:txBody>
      </p:sp>
    </p:spTree>
    <p:extLst>
      <p:ext uri="{BB962C8B-B14F-4D97-AF65-F5344CB8AC3E}">
        <p14:creationId xmlns:p14="http://schemas.microsoft.com/office/powerpoint/2010/main" val="2880964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83"/>
                                        </p:tgtEl>
                                        <p:attrNameLst>
                                          <p:attrName>style.visibility</p:attrName>
                                        </p:attrNameLst>
                                      </p:cBhvr>
                                      <p:to>
                                        <p:strVal val="visible"/>
                                      </p:to>
                                    </p:set>
                                    <p:animEffect transition="in" filter="wipe(left)">
                                      <p:cBhvr>
                                        <p:cTn id="7" dur="500"/>
                                        <p:tgtEl>
                                          <p:spTgt spid="8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89"/>
                                        </p:tgtEl>
                                        <p:attrNameLst>
                                          <p:attrName>style.visibility</p:attrName>
                                        </p:attrNameLst>
                                      </p:cBhvr>
                                      <p:to>
                                        <p:strVal val="visible"/>
                                      </p:to>
                                    </p:set>
                                    <p:animEffect transition="in" filter="wipe(left)">
                                      <p:cBhvr>
                                        <p:cTn id="12" dur="500"/>
                                        <p:tgtEl>
                                          <p:spTgt spid="89"/>
                                        </p:tgtEl>
                                      </p:cBhvr>
                                    </p:animEffect>
                                  </p:childTnLst>
                                </p:cTn>
                              </p:par>
                            </p:childTnLst>
                          </p:cTn>
                        </p:par>
                        <p:par>
                          <p:cTn id="13" fill="hold">
                            <p:stCondLst>
                              <p:cond delay="500"/>
                            </p:stCondLst>
                            <p:childTnLst>
                              <p:par>
                                <p:cTn id="14" presetID="22" presetClass="entr" presetSubtype="8" fill="hold" grpId="0" nodeType="afterEffect">
                                  <p:stCondLst>
                                    <p:cond delay="0"/>
                                  </p:stCondLst>
                                  <p:childTnLst>
                                    <p:set>
                                      <p:cBhvr>
                                        <p:cTn id="15" dur="1" fill="hold">
                                          <p:stCondLst>
                                            <p:cond delay="0"/>
                                          </p:stCondLst>
                                        </p:cTn>
                                        <p:tgtEl>
                                          <p:spTgt spid="91"/>
                                        </p:tgtEl>
                                        <p:attrNameLst>
                                          <p:attrName>style.visibility</p:attrName>
                                        </p:attrNameLst>
                                      </p:cBhvr>
                                      <p:to>
                                        <p:strVal val="visible"/>
                                      </p:to>
                                    </p:set>
                                    <p:animEffect transition="in" filter="wipe(left)">
                                      <p:cBhvr>
                                        <p:cTn id="16" dur="500"/>
                                        <p:tgtEl>
                                          <p:spTgt spid="9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1" fill="hold" nodeType="clickEffect">
                                  <p:stCondLst>
                                    <p:cond delay="0"/>
                                  </p:stCondLst>
                                  <p:childTnLst>
                                    <p:set>
                                      <p:cBhvr>
                                        <p:cTn id="20" dur="1" fill="hold">
                                          <p:stCondLst>
                                            <p:cond delay="0"/>
                                          </p:stCondLst>
                                        </p:cTn>
                                        <p:tgtEl>
                                          <p:spTgt spid="96"/>
                                        </p:tgtEl>
                                        <p:attrNameLst>
                                          <p:attrName>style.visibility</p:attrName>
                                        </p:attrNameLst>
                                      </p:cBhvr>
                                      <p:to>
                                        <p:strVal val="visible"/>
                                      </p:to>
                                    </p:set>
                                    <p:animEffect transition="in" filter="wipe(up)">
                                      <p:cBhvr>
                                        <p:cTn id="21" dur="500"/>
                                        <p:tgtEl>
                                          <p:spTgt spid="96"/>
                                        </p:tgtEl>
                                      </p:cBhvr>
                                    </p:animEffect>
                                  </p:childTnLst>
                                </p:cTn>
                              </p:par>
                            </p:childTnLst>
                          </p:cTn>
                        </p:par>
                        <p:par>
                          <p:cTn id="22" fill="hold">
                            <p:stCondLst>
                              <p:cond delay="500"/>
                            </p:stCondLst>
                            <p:childTnLst>
                              <p:par>
                                <p:cTn id="23" presetID="22" presetClass="entr" presetSubtype="8" fill="hold" grpId="0" nodeType="afterEffect">
                                  <p:stCondLst>
                                    <p:cond delay="0"/>
                                  </p:stCondLst>
                                  <p:childTnLst>
                                    <p:set>
                                      <p:cBhvr>
                                        <p:cTn id="24" dur="1" fill="hold">
                                          <p:stCondLst>
                                            <p:cond delay="0"/>
                                          </p:stCondLst>
                                        </p:cTn>
                                        <p:tgtEl>
                                          <p:spTgt spid="84"/>
                                        </p:tgtEl>
                                        <p:attrNameLst>
                                          <p:attrName>style.visibility</p:attrName>
                                        </p:attrNameLst>
                                      </p:cBhvr>
                                      <p:to>
                                        <p:strVal val="visible"/>
                                      </p:to>
                                    </p:set>
                                    <p:animEffect transition="in" filter="wipe(left)">
                                      <p:cBhvr>
                                        <p:cTn id="25" dur="500"/>
                                        <p:tgtEl>
                                          <p:spTgt spid="84"/>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87"/>
                                        </p:tgtEl>
                                        <p:attrNameLst>
                                          <p:attrName>style.visibility</p:attrName>
                                        </p:attrNameLst>
                                      </p:cBhvr>
                                      <p:to>
                                        <p:strVal val="visible"/>
                                      </p:to>
                                    </p:set>
                                    <p:animEffect transition="in" filter="wipe(left)">
                                      <p:cBhvr>
                                        <p:cTn id="30" dur="500"/>
                                        <p:tgtEl>
                                          <p:spTgt spid="87"/>
                                        </p:tgtEl>
                                      </p:cBhvr>
                                    </p:animEffect>
                                  </p:childTnLst>
                                </p:cTn>
                              </p:par>
                            </p:childTnLst>
                          </p:cTn>
                        </p:par>
                        <p:par>
                          <p:cTn id="31" fill="hold">
                            <p:stCondLst>
                              <p:cond delay="500"/>
                            </p:stCondLst>
                            <p:childTnLst>
                              <p:par>
                                <p:cTn id="32" presetID="22" presetClass="entr" presetSubtype="8" fill="hold" grpId="0" nodeType="afterEffect">
                                  <p:stCondLst>
                                    <p:cond delay="0"/>
                                  </p:stCondLst>
                                  <p:childTnLst>
                                    <p:set>
                                      <p:cBhvr>
                                        <p:cTn id="33" dur="1" fill="hold">
                                          <p:stCondLst>
                                            <p:cond delay="0"/>
                                          </p:stCondLst>
                                        </p:cTn>
                                        <p:tgtEl>
                                          <p:spTgt spid="92"/>
                                        </p:tgtEl>
                                        <p:attrNameLst>
                                          <p:attrName>style.visibility</p:attrName>
                                        </p:attrNameLst>
                                      </p:cBhvr>
                                      <p:to>
                                        <p:strVal val="visible"/>
                                      </p:to>
                                    </p:set>
                                    <p:animEffect transition="in" filter="wipe(left)">
                                      <p:cBhvr>
                                        <p:cTn id="34" dur="500"/>
                                        <p:tgtEl>
                                          <p:spTgt spid="92"/>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1" fill="hold" nodeType="clickEffect">
                                  <p:stCondLst>
                                    <p:cond delay="0"/>
                                  </p:stCondLst>
                                  <p:childTnLst>
                                    <p:set>
                                      <p:cBhvr>
                                        <p:cTn id="38" dur="1" fill="hold">
                                          <p:stCondLst>
                                            <p:cond delay="0"/>
                                          </p:stCondLst>
                                        </p:cTn>
                                        <p:tgtEl>
                                          <p:spTgt spid="97"/>
                                        </p:tgtEl>
                                        <p:attrNameLst>
                                          <p:attrName>style.visibility</p:attrName>
                                        </p:attrNameLst>
                                      </p:cBhvr>
                                      <p:to>
                                        <p:strVal val="visible"/>
                                      </p:to>
                                    </p:set>
                                    <p:animEffect transition="in" filter="wipe(up)">
                                      <p:cBhvr>
                                        <p:cTn id="39" dur="500"/>
                                        <p:tgtEl>
                                          <p:spTgt spid="97"/>
                                        </p:tgtEl>
                                      </p:cBhvr>
                                    </p:animEffect>
                                  </p:childTnLst>
                                </p:cTn>
                              </p:par>
                            </p:childTnLst>
                          </p:cTn>
                        </p:par>
                        <p:par>
                          <p:cTn id="40" fill="hold">
                            <p:stCondLst>
                              <p:cond delay="500"/>
                            </p:stCondLst>
                            <p:childTnLst>
                              <p:par>
                                <p:cTn id="41" presetID="22" presetClass="entr" presetSubtype="8" fill="hold" grpId="0" nodeType="afterEffect">
                                  <p:stCondLst>
                                    <p:cond delay="0"/>
                                  </p:stCondLst>
                                  <p:childTnLst>
                                    <p:set>
                                      <p:cBhvr>
                                        <p:cTn id="42" dur="1" fill="hold">
                                          <p:stCondLst>
                                            <p:cond delay="0"/>
                                          </p:stCondLst>
                                        </p:cTn>
                                        <p:tgtEl>
                                          <p:spTgt spid="85"/>
                                        </p:tgtEl>
                                        <p:attrNameLst>
                                          <p:attrName>style.visibility</p:attrName>
                                        </p:attrNameLst>
                                      </p:cBhvr>
                                      <p:to>
                                        <p:strVal val="visible"/>
                                      </p:to>
                                    </p:set>
                                    <p:animEffect transition="in" filter="wipe(left)">
                                      <p:cBhvr>
                                        <p:cTn id="43" dur="500"/>
                                        <p:tgtEl>
                                          <p:spTgt spid="85"/>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nodeType="clickEffect">
                                  <p:stCondLst>
                                    <p:cond delay="0"/>
                                  </p:stCondLst>
                                  <p:childTnLst>
                                    <p:set>
                                      <p:cBhvr>
                                        <p:cTn id="47" dur="1" fill="hold">
                                          <p:stCondLst>
                                            <p:cond delay="0"/>
                                          </p:stCondLst>
                                        </p:cTn>
                                        <p:tgtEl>
                                          <p:spTgt spid="90"/>
                                        </p:tgtEl>
                                        <p:attrNameLst>
                                          <p:attrName>style.visibility</p:attrName>
                                        </p:attrNameLst>
                                      </p:cBhvr>
                                      <p:to>
                                        <p:strVal val="visible"/>
                                      </p:to>
                                    </p:set>
                                    <p:animEffect transition="in" filter="wipe(left)">
                                      <p:cBhvr>
                                        <p:cTn id="48" dur="500"/>
                                        <p:tgtEl>
                                          <p:spTgt spid="90"/>
                                        </p:tgtEl>
                                      </p:cBhvr>
                                    </p:animEffect>
                                  </p:childTnLst>
                                </p:cTn>
                              </p:par>
                            </p:childTnLst>
                          </p:cTn>
                        </p:par>
                        <p:par>
                          <p:cTn id="49" fill="hold">
                            <p:stCondLst>
                              <p:cond delay="500"/>
                            </p:stCondLst>
                            <p:childTnLst>
                              <p:par>
                                <p:cTn id="50" presetID="22" presetClass="entr" presetSubtype="8" fill="hold" grpId="0" nodeType="afterEffect">
                                  <p:stCondLst>
                                    <p:cond delay="0"/>
                                  </p:stCondLst>
                                  <p:childTnLst>
                                    <p:set>
                                      <p:cBhvr>
                                        <p:cTn id="51" dur="1" fill="hold">
                                          <p:stCondLst>
                                            <p:cond delay="0"/>
                                          </p:stCondLst>
                                        </p:cTn>
                                        <p:tgtEl>
                                          <p:spTgt spid="93"/>
                                        </p:tgtEl>
                                        <p:attrNameLst>
                                          <p:attrName>style.visibility</p:attrName>
                                        </p:attrNameLst>
                                      </p:cBhvr>
                                      <p:to>
                                        <p:strVal val="visible"/>
                                      </p:to>
                                    </p:set>
                                    <p:animEffect transition="in" filter="wipe(left)">
                                      <p:cBhvr>
                                        <p:cTn id="52" dur="500"/>
                                        <p:tgtEl>
                                          <p:spTgt spid="93"/>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4" fill="hold" nodeType="clickEffect">
                                  <p:stCondLst>
                                    <p:cond delay="0"/>
                                  </p:stCondLst>
                                  <p:childTnLst>
                                    <p:set>
                                      <p:cBhvr>
                                        <p:cTn id="56" dur="1" fill="hold">
                                          <p:stCondLst>
                                            <p:cond delay="0"/>
                                          </p:stCondLst>
                                        </p:cTn>
                                        <p:tgtEl>
                                          <p:spTgt spid="98"/>
                                        </p:tgtEl>
                                        <p:attrNameLst>
                                          <p:attrName>style.visibility</p:attrName>
                                        </p:attrNameLst>
                                      </p:cBhvr>
                                      <p:to>
                                        <p:strVal val="visible"/>
                                      </p:to>
                                    </p:set>
                                    <p:animEffect transition="in" filter="wipe(down)">
                                      <p:cBhvr>
                                        <p:cTn id="57" dur="500"/>
                                        <p:tgtEl>
                                          <p:spTgt spid="98"/>
                                        </p:tgtEl>
                                      </p:cBhvr>
                                    </p:animEffect>
                                  </p:childTnLst>
                                </p:cTn>
                              </p:par>
                            </p:childTnLst>
                          </p:cTn>
                        </p:par>
                        <p:par>
                          <p:cTn id="58" fill="hold">
                            <p:stCondLst>
                              <p:cond delay="500"/>
                            </p:stCondLst>
                            <p:childTnLst>
                              <p:par>
                                <p:cTn id="59" presetID="22" presetClass="entr" presetSubtype="8" fill="hold" grpId="0" nodeType="afterEffect">
                                  <p:stCondLst>
                                    <p:cond delay="0"/>
                                  </p:stCondLst>
                                  <p:childTnLst>
                                    <p:set>
                                      <p:cBhvr>
                                        <p:cTn id="60" dur="1" fill="hold">
                                          <p:stCondLst>
                                            <p:cond delay="0"/>
                                          </p:stCondLst>
                                        </p:cTn>
                                        <p:tgtEl>
                                          <p:spTgt spid="86"/>
                                        </p:tgtEl>
                                        <p:attrNameLst>
                                          <p:attrName>style.visibility</p:attrName>
                                        </p:attrNameLst>
                                      </p:cBhvr>
                                      <p:to>
                                        <p:strVal val="visible"/>
                                      </p:to>
                                    </p:set>
                                    <p:animEffect transition="in" filter="wipe(left)">
                                      <p:cBhvr>
                                        <p:cTn id="61" dur="500"/>
                                        <p:tgtEl>
                                          <p:spTgt spid="86"/>
                                        </p:tgtEl>
                                      </p:cBhvr>
                                    </p:animEffect>
                                  </p:childTnLst>
                                </p:cTn>
                              </p:par>
                            </p:childTnLst>
                          </p:cTn>
                        </p:par>
                      </p:childTnLst>
                    </p:cTn>
                  </p:par>
                  <p:par>
                    <p:cTn id="62" fill="hold">
                      <p:stCondLst>
                        <p:cond delay="indefinite"/>
                      </p:stCondLst>
                      <p:childTnLst>
                        <p:par>
                          <p:cTn id="63" fill="hold">
                            <p:stCondLst>
                              <p:cond delay="0"/>
                            </p:stCondLst>
                            <p:childTnLst>
                              <p:par>
                                <p:cTn id="64" presetID="22" presetClass="entr" presetSubtype="8" fill="hold" nodeType="clickEffect">
                                  <p:stCondLst>
                                    <p:cond delay="0"/>
                                  </p:stCondLst>
                                  <p:childTnLst>
                                    <p:set>
                                      <p:cBhvr>
                                        <p:cTn id="65" dur="1" fill="hold">
                                          <p:stCondLst>
                                            <p:cond delay="0"/>
                                          </p:stCondLst>
                                        </p:cTn>
                                        <p:tgtEl>
                                          <p:spTgt spid="88"/>
                                        </p:tgtEl>
                                        <p:attrNameLst>
                                          <p:attrName>style.visibility</p:attrName>
                                        </p:attrNameLst>
                                      </p:cBhvr>
                                      <p:to>
                                        <p:strVal val="visible"/>
                                      </p:to>
                                    </p:set>
                                    <p:animEffect transition="in" filter="wipe(left)">
                                      <p:cBhvr>
                                        <p:cTn id="66" dur="500"/>
                                        <p:tgtEl>
                                          <p:spTgt spid="88"/>
                                        </p:tgtEl>
                                      </p:cBhvr>
                                    </p:animEffect>
                                  </p:childTnLst>
                                </p:cTn>
                              </p:par>
                            </p:childTnLst>
                          </p:cTn>
                        </p:par>
                        <p:par>
                          <p:cTn id="67" fill="hold">
                            <p:stCondLst>
                              <p:cond delay="500"/>
                            </p:stCondLst>
                            <p:childTnLst>
                              <p:par>
                                <p:cTn id="68" presetID="22" presetClass="entr" presetSubtype="8" fill="hold" grpId="0" nodeType="afterEffect">
                                  <p:stCondLst>
                                    <p:cond delay="0"/>
                                  </p:stCondLst>
                                  <p:childTnLst>
                                    <p:set>
                                      <p:cBhvr>
                                        <p:cTn id="69" dur="1" fill="hold">
                                          <p:stCondLst>
                                            <p:cond delay="0"/>
                                          </p:stCondLst>
                                        </p:cTn>
                                        <p:tgtEl>
                                          <p:spTgt spid="94"/>
                                        </p:tgtEl>
                                        <p:attrNameLst>
                                          <p:attrName>style.visibility</p:attrName>
                                        </p:attrNameLst>
                                      </p:cBhvr>
                                      <p:to>
                                        <p:strVal val="visible"/>
                                      </p:to>
                                    </p:set>
                                    <p:animEffect transition="in" filter="wipe(left)">
                                      <p:cBhvr>
                                        <p:cTn id="70" dur="500"/>
                                        <p:tgtEl>
                                          <p:spTgt spid="94"/>
                                        </p:tgtEl>
                                      </p:cBhvr>
                                    </p:animEffect>
                                  </p:childTnLst>
                                </p:cTn>
                              </p:par>
                            </p:childTnLst>
                          </p:cTn>
                        </p:par>
                        <p:par>
                          <p:cTn id="71" fill="hold">
                            <p:stCondLst>
                              <p:cond delay="1000"/>
                            </p:stCondLst>
                            <p:childTnLst>
                              <p:par>
                                <p:cTn id="72" presetID="22" presetClass="entr" presetSubtype="4" fill="hold" nodeType="afterEffect">
                                  <p:stCondLst>
                                    <p:cond delay="0"/>
                                  </p:stCondLst>
                                  <p:childTnLst>
                                    <p:set>
                                      <p:cBhvr>
                                        <p:cTn id="73" dur="1" fill="hold">
                                          <p:stCondLst>
                                            <p:cond delay="0"/>
                                          </p:stCondLst>
                                        </p:cTn>
                                        <p:tgtEl>
                                          <p:spTgt spid="99"/>
                                        </p:tgtEl>
                                        <p:attrNameLst>
                                          <p:attrName>style.visibility</p:attrName>
                                        </p:attrNameLst>
                                      </p:cBhvr>
                                      <p:to>
                                        <p:strVal val="visible"/>
                                      </p:to>
                                    </p:set>
                                    <p:animEffect transition="in" filter="wipe(down)">
                                      <p:cBhvr>
                                        <p:cTn id="74" dur="500"/>
                                        <p:tgtEl>
                                          <p:spTgt spid="99"/>
                                        </p:tgtEl>
                                      </p:cBhvr>
                                    </p:animEffect>
                                  </p:childTnLst>
                                </p:cTn>
                              </p:par>
                            </p:childTnLst>
                          </p:cTn>
                        </p:par>
                      </p:childTnLst>
                    </p:cTn>
                  </p:par>
                  <p:par>
                    <p:cTn id="75" fill="hold">
                      <p:stCondLst>
                        <p:cond delay="indefinite"/>
                      </p:stCondLst>
                      <p:childTnLst>
                        <p:par>
                          <p:cTn id="76" fill="hold">
                            <p:stCondLst>
                              <p:cond delay="0"/>
                            </p:stCondLst>
                            <p:childTnLst>
                              <p:par>
                                <p:cTn id="77" presetID="16" presetClass="entr" presetSubtype="37" fill="hold" grpId="0" nodeType="clickEffect">
                                  <p:stCondLst>
                                    <p:cond delay="0"/>
                                  </p:stCondLst>
                                  <p:childTnLst>
                                    <p:set>
                                      <p:cBhvr>
                                        <p:cTn id="78" dur="1" fill="hold">
                                          <p:stCondLst>
                                            <p:cond delay="0"/>
                                          </p:stCondLst>
                                        </p:cTn>
                                        <p:tgtEl>
                                          <p:spTgt spid="95"/>
                                        </p:tgtEl>
                                        <p:attrNameLst>
                                          <p:attrName>style.visibility</p:attrName>
                                        </p:attrNameLst>
                                      </p:cBhvr>
                                      <p:to>
                                        <p:strVal val="visible"/>
                                      </p:to>
                                    </p:set>
                                    <p:animEffect transition="in" filter="barn(outVertical)">
                                      <p:cBhvr>
                                        <p:cTn id="79"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p:bldP spid="84" grpId="0"/>
      <p:bldP spid="85" grpId="0"/>
      <p:bldP spid="86" grpId="0"/>
      <p:bldP spid="91" grpId="0"/>
      <p:bldP spid="92" grpId="0"/>
      <p:bldP spid="93" grpId="0"/>
      <p:bldP spid="94" grpId="0"/>
      <p:bldP spid="95"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164" y="0"/>
            <a:ext cx="9180163" cy="6892317"/>
          </a:xfrm>
          <a:prstGeom prst="rect">
            <a:avLst/>
          </a:prstGeom>
        </p:spPr>
      </p:pic>
    </p:spTree>
    <p:extLst>
      <p:ext uri="{BB962C8B-B14F-4D97-AF65-F5344CB8AC3E}">
        <p14:creationId xmlns:p14="http://schemas.microsoft.com/office/powerpoint/2010/main" val="5744153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36" name="Group 35"/>
          <p:cNvGrpSpPr/>
          <p:nvPr/>
        </p:nvGrpSpPr>
        <p:grpSpPr>
          <a:xfrm>
            <a:off x="0" y="-6690"/>
            <a:ext cx="9023985" cy="632114"/>
            <a:chOff x="0" y="-6690"/>
            <a:chExt cx="9144000" cy="632114"/>
          </a:xfrm>
        </p:grpSpPr>
        <p:sp>
          <p:nvSpPr>
            <p:cNvPr id="34" name="Rectangle 33"/>
            <p:cNvSpPr/>
            <p:nvPr/>
          </p:nvSpPr>
          <p:spPr>
            <a:xfrm>
              <a:off x="0" y="-6690"/>
              <a:ext cx="9144000" cy="632114"/>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h-TH" sz="2800" b="0" i="0" u="none" strike="noStrike" kern="1200" cap="none" spc="0" normalizeH="0" baseline="0" noProof="0">
                <a:ln>
                  <a:noFill/>
                </a:ln>
                <a:solidFill>
                  <a:prstClr val="black"/>
                </a:solidFill>
                <a:effectLst/>
                <a:uLnTx/>
                <a:uFillTx/>
                <a:latin typeface="Open Sans"/>
                <a:ea typeface="+mn-ea"/>
                <a:cs typeface="TH Sarabun New"/>
              </a:endParaRPr>
            </a:p>
          </p:txBody>
        </p:sp>
        <p:sp>
          <p:nvSpPr>
            <p:cNvPr id="28" name="Rectangle 27"/>
            <p:cNvSpPr/>
            <p:nvPr/>
          </p:nvSpPr>
          <p:spPr>
            <a:xfrm>
              <a:off x="689288" y="10044"/>
              <a:ext cx="8137570" cy="587853"/>
            </a:xfrm>
            <a:prstGeom prst="rect">
              <a:avLst/>
            </a:prstGeom>
          </p:spPr>
          <p:txBody>
            <a:bodyPr wrap="square">
              <a:spAutoFit/>
            </a:bodyPr>
            <a:lstStyle/>
            <a:p>
              <a:pPr marL="0" marR="0" lvl="0" indent="0" algn="l" defTabSz="914400" rtl="0" eaLnBrk="1" fontAlgn="base" latinLnBrk="0" hangingPunct="1">
                <a:lnSpc>
                  <a:spcPct val="115000"/>
                </a:lnSpc>
                <a:spcBef>
                  <a:spcPct val="0"/>
                </a:spcBef>
                <a:spcAft>
                  <a:spcPts val="0"/>
                </a:spcAft>
                <a:buClrTx/>
                <a:buSzTx/>
                <a:buFontTx/>
                <a:buNone/>
                <a:tabLst/>
                <a:defRPr/>
              </a:pPr>
              <a:r>
                <a:rPr kumimoji="0" lang="th-TH" sz="2800" b="1" i="0" u="none" strike="noStrike" kern="1200" cap="none" spc="0" normalizeH="0" baseline="0" noProof="0" dirty="0" smtClean="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rPr>
                <a:t>การพัฒนาประเทศให้หลุดพ้นจากกับ</a:t>
              </a:r>
              <a:r>
                <a:rPr kumimoji="0" lang="th-TH" sz="2800" b="1" i="0" u="none" strike="noStrike" kern="1200" cap="none" spc="0" normalizeH="0" baseline="0" noProof="0" dirty="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rPr>
                <a:t>ดักรายได้ปานกลาง </a:t>
              </a:r>
              <a:r>
                <a:rPr kumimoji="0" lang="en-US" sz="2800" b="1" i="0" u="none" strike="noStrike" kern="1200" cap="none" spc="0" normalizeH="0" baseline="0" noProof="0" dirty="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rPr>
                <a:t>(Middle Income Trap)</a:t>
              </a:r>
              <a:endParaRPr kumimoji="0" lang="en-US" sz="1800" b="0" i="0" u="none" strike="noStrike" kern="1200" cap="none" spc="0" normalizeH="0" baseline="0" noProof="0" dirty="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endParaRPr>
            </a:p>
          </p:txBody>
        </p:sp>
      </p:grpSp>
      <p:sp>
        <p:nvSpPr>
          <p:cNvPr id="31" name="Rectangle 30"/>
          <p:cNvSpPr/>
          <p:nvPr/>
        </p:nvSpPr>
        <p:spPr>
          <a:xfrm>
            <a:off x="457770" y="2145611"/>
            <a:ext cx="8305800" cy="954107"/>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h-TH" sz="2800" b="1" i="0" u="none" strike="noStrike" kern="1200" cap="none" spc="0" normalizeH="0" baseline="0" noProof="0" dirty="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rPr>
              <a:t>ประเทศรายได้สูง </a:t>
            </a:r>
            <a:r>
              <a:rPr kumimoji="0" lang="th-TH" sz="2800" b="0" i="0" u="none" strike="noStrike" kern="1200" cap="none" spc="0" normalizeH="0" baseline="0" noProof="0" dirty="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rPr>
              <a:t>รายได้</a:t>
            </a:r>
            <a:r>
              <a:rPr kumimoji="0" lang="th-TH" sz="2800" b="0" i="0" u="none" strike="noStrike" kern="1200" cap="none" spc="0" normalizeH="0" baseline="0" noProof="0" dirty="0" smtClean="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rPr>
              <a:t>เฉลี่ยต่อ</a:t>
            </a:r>
            <a:r>
              <a:rPr kumimoji="0" lang="th-TH" sz="2800" b="0" i="0" u="none" strike="noStrike" kern="1200" cap="none" spc="0" normalizeH="0" baseline="0" noProof="0" dirty="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rPr>
              <a:t>คนต่อปีจะต้องอยู่ที่ประมาณ </a:t>
            </a:r>
            <a:r>
              <a:rPr kumimoji="0" lang="en-US" sz="2800" b="0" i="0" u="none" strike="noStrike" kern="1200" cap="none" spc="0" normalizeH="0" baseline="0" noProof="0" dirty="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rPr>
              <a:t>12,500 </a:t>
            </a:r>
            <a:r>
              <a:rPr kumimoji="0" lang="th-TH" sz="2800" b="0" i="0" u="none" strike="noStrike" kern="1200" cap="none" spc="0" normalizeH="0" baseline="0" noProof="0" dirty="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rPr>
              <a:t>ดอลลาร์สหรัฐ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th-TH" sz="2800" b="1" i="0" u="none" strike="noStrike" kern="1200" cap="none" spc="0" normalizeH="0" baseline="0" noProof="0" dirty="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rPr>
              <a:t>ปัจจุบันคนไทย</a:t>
            </a:r>
            <a:r>
              <a:rPr kumimoji="0" lang="th-TH" sz="2800" b="0" i="0" u="none" strike="noStrike" kern="1200" cap="none" spc="0" normalizeH="0" baseline="0" noProof="0" dirty="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rPr>
              <a:t>มีรายได้เฉลี่ยต่อคนต่อปี </a:t>
            </a:r>
            <a:r>
              <a:rPr kumimoji="0" lang="en-US" sz="2800" b="0" i="0" u="none" strike="noStrike" kern="1200" cap="none" spc="0" normalizeH="0" baseline="0" noProof="0" dirty="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rPr>
              <a:t>5,200 </a:t>
            </a:r>
            <a:r>
              <a:rPr kumimoji="0" lang="th-TH" sz="2800" b="0" i="0" u="none" strike="noStrike" kern="1200" cap="none" spc="0" normalizeH="0" baseline="0" noProof="0" dirty="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rPr>
              <a:t>ดอลลาร์สหรัฐ</a:t>
            </a:r>
            <a:endParaRPr kumimoji="0" lang="th-TH" sz="2800" b="0" i="0" u="none" strike="noStrike" kern="1200" cap="none" spc="0" normalizeH="0" baseline="0" noProof="0" dirty="0">
              <a:ln>
                <a:noFill/>
              </a:ln>
              <a:solidFill>
                <a:prstClr val="black"/>
              </a:solidFill>
              <a:effectLst/>
              <a:uLnTx/>
              <a:uFillTx/>
              <a:latin typeface="Angsana New" panose="02020603050405020304" pitchFamily="18" charset="-34"/>
              <a:ea typeface="+mn-ea"/>
              <a:cs typeface="Angsana New" pitchFamily="18" charset="-34"/>
            </a:endParaRPr>
          </a:p>
        </p:txBody>
      </p:sp>
      <p:grpSp>
        <p:nvGrpSpPr>
          <p:cNvPr id="5" name="Group 4"/>
          <p:cNvGrpSpPr/>
          <p:nvPr/>
        </p:nvGrpSpPr>
        <p:grpSpPr>
          <a:xfrm>
            <a:off x="-13062" y="3119832"/>
            <a:ext cx="9037048" cy="3738797"/>
            <a:chOff x="-13063" y="3119832"/>
            <a:chExt cx="9037049" cy="3738797"/>
          </a:xfrm>
        </p:grpSpPr>
        <p:pic>
          <p:nvPicPr>
            <p:cNvPr id="16" name="Picture 15"/>
            <p:cNvPicPr>
              <a:picLocks noChangeAspect="1"/>
            </p:cNvPicPr>
            <p:nvPr/>
          </p:nvPicPr>
          <p:blipFill rotWithShape="1">
            <a:blip r:embed="rId3" cstate="print">
              <a:extLst>
                <a:ext uri="{28A0092B-C50C-407E-A947-70E740481C1C}">
                  <a14:useLocalDpi xmlns:a14="http://schemas.microsoft.com/office/drawing/2010/main" val="0"/>
                </a:ext>
              </a:extLst>
            </a:blip>
            <a:srcRect l="1690"/>
            <a:stretch/>
          </p:blipFill>
          <p:spPr>
            <a:xfrm>
              <a:off x="-13063" y="3767431"/>
              <a:ext cx="4558420" cy="3091198"/>
            </a:xfrm>
            <a:prstGeom prst="rect">
              <a:avLst/>
            </a:prstGeom>
          </p:spPr>
        </p:pic>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18214" y="3764479"/>
              <a:ext cx="4505772" cy="3081087"/>
            </a:xfrm>
            <a:prstGeom prst="rect">
              <a:avLst/>
            </a:prstGeom>
          </p:spPr>
        </p:pic>
        <p:grpSp>
          <p:nvGrpSpPr>
            <p:cNvPr id="38" name="Group 37"/>
            <p:cNvGrpSpPr/>
            <p:nvPr/>
          </p:nvGrpSpPr>
          <p:grpSpPr>
            <a:xfrm>
              <a:off x="0" y="3119832"/>
              <a:ext cx="9023985" cy="647599"/>
              <a:chOff x="0" y="3119832"/>
              <a:chExt cx="9023985" cy="647599"/>
            </a:xfrm>
          </p:grpSpPr>
          <p:sp>
            <p:nvSpPr>
              <p:cNvPr id="37" name="Rectangle 36"/>
              <p:cNvSpPr/>
              <p:nvPr/>
            </p:nvSpPr>
            <p:spPr>
              <a:xfrm>
                <a:off x="0" y="3119832"/>
                <a:ext cx="9023985" cy="64759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h-TH" sz="2800" b="0" i="0" u="none" strike="noStrike" kern="1200" cap="none" spc="0" normalizeH="0" baseline="0" noProof="0">
                  <a:ln>
                    <a:noFill/>
                  </a:ln>
                  <a:solidFill>
                    <a:prstClr val="black"/>
                  </a:solidFill>
                  <a:effectLst/>
                  <a:uLnTx/>
                  <a:uFillTx/>
                  <a:latin typeface="Open Sans"/>
                  <a:ea typeface="+mn-ea"/>
                  <a:cs typeface="TH Sarabun New"/>
                </a:endParaRPr>
              </a:p>
            </p:txBody>
          </p:sp>
          <p:sp>
            <p:nvSpPr>
              <p:cNvPr id="32" name="Rectangle 31"/>
              <p:cNvSpPr/>
              <p:nvPr/>
            </p:nvSpPr>
            <p:spPr>
              <a:xfrm>
                <a:off x="508179" y="3196208"/>
                <a:ext cx="8318679" cy="52322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h-TH" sz="2800" b="1" i="0" u="none" strike="noStrike" kern="1200" cap="none" spc="0" normalizeH="0" baseline="0" noProof="0" dirty="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rPr>
                  <a:t>การก้าวข้ามกับดักรายได้ปานกลาง ไปสู่ประเทศที่รายได้สูง </a:t>
                </a:r>
                <a:r>
                  <a:rPr kumimoji="0" lang="en-US" sz="2800" b="1" i="0" u="none" strike="noStrike" kern="1200" cap="none" spc="0" normalizeH="0" baseline="0" noProof="0" dirty="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rPr>
                  <a:t>(High Income Country) </a:t>
                </a:r>
                <a:endParaRPr kumimoji="0" lang="th-TH" sz="2800" b="1" i="0" u="none" strike="noStrike" kern="1200" cap="none" spc="0" normalizeH="0" baseline="0" noProof="0" dirty="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endParaRPr>
              </a:p>
            </p:txBody>
          </p:sp>
        </p:grpSp>
      </p:grpSp>
      <p:sp>
        <p:nvSpPr>
          <p:cNvPr id="3" name="Rectangle 2"/>
          <p:cNvSpPr/>
          <p:nvPr/>
        </p:nvSpPr>
        <p:spPr>
          <a:xfrm>
            <a:off x="39189" y="3862831"/>
            <a:ext cx="4479024" cy="2955979"/>
          </a:xfrm>
          <a:prstGeom prst="rect">
            <a:avLst/>
          </a:prstGeom>
          <a:ln>
            <a:solidFill>
              <a:srgbClr val="FF0000"/>
            </a:solidFill>
          </a:ln>
        </p:spPr>
        <p:txBody>
          <a:bodyPr wrap="square">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h-TH" sz="2800" b="1" i="0" u="none" strike="noStrike" kern="1200" cap="none" spc="0" normalizeH="0" baseline="0" noProof="0" dirty="0">
                <a:ln>
                  <a:noFill/>
                </a:ln>
                <a:solidFill>
                  <a:srgbClr val="FF0000"/>
                </a:solidFill>
                <a:effectLst/>
                <a:uLnTx/>
                <a:uFillTx/>
                <a:latin typeface="Angsana New" panose="02020603050405020304" pitchFamily="18" charset="-34"/>
                <a:ea typeface="Calibri" panose="020F0502020204030204" pitchFamily="34" charset="0"/>
                <a:cs typeface="Angsana New" pitchFamily="18" charset="-34"/>
              </a:rPr>
              <a:t>มุมมองของตะวันตก </a:t>
            </a:r>
            <a:r>
              <a:rPr kumimoji="0" lang="th-TH" sz="2800" b="0" i="0" u="none" strike="noStrike" kern="1200" cap="none" spc="0" normalizeH="0" baseline="0" noProof="0" dirty="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rPr>
              <a:t>คือ การ</a:t>
            </a:r>
            <a:r>
              <a:rPr kumimoji="0" lang="th-TH" sz="2800" b="0" i="0" u="none" strike="noStrike" kern="1200" cap="none" spc="0" normalizeH="0" baseline="0" noProof="0" dirty="0">
                <a:ln>
                  <a:noFill/>
                </a:ln>
                <a:solidFill>
                  <a:srgbClr val="0070C0"/>
                </a:solidFill>
                <a:effectLst/>
                <a:uLnTx/>
                <a:uFillTx/>
                <a:latin typeface="Angsana New" panose="02020603050405020304" pitchFamily="18" charset="-34"/>
                <a:ea typeface="Calibri" panose="020F0502020204030204" pitchFamily="34" charset="0"/>
                <a:cs typeface="Angsana New" pitchFamily="18" charset="-34"/>
              </a:rPr>
              <a:t>สร้างผลิตภาพ</a:t>
            </a:r>
            <a:r>
              <a:rPr kumimoji="0" lang="th-TH" sz="2800" b="0" i="0" u="none" strike="noStrike" kern="1200" cap="none" spc="0" normalizeH="0" baseline="0" noProof="0" dirty="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rPr>
              <a:t>การผลิตขั้นสูง การ</a:t>
            </a:r>
            <a:r>
              <a:rPr kumimoji="0" lang="th-TH" sz="2800" b="0" i="0" u="none" strike="noStrike" kern="1200" cap="none" spc="0" normalizeH="0" baseline="0" noProof="0" dirty="0">
                <a:ln>
                  <a:noFill/>
                </a:ln>
                <a:solidFill>
                  <a:srgbClr val="0070C0"/>
                </a:solidFill>
                <a:effectLst/>
                <a:uLnTx/>
                <a:uFillTx/>
                <a:latin typeface="Angsana New" panose="02020603050405020304" pitchFamily="18" charset="-34"/>
                <a:ea typeface="Calibri" panose="020F0502020204030204" pitchFamily="34" charset="0"/>
                <a:cs typeface="Angsana New" pitchFamily="18" charset="-34"/>
              </a:rPr>
              <a:t>เพิ่มขีดความสามารถทางด้านเทคโนโลยี </a:t>
            </a:r>
            <a:r>
              <a:rPr kumimoji="0" lang="th-TH" sz="2800" b="0" i="0" u="none" strike="noStrike" kern="1200" cap="none" spc="0" normalizeH="0" baseline="0" noProof="0" dirty="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rPr>
              <a:t>การสร้างเสริม</a:t>
            </a:r>
            <a:r>
              <a:rPr kumimoji="0" lang="th-TH" sz="2800" b="0" i="0" u="none" strike="noStrike" kern="1200" cap="none" spc="0" normalizeH="0" baseline="0" noProof="0" dirty="0">
                <a:ln>
                  <a:noFill/>
                </a:ln>
                <a:solidFill>
                  <a:srgbClr val="0070C0"/>
                </a:solidFill>
                <a:effectLst/>
                <a:uLnTx/>
                <a:uFillTx/>
                <a:latin typeface="Angsana New" panose="02020603050405020304" pitchFamily="18" charset="-34"/>
                <a:ea typeface="Calibri" panose="020F0502020204030204" pitchFamily="34" charset="0"/>
                <a:cs typeface="Angsana New" pitchFamily="18" charset="-34"/>
              </a:rPr>
              <a:t>นวัตกรรมและความคิดสร้างสรรค์</a:t>
            </a:r>
            <a:r>
              <a:rPr kumimoji="0" lang="th-TH" sz="2800" b="0" i="0" u="none" strike="noStrike" kern="1200" cap="none" spc="0" normalizeH="0" baseline="0" noProof="0" dirty="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rPr>
              <a:t>ในการผลิต </a:t>
            </a:r>
            <a:r>
              <a:rPr kumimoji="0" lang="th-TH" sz="2800" b="0" i="0" u="none" strike="noStrike" kern="1200" cap="none" spc="0" normalizeH="0" baseline="0" noProof="0" dirty="0">
                <a:ln>
                  <a:noFill/>
                </a:ln>
                <a:solidFill>
                  <a:srgbClr val="0070C0"/>
                </a:solidFill>
                <a:effectLst/>
                <a:uLnTx/>
                <a:uFillTx/>
                <a:latin typeface="Angsana New" panose="02020603050405020304" pitchFamily="18" charset="-34"/>
                <a:ea typeface="Calibri" panose="020F0502020204030204" pitchFamily="34" charset="0"/>
                <a:cs typeface="Angsana New" pitchFamily="18" charset="-34"/>
              </a:rPr>
              <a:t>การลงทุน</a:t>
            </a:r>
            <a:r>
              <a:rPr kumimoji="0" lang="th-TH" sz="2800" b="0" i="0" u="none" strike="noStrike" kern="1200" cap="none" spc="0" normalizeH="0" baseline="0" noProof="0" dirty="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rPr>
              <a:t>ในโครงข่ายการขนส่งและโครงสร้างสาธารณูปโภคขั้นพื้นฐาน</a:t>
            </a:r>
          </a:p>
        </p:txBody>
      </p:sp>
      <p:sp>
        <p:nvSpPr>
          <p:cNvPr id="35" name="Rectangle 34"/>
          <p:cNvSpPr/>
          <p:nvPr/>
        </p:nvSpPr>
        <p:spPr>
          <a:xfrm>
            <a:off x="4545357" y="3862146"/>
            <a:ext cx="4478628" cy="2956664"/>
          </a:xfrm>
          <a:prstGeom prst="rect">
            <a:avLst/>
          </a:prstGeom>
          <a:ln>
            <a:solidFill>
              <a:srgbClr val="FF0000"/>
            </a:solidFill>
          </a:ln>
        </p:spPr>
        <p:txBody>
          <a:bodyPr wrap="square">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h-TH" sz="2800" b="1" i="0" u="none" strike="noStrike" kern="1200" cap="none" spc="0" normalizeH="0" baseline="0" noProof="0" dirty="0">
                <a:ln>
                  <a:noFill/>
                </a:ln>
                <a:solidFill>
                  <a:srgbClr val="FF0000"/>
                </a:solidFill>
                <a:effectLst/>
                <a:uLnTx/>
                <a:uFillTx/>
                <a:latin typeface="Angsana New" panose="02020603050405020304" pitchFamily="18" charset="-34"/>
                <a:ea typeface="Calibri" panose="020F0502020204030204" pitchFamily="34" charset="0"/>
                <a:cs typeface="Angsana New" pitchFamily="18" charset="-34"/>
              </a:rPr>
              <a:t>มุมมองของ</a:t>
            </a:r>
            <a:r>
              <a:rPr kumimoji="0" lang="th-TH" sz="2800" b="1" i="0" u="none" strike="noStrike" kern="1200" cap="none" spc="0" normalizeH="0" baseline="0" noProof="0" dirty="0" smtClean="0">
                <a:ln>
                  <a:noFill/>
                </a:ln>
                <a:solidFill>
                  <a:srgbClr val="FF0000"/>
                </a:solidFill>
                <a:effectLst/>
                <a:uLnTx/>
                <a:uFillTx/>
                <a:latin typeface="Angsana New" panose="02020603050405020304" pitchFamily="18" charset="-34"/>
                <a:ea typeface="Calibri" panose="020F0502020204030204" pitchFamily="34" charset="0"/>
                <a:cs typeface="Angsana New" pitchFamily="18" charset="-34"/>
              </a:rPr>
              <a:t>เอเซีย </a:t>
            </a:r>
            <a:r>
              <a:rPr kumimoji="0" lang="th-TH" sz="2800" b="1" i="0" u="none" strike="noStrike" kern="1200" cap="none" spc="0" normalizeH="0" baseline="0" noProof="0" dirty="0" smtClean="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rPr>
              <a:t>(</a:t>
            </a:r>
            <a:r>
              <a:rPr kumimoji="0" lang="th-TH" sz="2800" b="1" i="0" u="none" strike="noStrike" kern="1200" cap="none" spc="0" normalizeH="0" baseline="0" noProof="0" dirty="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rPr>
              <a:t>ญี่ปุ่น เกาหลีใต้ สิงคโปร์) </a:t>
            </a:r>
            <a:r>
              <a:rPr kumimoji="0" lang="th-TH" sz="2800" b="0" i="0" u="none" strike="noStrike" kern="1200" cap="none" spc="0" normalizeH="0" baseline="0" noProof="0" dirty="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rPr>
              <a:t>คือ </a:t>
            </a:r>
            <a:r>
              <a:rPr kumimoji="0" lang="th-TH" sz="2800" b="0" i="0" u="none" strike="noStrike" kern="1200" cap="none" spc="0" normalizeH="0" baseline="0" noProof="0" dirty="0">
                <a:ln>
                  <a:noFill/>
                </a:ln>
                <a:solidFill>
                  <a:srgbClr val="0070C0"/>
                </a:solidFill>
                <a:effectLst/>
                <a:uLnTx/>
                <a:uFillTx/>
                <a:latin typeface="Angsana New" panose="02020603050405020304" pitchFamily="18" charset="-34"/>
                <a:ea typeface="Calibri" panose="020F0502020204030204" pitchFamily="34" charset="0"/>
                <a:cs typeface="Angsana New" pitchFamily="18" charset="-34"/>
              </a:rPr>
              <a:t>การใช้เทคโนโลยี</a:t>
            </a:r>
            <a:r>
              <a:rPr kumimoji="0" lang="th-TH" sz="2800" b="0" i="0" u="none" strike="noStrike" kern="1200" cap="none" spc="0" normalizeH="0" baseline="0" noProof="0" dirty="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rPr>
              <a:t> </a:t>
            </a:r>
            <a:r>
              <a:rPr kumimoji="0" lang="th-TH" sz="2800" b="0" i="0" u="none" strike="noStrike" kern="1200" cap="none" spc="0" normalizeH="0" baseline="0" noProof="0" dirty="0">
                <a:ln>
                  <a:noFill/>
                </a:ln>
                <a:solidFill>
                  <a:srgbClr val="0070C0"/>
                </a:solidFill>
                <a:effectLst/>
                <a:uLnTx/>
                <a:uFillTx/>
                <a:latin typeface="Angsana New" panose="02020603050405020304" pitchFamily="18" charset="-34"/>
                <a:ea typeface="Calibri" panose="020F0502020204030204" pitchFamily="34" charset="0"/>
                <a:cs typeface="Angsana New" pitchFamily="18" charset="-34"/>
              </a:rPr>
              <a:t>ความขยัน</a:t>
            </a:r>
            <a:r>
              <a:rPr kumimoji="0" lang="th-TH" sz="2800" b="0" i="0" u="none" strike="noStrike" kern="1200" cap="none" spc="0" normalizeH="0" baseline="0" noProof="0" dirty="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rPr>
              <a:t>ในการทำงาน </a:t>
            </a:r>
            <a:r>
              <a:rPr kumimoji="0" lang="th-TH" sz="2800" b="0" i="0" u="none" strike="noStrike" kern="1200" cap="none" spc="0" normalizeH="0" baseline="0" noProof="0" dirty="0">
                <a:ln>
                  <a:noFill/>
                </a:ln>
                <a:solidFill>
                  <a:srgbClr val="0070C0"/>
                </a:solidFill>
                <a:effectLst/>
                <a:uLnTx/>
                <a:uFillTx/>
                <a:latin typeface="Angsana New" panose="02020603050405020304" pitchFamily="18" charset="-34"/>
                <a:ea typeface="Calibri" panose="020F0502020204030204" pitchFamily="34" charset="0"/>
                <a:cs typeface="Angsana New" pitchFamily="18" charset="-34"/>
              </a:rPr>
              <a:t>วัฒนธรรมในการทำงาน</a:t>
            </a:r>
            <a:r>
              <a:rPr kumimoji="0" lang="th-TH" sz="2800" b="0" i="0" u="none" strike="noStrike" kern="1200" cap="none" spc="0" normalizeH="0" baseline="0" noProof="0" dirty="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rPr>
              <a:t> </a:t>
            </a:r>
            <a:r>
              <a:rPr kumimoji="0" lang="th-TH" sz="2800" b="0" i="0" u="none" strike="noStrike" kern="1200" cap="none" spc="0" normalizeH="0" baseline="0" noProof="0" dirty="0">
                <a:ln>
                  <a:noFill/>
                </a:ln>
                <a:solidFill>
                  <a:srgbClr val="0070C0"/>
                </a:solidFill>
                <a:effectLst/>
                <a:uLnTx/>
                <a:uFillTx/>
                <a:latin typeface="Angsana New" panose="02020603050405020304" pitchFamily="18" charset="-34"/>
                <a:ea typeface="Calibri" panose="020F0502020204030204" pitchFamily="34" charset="0"/>
                <a:cs typeface="Angsana New" pitchFamily="18" charset="-34"/>
              </a:rPr>
              <a:t>จริยธรรม</a:t>
            </a:r>
            <a:r>
              <a:rPr kumimoji="0" lang="th-TH" sz="2800" b="0" i="0" u="none" strike="noStrike" kern="1200" cap="none" spc="0" normalizeH="0" baseline="0" noProof="0" dirty="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rPr>
              <a:t>ในการทำงาน และ</a:t>
            </a:r>
            <a:r>
              <a:rPr kumimoji="0" lang="th-TH" sz="2800" b="0" i="0" u="none" strike="noStrike" kern="1200" cap="none" spc="0" normalizeH="0" baseline="0" noProof="0" dirty="0">
                <a:ln>
                  <a:noFill/>
                </a:ln>
                <a:solidFill>
                  <a:srgbClr val="0070C0"/>
                </a:solidFill>
                <a:effectLst/>
                <a:uLnTx/>
                <a:uFillTx/>
                <a:latin typeface="Angsana New" panose="02020603050405020304" pitchFamily="18" charset="-34"/>
                <a:ea typeface="Calibri" panose="020F0502020204030204" pitchFamily="34" charset="0"/>
                <a:cs typeface="Angsana New" pitchFamily="18" charset="-34"/>
              </a:rPr>
              <a:t>จิตสำนึกต่องาน</a:t>
            </a:r>
          </a:p>
        </p:txBody>
      </p:sp>
      <p:pic>
        <p:nvPicPr>
          <p:cNvPr id="39" name="Picture 2" descr="http://www.do.rtaf.mi.th/Webboard/Picture/%E0%B9%84%E0%B8%95%E0%B8%A3%E0%B8%A3%E0%B8%87%E0%B8%84%E0%B9%8C%E0%B8%98%E0%B8%87%E0%B9%83%E0%B8%AB%E0%B8%8D%E0%B9%88.gif"/>
          <p:cNvPicPr>
            <a:picLocks noChangeAspect="1" noChangeArrowheads="1"/>
          </p:cNvPicPr>
          <p:nvPr/>
        </p:nvPicPr>
        <p:blipFill>
          <a:blip r:embed="rId5" cstate="print"/>
          <a:srcRect/>
          <a:stretch>
            <a:fillRect/>
          </a:stretch>
        </p:blipFill>
        <p:spPr bwMode="auto">
          <a:xfrm>
            <a:off x="406253" y="941525"/>
            <a:ext cx="1600200" cy="988643"/>
          </a:xfrm>
          <a:prstGeom prst="rect">
            <a:avLst/>
          </a:prstGeom>
          <a:noFill/>
        </p:spPr>
      </p:pic>
      <p:grpSp>
        <p:nvGrpSpPr>
          <p:cNvPr id="7" name="Group 6"/>
          <p:cNvGrpSpPr/>
          <p:nvPr/>
        </p:nvGrpSpPr>
        <p:grpSpPr>
          <a:xfrm>
            <a:off x="2147048" y="711071"/>
            <a:ext cx="6781800" cy="2299250"/>
            <a:chOff x="2147048" y="711071"/>
            <a:chExt cx="6781800" cy="2299250"/>
          </a:xfrm>
        </p:grpSpPr>
        <p:grpSp>
          <p:nvGrpSpPr>
            <p:cNvPr id="6" name="Group 5"/>
            <p:cNvGrpSpPr/>
            <p:nvPr/>
          </p:nvGrpSpPr>
          <p:grpSpPr>
            <a:xfrm>
              <a:off x="2147048" y="711071"/>
              <a:ext cx="6781800" cy="2299250"/>
              <a:chOff x="2147048" y="711071"/>
              <a:chExt cx="6781800" cy="2299250"/>
            </a:xfrm>
          </p:grpSpPr>
          <p:pic>
            <p:nvPicPr>
              <p:cNvPr id="18" name="Picture 1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75824" y="711071"/>
                <a:ext cx="5543878" cy="2299250"/>
              </a:xfrm>
              <a:prstGeom prst="rect">
                <a:avLst/>
              </a:prstGeom>
            </p:spPr>
          </p:pic>
          <p:sp>
            <p:nvSpPr>
              <p:cNvPr id="29" name="Rectangle 28"/>
              <p:cNvSpPr/>
              <p:nvPr/>
            </p:nvSpPr>
            <p:spPr>
              <a:xfrm>
                <a:off x="2147048" y="813340"/>
                <a:ext cx="6781800" cy="181588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h-TH" sz="2800" b="0" i="0" u="none" strike="noStrike" kern="1200" cap="none" spc="0" normalizeH="0" baseline="0" noProof="0" dirty="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rPr>
                  <a:t>ประเทศไทยสามารถพัฒนาจาก “ประเทศยากจน” ไปสู่การเป็นประเทศที่มีฐานะปานกลาง </a:t>
                </a:r>
                <a:r>
                  <a:rPr kumimoji="0" lang="en-US" sz="2800" b="0" i="0" u="none" strike="noStrike" kern="1200" cap="none" spc="0" normalizeH="0" baseline="0" noProof="0" dirty="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rPr>
                  <a:t>(Middle Income Country)</a:t>
                </a:r>
                <a:r>
                  <a:rPr kumimoji="0" lang="th-TH" sz="2800" b="0" i="0" u="none" strike="noStrike" kern="1200" cap="none" spc="0" normalizeH="0" baseline="0" noProof="0" dirty="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rPr>
                  <a:t> แต่ไม่สามารถก้าวไปสู่การเป็นประเทศที่มีรายได้สูง </a:t>
                </a:r>
                <a:r>
                  <a:rPr kumimoji="0" lang="en-US" sz="2800" b="0" i="0" u="none" strike="noStrike" kern="1200" cap="none" spc="0" normalizeH="0" baseline="0" noProof="0" dirty="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rPr>
                  <a:t>(High Income Country) </a:t>
                </a:r>
                <a:endParaRPr kumimoji="0" lang="th-TH" sz="2800" b="0" i="0" u="none" strike="noStrike" kern="1200" cap="none" spc="0" normalizeH="0" baseline="0" noProof="0" dirty="0" smtClean="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1200" cap="none" spc="0" normalizeH="0" baseline="0" noProof="0" dirty="0" smtClean="0">
                  <a:ln>
                    <a:noFill/>
                  </a:ln>
                  <a:solidFill>
                    <a:prstClr val="black"/>
                  </a:solidFill>
                  <a:effectLst/>
                  <a:uLnTx/>
                  <a:uFillTx/>
                  <a:latin typeface="Angsana New" panose="02020603050405020304" pitchFamily="18" charset="-34"/>
                  <a:ea typeface="Calibri" panose="020F0502020204030204" pitchFamily="34" charset="0"/>
                  <a:cs typeface="Angsana New" pitchFamily="18" charset="-34"/>
                </a:endParaRPr>
              </a:p>
            </p:txBody>
          </p:sp>
        </p:grpSp>
        <p:sp>
          <p:nvSpPr>
            <p:cNvPr id="2" name="Rectangle 1"/>
            <p:cNvSpPr/>
            <p:nvPr/>
          </p:nvSpPr>
          <p:spPr>
            <a:xfrm>
              <a:off x="2147048" y="813340"/>
              <a:ext cx="6616522" cy="133227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1200" cap="none" spc="0" normalizeH="0" baseline="0" noProof="0">
                <a:ln>
                  <a:noFill/>
                </a:ln>
                <a:solidFill>
                  <a:prstClr val="white"/>
                </a:solidFill>
                <a:effectLst/>
                <a:uLnTx/>
                <a:uFillTx/>
                <a:latin typeface="Open Sans"/>
                <a:ea typeface="+mn-ea"/>
                <a:cs typeface="TH Sarabun New"/>
              </a:endParaRPr>
            </a:p>
          </p:txBody>
        </p:sp>
      </p:grpSp>
      <p:sp>
        <p:nvSpPr>
          <p:cNvPr id="4" name="TextBox 3"/>
          <p:cNvSpPr txBox="1"/>
          <p:nvPr/>
        </p:nvSpPr>
        <p:spPr>
          <a:xfrm>
            <a:off x="2818047" y="6195476"/>
            <a:ext cx="3007988" cy="707886"/>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th-TH" sz="4000" b="1" i="0" u="none" strike="noStrike" kern="1200" cap="none" spc="0" normalizeH="0" baseline="0" noProof="0" dirty="0" smtClean="0">
                <a:ln>
                  <a:noFill/>
                </a:ln>
                <a:solidFill>
                  <a:srgbClr val="FF0000"/>
                </a:solidFill>
                <a:effectLst/>
                <a:uLnTx/>
                <a:uFillTx/>
                <a:latin typeface="Arial" pitchFamily="34" charset="0"/>
                <a:ea typeface="+mn-ea"/>
                <a:cs typeface="Angsana New" pitchFamily="18" charset="-34"/>
              </a:rPr>
              <a:t>ระบบ</a:t>
            </a:r>
            <a:r>
              <a:rPr kumimoji="0" lang="en-US" sz="3200" b="1" i="0" u="none" strike="noStrike" kern="1200" cap="none" spc="0" normalizeH="0" baseline="0" noProof="0" dirty="0" smtClean="0">
                <a:ln>
                  <a:noFill/>
                </a:ln>
                <a:solidFill>
                  <a:srgbClr val="FF0000"/>
                </a:solidFill>
                <a:effectLst/>
                <a:uLnTx/>
                <a:uFillTx/>
                <a:latin typeface="Arial" pitchFamily="34" charset="0"/>
                <a:ea typeface="+mn-ea"/>
                <a:cs typeface="Angsana New" pitchFamily="18" charset="-34"/>
              </a:rPr>
              <a:t> </a:t>
            </a:r>
            <a:r>
              <a:rPr kumimoji="0" lang="en-US" sz="2800" b="0" i="0" u="none" strike="noStrike" kern="1200" cap="none" spc="0" normalizeH="0" baseline="0" noProof="0" dirty="0" smtClean="0">
                <a:ln>
                  <a:noFill/>
                </a:ln>
                <a:solidFill>
                  <a:srgbClr val="FF0000"/>
                </a:solidFill>
                <a:effectLst/>
                <a:uLnTx/>
                <a:uFillTx/>
                <a:latin typeface="Arial" pitchFamily="34" charset="0"/>
                <a:ea typeface="+mn-ea"/>
                <a:cs typeface="Angsana New" pitchFamily="18" charset="-34"/>
              </a:rPr>
              <a:t>&lt;  &gt;</a:t>
            </a:r>
            <a:r>
              <a:rPr kumimoji="0" lang="th-TH" sz="3200" b="1" i="0" u="none" strike="noStrike" kern="1200" cap="none" spc="0" normalizeH="0" baseline="0" noProof="0" dirty="0" smtClean="0">
                <a:ln>
                  <a:noFill/>
                </a:ln>
                <a:solidFill>
                  <a:srgbClr val="FF0000"/>
                </a:solidFill>
                <a:effectLst/>
                <a:uLnTx/>
                <a:uFillTx/>
                <a:latin typeface="Arial" pitchFamily="34" charset="0"/>
                <a:ea typeface="+mn-ea"/>
                <a:cs typeface="Angsana New" pitchFamily="18" charset="-34"/>
              </a:rPr>
              <a:t> </a:t>
            </a:r>
            <a:r>
              <a:rPr kumimoji="0" lang="th-TH" sz="4000" b="1" i="0" u="none" strike="noStrike" kern="1200" cap="none" spc="0" normalizeH="0" baseline="0" noProof="0" dirty="0" smtClean="0">
                <a:ln>
                  <a:noFill/>
                </a:ln>
                <a:solidFill>
                  <a:srgbClr val="FF0000"/>
                </a:solidFill>
                <a:effectLst/>
                <a:uLnTx/>
                <a:uFillTx/>
                <a:latin typeface="Arial" pitchFamily="34" charset="0"/>
                <a:ea typeface="+mn-ea"/>
                <a:cs typeface="Angsana New" pitchFamily="18" charset="-34"/>
              </a:rPr>
              <a:t>คน</a:t>
            </a:r>
            <a:r>
              <a:rPr kumimoji="0" lang="th-TH" sz="3200" b="1" i="0" u="none" strike="noStrike" kern="1200" cap="none" spc="0" normalizeH="0" baseline="0" noProof="0" dirty="0" smtClean="0">
                <a:ln>
                  <a:noFill/>
                </a:ln>
                <a:solidFill>
                  <a:srgbClr val="FF0000"/>
                </a:solidFill>
                <a:effectLst/>
                <a:uLnTx/>
                <a:uFillTx/>
                <a:latin typeface="Arial" pitchFamily="34" charset="0"/>
                <a:ea typeface="+mn-ea"/>
                <a:cs typeface="Angsana New" pitchFamily="18" charset="-34"/>
              </a:rPr>
              <a:t> </a:t>
            </a:r>
            <a:endParaRPr kumimoji="0" lang="th-TH" sz="3200" b="1" i="0" u="none" strike="noStrike" kern="1200" cap="none" spc="0" normalizeH="0" baseline="0" noProof="0" dirty="0">
              <a:ln>
                <a:noFill/>
              </a:ln>
              <a:solidFill>
                <a:srgbClr val="FF0000"/>
              </a:solidFill>
              <a:effectLst/>
              <a:uLnTx/>
              <a:uFillTx/>
              <a:latin typeface="Arial" pitchFamily="34" charset="0"/>
              <a:ea typeface="+mn-ea"/>
              <a:cs typeface="Angsana New" pitchFamily="18" charset="-34"/>
            </a:endParaRPr>
          </a:p>
        </p:txBody>
      </p:sp>
      <p:pic>
        <p:nvPicPr>
          <p:cNvPr id="21" name="Picture 2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360281">
            <a:off x="2886460" y="6138164"/>
            <a:ext cx="2955092" cy="745614"/>
          </a:xfrm>
          <a:prstGeom prst="rect">
            <a:avLst/>
          </a:prstGeom>
        </p:spPr>
      </p:pic>
    </p:spTree>
    <p:extLst>
      <p:ext uri="{BB962C8B-B14F-4D97-AF65-F5344CB8AC3E}">
        <p14:creationId xmlns:p14="http://schemas.microsoft.com/office/powerpoint/2010/main" val="1728537932"/>
      </p:ext>
    </p:extLst>
  </p:cSld>
  <p:clrMapOvr>
    <a:overrideClrMapping bg1="lt1" tx1="dk1" bg2="lt2" tx2="dk2" accent1="accent1" accent2="accent2" accent3="accent3" accent4="accent4" accent5="accent5" accent6="accent6" hlink="hlink" folHlink="folHlink"/>
  </p:clrMapOvr>
  <p:transition>
    <p:strips dir="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31"/>
                                        </p:tgtEl>
                                        <p:attrNameLst>
                                          <p:attrName>style.visibility</p:attrName>
                                        </p:attrNameLst>
                                      </p:cBhvr>
                                      <p:to>
                                        <p:strVal val="visible"/>
                                      </p:to>
                                    </p:set>
                                    <p:animEffect transition="in" filter="wipe(left)">
                                      <p:cBhvr>
                                        <p:cTn id="12" dur="500"/>
                                        <p:tgtEl>
                                          <p:spTgt spid="3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wipe(left)">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wipe(left)">
                                      <p:cBhvr>
                                        <p:cTn id="22" dur="5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wipe(left)">
                                      <p:cBhvr>
                                        <p:cTn id="27" dur="500"/>
                                        <p:tgtEl>
                                          <p:spTgt spid="35"/>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37" fill="hold" grpId="0" nodeType="click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barn(outVertical)">
                                      <p:cBhvr>
                                        <p:cTn id="32" dur="500"/>
                                        <p:tgtEl>
                                          <p:spTgt spid="4"/>
                                        </p:tgtEl>
                                      </p:cBhvr>
                                    </p:animEffect>
                                  </p:childTnLst>
                                </p:cTn>
                              </p:par>
                            </p:childTnLst>
                          </p:cTn>
                        </p:par>
                        <p:par>
                          <p:cTn id="33" fill="hold">
                            <p:stCondLst>
                              <p:cond delay="500"/>
                            </p:stCondLst>
                            <p:childTnLst>
                              <p:par>
                                <p:cTn id="34" presetID="22" presetClass="entr" presetSubtype="8" fill="hold" nodeType="afterEffect">
                                  <p:stCondLst>
                                    <p:cond delay="0"/>
                                  </p:stCondLst>
                                  <p:childTnLst>
                                    <p:set>
                                      <p:cBhvr>
                                        <p:cTn id="35" dur="1" fill="hold">
                                          <p:stCondLst>
                                            <p:cond delay="0"/>
                                          </p:stCondLst>
                                        </p:cTn>
                                        <p:tgtEl>
                                          <p:spTgt spid="21"/>
                                        </p:tgtEl>
                                        <p:attrNameLst>
                                          <p:attrName>style.visibility</p:attrName>
                                        </p:attrNameLst>
                                      </p:cBhvr>
                                      <p:to>
                                        <p:strVal val="visible"/>
                                      </p:to>
                                    </p:set>
                                    <p:animEffect transition="in" filter="wipe(left)">
                                      <p:cBhvr>
                                        <p:cTn id="36" dur="1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 grpId="0" animBg="1"/>
      <p:bldP spid="35" grpId="0" animBg="1"/>
      <p:bldP spid="4"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Slide Number Placeholder 3"/>
          <p:cNvSpPr txBox="1">
            <a:spLocks/>
          </p:cNvSpPr>
          <p:nvPr/>
        </p:nvSpPr>
        <p:spPr bwMode="auto">
          <a:xfrm>
            <a:off x="7239000" y="6477000"/>
            <a:ext cx="1905000"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th-TH"/>
            </a:defPPr>
            <a:lvl1pPr algn="r" rtl="0" eaLnBrk="0" fontAlgn="base" hangingPunct="0">
              <a:spcBef>
                <a:spcPct val="0"/>
              </a:spcBef>
              <a:spcAft>
                <a:spcPct val="0"/>
              </a:spcAft>
              <a:defRPr sz="2400" i="1" kern="1200">
                <a:solidFill>
                  <a:schemeClr val="bg1"/>
                </a:solidFill>
                <a:effectDag name="">
                  <a:cont type="tree" name="">
                    <a:effect ref="fillLine"/>
                    <a:outerShdw dist="38100" dir="13500000" algn="br">
                      <a:srgbClr val="6858FF"/>
                    </a:outerShdw>
                  </a:cont>
                  <a:cont type="tree" name="">
                    <a:effect ref="fillLine"/>
                    <a:outerShdw dist="38100" dir="2700000" algn="tl">
                      <a:srgbClr val="0E0286"/>
                    </a:outerShdw>
                  </a:cont>
                  <a:effect ref="fillLine"/>
                </a:effectDag>
                <a:latin typeface="BrowalliaUPC" pitchFamily="34" charset="-34"/>
                <a:ea typeface="+mn-ea"/>
                <a:cs typeface="+mn-cs"/>
              </a:defRPr>
            </a:lvl1pPr>
            <a:lvl2pPr marL="457200" algn="ctr" rtl="0" fontAlgn="base">
              <a:spcBef>
                <a:spcPct val="0"/>
              </a:spcBef>
              <a:spcAft>
                <a:spcPct val="0"/>
              </a:spcAft>
              <a:defRPr sz="3600" kern="1200">
                <a:solidFill>
                  <a:srgbClr val="FFFF00"/>
                </a:solidFill>
                <a:latin typeface="AngsanaUPC" pitchFamily="18" charset="-34"/>
                <a:ea typeface="+mn-ea"/>
                <a:cs typeface="+mn-cs"/>
              </a:defRPr>
            </a:lvl2pPr>
            <a:lvl3pPr marL="914400" algn="ctr" rtl="0" fontAlgn="base">
              <a:spcBef>
                <a:spcPct val="0"/>
              </a:spcBef>
              <a:spcAft>
                <a:spcPct val="0"/>
              </a:spcAft>
              <a:defRPr sz="3600" kern="1200">
                <a:solidFill>
                  <a:srgbClr val="FFFF00"/>
                </a:solidFill>
                <a:latin typeface="AngsanaUPC" pitchFamily="18" charset="-34"/>
                <a:ea typeface="+mn-ea"/>
                <a:cs typeface="+mn-cs"/>
              </a:defRPr>
            </a:lvl3pPr>
            <a:lvl4pPr marL="1371600" algn="ctr" rtl="0" fontAlgn="base">
              <a:spcBef>
                <a:spcPct val="0"/>
              </a:spcBef>
              <a:spcAft>
                <a:spcPct val="0"/>
              </a:spcAft>
              <a:defRPr sz="3600" kern="1200">
                <a:solidFill>
                  <a:srgbClr val="FFFF00"/>
                </a:solidFill>
                <a:latin typeface="AngsanaUPC" pitchFamily="18" charset="-34"/>
                <a:ea typeface="+mn-ea"/>
                <a:cs typeface="+mn-cs"/>
              </a:defRPr>
            </a:lvl4pPr>
            <a:lvl5pPr marL="1828800" algn="ctr" rtl="0" fontAlgn="base">
              <a:spcBef>
                <a:spcPct val="0"/>
              </a:spcBef>
              <a:spcAft>
                <a:spcPct val="0"/>
              </a:spcAft>
              <a:defRPr sz="3600" kern="1200">
                <a:solidFill>
                  <a:srgbClr val="FFFF00"/>
                </a:solidFill>
                <a:latin typeface="AngsanaUPC" pitchFamily="18" charset="-34"/>
                <a:ea typeface="+mn-ea"/>
                <a:cs typeface="+mn-cs"/>
              </a:defRPr>
            </a:lvl5pPr>
            <a:lvl6pPr marL="2286000" algn="l" defTabSz="914400" rtl="0" eaLnBrk="1" latinLnBrk="0" hangingPunct="1">
              <a:defRPr sz="3600" kern="1200">
                <a:solidFill>
                  <a:srgbClr val="FFFF00"/>
                </a:solidFill>
                <a:latin typeface="AngsanaUPC" pitchFamily="18" charset="-34"/>
                <a:ea typeface="+mn-ea"/>
                <a:cs typeface="+mn-cs"/>
              </a:defRPr>
            </a:lvl6pPr>
            <a:lvl7pPr marL="2743200" algn="l" defTabSz="914400" rtl="0" eaLnBrk="1" latinLnBrk="0" hangingPunct="1">
              <a:defRPr sz="3600" kern="1200">
                <a:solidFill>
                  <a:srgbClr val="FFFF00"/>
                </a:solidFill>
                <a:latin typeface="AngsanaUPC" pitchFamily="18" charset="-34"/>
                <a:ea typeface="+mn-ea"/>
                <a:cs typeface="+mn-cs"/>
              </a:defRPr>
            </a:lvl7pPr>
            <a:lvl8pPr marL="3200400" algn="l" defTabSz="914400" rtl="0" eaLnBrk="1" latinLnBrk="0" hangingPunct="1">
              <a:defRPr sz="3600" kern="1200">
                <a:solidFill>
                  <a:srgbClr val="FFFF00"/>
                </a:solidFill>
                <a:latin typeface="AngsanaUPC" pitchFamily="18" charset="-34"/>
                <a:ea typeface="+mn-ea"/>
                <a:cs typeface="+mn-cs"/>
              </a:defRPr>
            </a:lvl8pPr>
            <a:lvl9pPr marL="3657600" algn="l" defTabSz="914400" rtl="0" eaLnBrk="1" latinLnBrk="0" hangingPunct="1">
              <a:defRPr sz="3600" kern="1200">
                <a:solidFill>
                  <a:srgbClr val="FFFF00"/>
                </a:solidFill>
                <a:latin typeface="AngsanaUPC" pitchFamily="18" charset="-34"/>
                <a:ea typeface="+mn-ea"/>
                <a:cs typeface="+mn-cs"/>
              </a:defRPr>
            </a:lvl9pPr>
          </a:lstStyle>
          <a:p>
            <a:pPr>
              <a:defRPr/>
            </a:pPr>
            <a:fld id="{88E98EE7-0A8A-4BBD-A6B2-17E6927DFA36}" type="slidenum">
              <a:rPr lang="en-US" smtClean="0">
                <a:solidFill>
                  <a:srgbClr val="1904E0"/>
                </a:solidFill>
              </a:rPr>
              <a:pPr>
                <a:defRPr/>
              </a:pPr>
              <a:t>22</a:t>
            </a:fld>
            <a:endParaRPr lang="th-TH" sz="1800" smtClean="0">
              <a:solidFill>
                <a:srgbClr val="1904E0"/>
              </a:solidFill>
            </a:endParaRPr>
          </a:p>
        </p:txBody>
      </p:sp>
      <p:grpSp>
        <p:nvGrpSpPr>
          <p:cNvPr id="45" name="Group 3"/>
          <p:cNvGrpSpPr>
            <a:grpSpLocks/>
          </p:cNvGrpSpPr>
          <p:nvPr/>
        </p:nvGrpSpPr>
        <p:grpSpPr bwMode="auto">
          <a:xfrm>
            <a:off x="3274864" y="2403475"/>
            <a:ext cx="2560638" cy="2560638"/>
            <a:chOff x="2054" y="1514"/>
            <a:chExt cx="1613" cy="1613"/>
          </a:xfrm>
        </p:grpSpPr>
        <p:sp>
          <p:nvSpPr>
            <p:cNvPr id="46" name="Freeform 4"/>
            <p:cNvSpPr>
              <a:spLocks/>
            </p:cNvSpPr>
            <p:nvPr/>
          </p:nvSpPr>
          <p:spPr bwMode="auto">
            <a:xfrm>
              <a:off x="2644" y="1568"/>
              <a:ext cx="1023" cy="1559"/>
            </a:xfrm>
            <a:custGeom>
              <a:avLst/>
              <a:gdLst>
                <a:gd name="T0" fmla="*/ 436 w 2045"/>
                <a:gd name="T1" fmla="*/ 1438 h 3118"/>
                <a:gd name="T2" fmla="*/ 673 w 2045"/>
                <a:gd name="T3" fmla="*/ 1617 h 3118"/>
                <a:gd name="T4" fmla="*/ 816 w 2045"/>
                <a:gd name="T5" fmla="*/ 1772 h 3118"/>
                <a:gd name="T6" fmla="*/ 915 w 2045"/>
                <a:gd name="T7" fmla="*/ 1987 h 3118"/>
                <a:gd name="T8" fmla="*/ 961 w 2045"/>
                <a:gd name="T9" fmla="*/ 2178 h 3118"/>
                <a:gd name="T10" fmla="*/ 957 w 2045"/>
                <a:gd name="T11" fmla="*/ 2346 h 3118"/>
                <a:gd name="T12" fmla="*/ 904 w 2045"/>
                <a:gd name="T13" fmla="*/ 2555 h 3118"/>
                <a:gd name="T14" fmla="*/ 800 w 2045"/>
                <a:gd name="T15" fmla="*/ 2740 h 3118"/>
                <a:gd name="T16" fmla="*/ 650 w 2045"/>
                <a:gd name="T17" fmla="*/ 2904 h 3118"/>
                <a:gd name="T18" fmla="*/ 514 w 2045"/>
                <a:gd name="T19" fmla="*/ 2997 h 3118"/>
                <a:gd name="T20" fmla="*/ 364 w 2045"/>
                <a:gd name="T21" fmla="*/ 3053 h 3118"/>
                <a:gd name="T22" fmla="*/ 225 w 2045"/>
                <a:gd name="T23" fmla="*/ 3069 h 3118"/>
                <a:gd name="T24" fmla="*/ 0 w 2045"/>
                <a:gd name="T25" fmla="*/ 3059 h 3118"/>
                <a:gd name="T26" fmla="*/ 203 w 2045"/>
                <a:gd name="T27" fmla="*/ 3101 h 3118"/>
                <a:gd name="T28" fmla="*/ 394 w 2045"/>
                <a:gd name="T29" fmla="*/ 3118 h 3118"/>
                <a:gd name="T30" fmla="*/ 561 w 2045"/>
                <a:gd name="T31" fmla="*/ 3113 h 3118"/>
                <a:gd name="T32" fmla="*/ 740 w 2045"/>
                <a:gd name="T33" fmla="*/ 3088 h 3118"/>
                <a:gd name="T34" fmla="*/ 953 w 2045"/>
                <a:gd name="T35" fmla="*/ 3033 h 3118"/>
                <a:gd name="T36" fmla="*/ 1146 w 2045"/>
                <a:gd name="T37" fmla="*/ 2951 h 3118"/>
                <a:gd name="T38" fmla="*/ 1338 w 2045"/>
                <a:gd name="T39" fmla="*/ 2841 h 3118"/>
                <a:gd name="T40" fmla="*/ 1479 w 2045"/>
                <a:gd name="T41" fmla="*/ 2728 h 3118"/>
                <a:gd name="T42" fmla="*/ 1618 w 2045"/>
                <a:gd name="T43" fmla="*/ 2597 h 3118"/>
                <a:gd name="T44" fmla="*/ 1729 w 2045"/>
                <a:gd name="T45" fmla="*/ 2459 h 3118"/>
                <a:gd name="T46" fmla="*/ 1831 w 2045"/>
                <a:gd name="T47" fmla="*/ 2310 h 3118"/>
                <a:gd name="T48" fmla="*/ 1911 w 2045"/>
                <a:gd name="T49" fmla="*/ 2147 h 3118"/>
                <a:gd name="T50" fmla="*/ 1976 w 2045"/>
                <a:gd name="T51" fmla="*/ 1964 h 3118"/>
                <a:gd name="T52" fmla="*/ 2022 w 2045"/>
                <a:gd name="T53" fmla="*/ 1778 h 3118"/>
                <a:gd name="T54" fmla="*/ 2042 w 2045"/>
                <a:gd name="T55" fmla="*/ 1581 h 3118"/>
                <a:gd name="T56" fmla="*/ 2042 w 2045"/>
                <a:gd name="T57" fmla="*/ 1398 h 3118"/>
                <a:gd name="T58" fmla="*/ 2012 w 2045"/>
                <a:gd name="T59" fmla="*/ 1178 h 3118"/>
                <a:gd name="T60" fmla="*/ 1962 w 2045"/>
                <a:gd name="T61" fmla="*/ 988 h 3118"/>
                <a:gd name="T62" fmla="*/ 1892 w 2045"/>
                <a:gd name="T63" fmla="*/ 826 h 3118"/>
                <a:gd name="T64" fmla="*/ 1807 w 2045"/>
                <a:gd name="T65" fmla="*/ 659 h 3118"/>
                <a:gd name="T66" fmla="*/ 1690 w 2045"/>
                <a:gd name="T67" fmla="*/ 498 h 3118"/>
                <a:gd name="T68" fmla="*/ 1570 w 2045"/>
                <a:gd name="T69" fmla="*/ 360 h 3118"/>
                <a:gd name="T70" fmla="*/ 1449 w 2045"/>
                <a:gd name="T71" fmla="*/ 249 h 3118"/>
                <a:gd name="T72" fmla="*/ 1301 w 2045"/>
                <a:gd name="T73" fmla="*/ 143 h 3118"/>
                <a:gd name="T74" fmla="*/ 1176 w 2045"/>
                <a:gd name="T75" fmla="*/ 75 h 3118"/>
                <a:gd name="T76" fmla="*/ 1057 w 2045"/>
                <a:gd name="T77" fmla="*/ 33 h 3118"/>
                <a:gd name="T78" fmla="*/ 899 w 2045"/>
                <a:gd name="T79" fmla="*/ 3 h 3118"/>
                <a:gd name="T80" fmla="*/ 765 w 2045"/>
                <a:gd name="T81" fmla="*/ 3 h 3118"/>
                <a:gd name="T82" fmla="*/ 594 w 2045"/>
                <a:gd name="T83" fmla="*/ 36 h 3118"/>
                <a:gd name="T84" fmla="*/ 458 w 2045"/>
                <a:gd name="T85" fmla="*/ 101 h 3118"/>
                <a:gd name="T86" fmla="*/ 333 w 2045"/>
                <a:gd name="T87" fmla="*/ 191 h 3118"/>
                <a:gd name="T88" fmla="*/ 225 w 2045"/>
                <a:gd name="T89" fmla="*/ 308 h 3118"/>
                <a:gd name="T90" fmla="*/ 143 w 2045"/>
                <a:gd name="T91" fmla="*/ 448 h 3118"/>
                <a:gd name="T92" fmla="*/ 96 w 2045"/>
                <a:gd name="T93" fmla="*/ 613 h 3118"/>
                <a:gd name="T94" fmla="*/ 82 w 2045"/>
                <a:gd name="T95" fmla="*/ 788 h 3118"/>
                <a:gd name="T96" fmla="*/ 113 w 2045"/>
                <a:gd name="T97" fmla="*/ 974 h 3118"/>
                <a:gd name="T98" fmla="*/ 185 w 2045"/>
                <a:gd name="T99" fmla="*/ 1135 h 3118"/>
                <a:gd name="T100" fmla="*/ 293 w 2045"/>
                <a:gd name="T101" fmla="*/ 1288 h 3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45" h="3118">
                  <a:moveTo>
                    <a:pt x="364" y="1368"/>
                  </a:moveTo>
                  <a:lnTo>
                    <a:pt x="436" y="1438"/>
                  </a:lnTo>
                  <a:lnTo>
                    <a:pt x="511" y="1497"/>
                  </a:lnTo>
                  <a:lnTo>
                    <a:pt x="673" y="1617"/>
                  </a:lnTo>
                  <a:lnTo>
                    <a:pt x="756" y="1694"/>
                  </a:lnTo>
                  <a:lnTo>
                    <a:pt x="816" y="1772"/>
                  </a:lnTo>
                  <a:lnTo>
                    <a:pt x="880" y="1891"/>
                  </a:lnTo>
                  <a:lnTo>
                    <a:pt x="915" y="1987"/>
                  </a:lnTo>
                  <a:lnTo>
                    <a:pt x="949" y="2086"/>
                  </a:lnTo>
                  <a:lnTo>
                    <a:pt x="961" y="2178"/>
                  </a:lnTo>
                  <a:lnTo>
                    <a:pt x="963" y="2268"/>
                  </a:lnTo>
                  <a:lnTo>
                    <a:pt x="957" y="2346"/>
                  </a:lnTo>
                  <a:lnTo>
                    <a:pt x="939" y="2454"/>
                  </a:lnTo>
                  <a:lnTo>
                    <a:pt x="904" y="2555"/>
                  </a:lnTo>
                  <a:lnTo>
                    <a:pt x="859" y="2644"/>
                  </a:lnTo>
                  <a:lnTo>
                    <a:pt x="800" y="2740"/>
                  </a:lnTo>
                  <a:lnTo>
                    <a:pt x="716" y="2837"/>
                  </a:lnTo>
                  <a:lnTo>
                    <a:pt x="650" y="2904"/>
                  </a:lnTo>
                  <a:lnTo>
                    <a:pt x="583" y="2956"/>
                  </a:lnTo>
                  <a:lnTo>
                    <a:pt x="514" y="2997"/>
                  </a:lnTo>
                  <a:lnTo>
                    <a:pt x="441" y="3029"/>
                  </a:lnTo>
                  <a:lnTo>
                    <a:pt x="364" y="3053"/>
                  </a:lnTo>
                  <a:lnTo>
                    <a:pt x="281" y="3064"/>
                  </a:lnTo>
                  <a:lnTo>
                    <a:pt x="225" y="3069"/>
                  </a:lnTo>
                  <a:lnTo>
                    <a:pt x="159" y="3071"/>
                  </a:lnTo>
                  <a:lnTo>
                    <a:pt x="0" y="3059"/>
                  </a:lnTo>
                  <a:lnTo>
                    <a:pt x="117" y="3087"/>
                  </a:lnTo>
                  <a:lnTo>
                    <a:pt x="203" y="3101"/>
                  </a:lnTo>
                  <a:lnTo>
                    <a:pt x="298" y="3113"/>
                  </a:lnTo>
                  <a:lnTo>
                    <a:pt x="394" y="3118"/>
                  </a:lnTo>
                  <a:lnTo>
                    <a:pt x="476" y="3118"/>
                  </a:lnTo>
                  <a:lnTo>
                    <a:pt x="561" y="3113"/>
                  </a:lnTo>
                  <a:lnTo>
                    <a:pt x="655" y="3104"/>
                  </a:lnTo>
                  <a:lnTo>
                    <a:pt x="740" y="3088"/>
                  </a:lnTo>
                  <a:lnTo>
                    <a:pt x="842" y="3064"/>
                  </a:lnTo>
                  <a:lnTo>
                    <a:pt x="953" y="3033"/>
                  </a:lnTo>
                  <a:lnTo>
                    <a:pt x="1061" y="2991"/>
                  </a:lnTo>
                  <a:lnTo>
                    <a:pt x="1146" y="2951"/>
                  </a:lnTo>
                  <a:lnTo>
                    <a:pt x="1240" y="2902"/>
                  </a:lnTo>
                  <a:lnTo>
                    <a:pt x="1338" y="2841"/>
                  </a:lnTo>
                  <a:lnTo>
                    <a:pt x="1409" y="2785"/>
                  </a:lnTo>
                  <a:lnTo>
                    <a:pt x="1479" y="2728"/>
                  </a:lnTo>
                  <a:lnTo>
                    <a:pt x="1552" y="2661"/>
                  </a:lnTo>
                  <a:lnTo>
                    <a:pt x="1618" y="2597"/>
                  </a:lnTo>
                  <a:lnTo>
                    <a:pt x="1672" y="2531"/>
                  </a:lnTo>
                  <a:lnTo>
                    <a:pt x="1729" y="2459"/>
                  </a:lnTo>
                  <a:lnTo>
                    <a:pt x="1779" y="2388"/>
                  </a:lnTo>
                  <a:lnTo>
                    <a:pt x="1831" y="2310"/>
                  </a:lnTo>
                  <a:lnTo>
                    <a:pt x="1872" y="2231"/>
                  </a:lnTo>
                  <a:lnTo>
                    <a:pt x="1911" y="2147"/>
                  </a:lnTo>
                  <a:lnTo>
                    <a:pt x="1946" y="2059"/>
                  </a:lnTo>
                  <a:lnTo>
                    <a:pt x="1976" y="1964"/>
                  </a:lnTo>
                  <a:lnTo>
                    <a:pt x="2003" y="1872"/>
                  </a:lnTo>
                  <a:lnTo>
                    <a:pt x="2022" y="1778"/>
                  </a:lnTo>
                  <a:lnTo>
                    <a:pt x="2036" y="1671"/>
                  </a:lnTo>
                  <a:lnTo>
                    <a:pt x="2042" y="1581"/>
                  </a:lnTo>
                  <a:lnTo>
                    <a:pt x="2045" y="1492"/>
                  </a:lnTo>
                  <a:lnTo>
                    <a:pt x="2042" y="1398"/>
                  </a:lnTo>
                  <a:lnTo>
                    <a:pt x="2029" y="1290"/>
                  </a:lnTo>
                  <a:lnTo>
                    <a:pt x="2012" y="1178"/>
                  </a:lnTo>
                  <a:lnTo>
                    <a:pt x="1988" y="1084"/>
                  </a:lnTo>
                  <a:lnTo>
                    <a:pt x="1962" y="988"/>
                  </a:lnTo>
                  <a:lnTo>
                    <a:pt x="1932" y="910"/>
                  </a:lnTo>
                  <a:lnTo>
                    <a:pt x="1892" y="826"/>
                  </a:lnTo>
                  <a:lnTo>
                    <a:pt x="1857" y="749"/>
                  </a:lnTo>
                  <a:lnTo>
                    <a:pt x="1807" y="659"/>
                  </a:lnTo>
                  <a:lnTo>
                    <a:pt x="1749" y="571"/>
                  </a:lnTo>
                  <a:lnTo>
                    <a:pt x="1690" y="498"/>
                  </a:lnTo>
                  <a:lnTo>
                    <a:pt x="1634" y="428"/>
                  </a:lnTo>
                  <a:lnTo>
                    <a:pt x="1570" y="360"/>
                  </a:lnTo>
                  <a:lnTo>
                    <a:pt x="1505" y="296"/>
                  </a:lnTo>
                  <a:lnTo>
                    <a:pt x="1449" y="249"/>
                  </a:lnTo>
                  <a:lnTo>
                    <a:pt x="1377" y="191"/>
                  </a:lnTo>
                  <a:lnTo>
                    <a:pt x="1301" y="143"/>
                  </a:lnTo>
                  <a:lnTo>
                    <a:pt x="1240" y="107"/>
                  </a:lnTo>
                  <a:lnTo>
                    <a:pt x="1176" y="75"/>
                  </a:lnTo>
                  <a:lnTo>
                    <a:pt x="1116" y="52"/>
                  </a:lnTo>
                  <a:lnTo>
                    <a:pt x="1057" y="33"/>
                  </a:lnTo>
                  <a:lnTo>
                    <a:pt x="967" y="12"/>
                  </a:lnTo>
                  <a:lnTo>
                    <a:pt x="899" y="3"/>
                  </a:lnTo>
                  <a:lnTo>
                    <a:pt x="829" y="0"/>
                  </a:lnTo>
                  <a:lnTo>
                    <a:pt x="765" y="3"/>
                  </a:lnTo>
                  <a:lnTo>
                    <a:pt x="678" y="15"/>
                  </a:lnTo>
                  <a:lnTo>
                    <a:pt x="594" y="36"/>
                  </a:lnTo>
                  <a:lnTo>
                    <a:pt x="519" y="66"/>
                  </a:lnTo>
                  <a:lnTo>
                    <a:pt x="458" y="101"/>
                  </a:lnTo>
                  <a:lnTo>
                    <a:pt x="388" y="143"/>
                  </a:lnTo>
                  <a:lnTo>
                    <a:pt x="333" y="191"/>
                  </a:lnTo>
                  <a:lnTo>
                    <a:pt x="275" y="245"/>
                  </a:lnTo>
                  <a:lnTo>
                    <a:pt x="225" y="308"/>
                  </a:lnTo>
                  <a:lnTo>
                    <a:pt x="179" y="376"/>
                  </a:lnTo>
                  <a:lnTo>
                    <a:pt x="143" y="448"/>
                  </a:lnTo>
                  <a:lnTo>
                    <a:pt x="117" y="529"/>
                  </a:lnTo>
                  <a:lnTo>
                    <a:pt x="96" y="613"/>
                  </a:lnTo>
                  <a:lnTo>
                    <a:pt x="84" y="699"/>
                  </a:lnTo>
                  <a:lnTo>
                    <a:pt x="82" y="788"/>
                  </a:lnTo>
                  <a:lnTo>
                    <a:pt x="94" y="888"/>
                  </a:lnTo>
                  <a:lnTo>
                    <a:pt x="113" y="974"/>
                  </a:lnTo>
                  <a:lnTo>
                    <a:pt x="147" y="1057"/>
                  </a:lnTo>
                  <a:lnTo>
                    <a:pt x="185" y="1135"/>
                  </a:lnTo>
                  <a:lnTo>
                    <a:pt x="233" y="1204"/>
                  </a:lnTo>
                  <a:lnTo>
                    <a:pt x="293" y="1288"/>
                  </a:lnTo>
                  <a:lnTo>
                    <a:pt x="364" y="1368"/>
                  </a:lnTo>
                  <a:close/>
                </a:path>
              </a:pathLst>
            </a:custGeom>
            <a:solidFill>
              <a:schemeClr val="accent6">
                <a:lumMod val="20000"/>
                <a:lumOff val="80000"/>
              </a:schemeClr>
            </a:solidFill>
            <a:ln>
              <a:noFill/>
            </a:ln>
            <a:scene3d>
              <a:camera prst="orthographicFront"/>
              <a:lightRig rig="threePt" dir="t"/>
            </a:scene3d>
            <a:sp3d>
              <a:bevelT prst="relaxedInset"/>
            </a:sp3d>
            <a:extLst>
              <a:ext uri="{91240B29-F687-4F45-9708-019B960494DF}">
                <a14:hiddenLine xmlns:a14="http://schemas.microsoft.com/office/drawing/2010/main" w="14288">
                  <a:solidFill>
                    <a:srgbClr val="000000"/>
                  </a:solidFill>
                  <a:prstDash val="solid"/>
                  <a:round/>
                  <a:headEnd/>
                  <a:tailEnd/>
                </a14:hiddenLine>
              </a:ext>
            </a:extLst>
          </p:spPr>
          <p:txBody>
            <a:bodyPr/>
            <a:lstStyle/>
            <a:p>
              <a:pPr algn="ctr" fontAlgn="auto">
                <a:spcBef>
                  <a:spcPts val="0"/>
                </a:spcBef>
                <a:spcAft>
                  <a:spcPts val="0"/>
                </a:spcAft>
                <a:defRPr/>
              </a:pPr>
              <a:endParaRPr lang="th-TH" sz="3600" kern="0" smtClean="0">
                <a:solidFill>
                  <a:srgbClr val="FFFF00"/>
                </a:solidFill>
                <a:latin typeface="AngsanaUPC" pitchFamily="18" charset="-34"/>
                <a:cs typeface="LilyUPC" panose="020B0604020202020204" pitchFamily="34" charset="-34"/>
              </a:endParaRPr>
            </a:p>
          </p:txBody>
        </p:sp>
        <p:sp>
          <p:nvSpPr>
            <p:cNvPr id="47" name="Freeform 5"/>
            <p:cNvSpPr>
              <a:spLocks/>
            </p:cNvSpPr>
            <p:nvPr/>
          </p:nvSpPr>
          <p:spPr bwMode="auto">
            <a:xfrm>
              <a:off x="2054" y="1514"/>
              <a:ext cx="1022" cy="1559"/>
            </a:xfrm>
            <a:custGeom>
              <a:avLst/>
              <a:gdLst>
                <a:gd name="T0" fmla="*/ 1609 w 2046"/>
                <a:gd name="T1" fmla="*/ 1681 h 3119"/>
                <a:gd name="T2" fmla="*/ 1372 w 2046"/>
                <a:gd name="T3" fmla="*/ 1502 h 3119"/>
                <a:gd name="T4" fmla="*/ 1229 w 2046"/>
                <a:gd name="T5" fmla="*/ 1347 h 3119"/>
                <a:gd name="T6" fmla="*/ 1130 w 2046"/>
                <a:gd name="T7" fmla="*/ 1131 h 3119"/>
                <a:gd name="T8" fmla="*/ 1085 w 2046"/>
                <a:gd name="T9" fmla="*/ 941 h 3119"/>
                <a:gd name="T10" fmla="*/ 1088 w 2046"/>
                <a:gd name="T11" fmla="*/ 773 h 3119"/>
                <a:gd name="T12" fmla="*/ 1142 w 2046"/>
                <a:gd name="T13" fmla="*/ 564 h 3119"/>
                <a:gd name="T14" fmla="*/ 1245 w 2046"/>
                <a:gd name="T15" fmla="*/ 378 h 3119"/>
                <a:gd name="T16" fmla="*/ 1395 w 2046"/>
                <a:gd name="T17" fmla="*/ 215 h 3119"/>
                <a:gd name="T18" fmla="*/ 1532 w 2046"/>
                <a:gd name="T19" fmla="*/ 122 h 3119"/>
                <a:gd name="T20" fmla="*/ 1682 w 2046"/>
                <a:gd name="T21" fmla="*/ 66 h 3119"/>
                <a:gd name="T22" fmla="*/ 1821 w 2046"/>
                <a:gd name="T23" fmla="*/ 50 h 3119"/>
                <a:gd name="T24" fmla="*/ 2046 w 2046"/>
                <a:gd name="T25" fmla="*/ 60 h 3119"/>
                <a:gd name="T26" fmla="*/ 1842 w 2046"/>
                <a:gd name="T27" fmla="*/ 18 h 3119"/>
                <a:gd name="T28" fmla="*/ 1651 w 2046"/>
                <a:gd name="T29" fmla="*/ 0 h 3119"/>
                <a:gd name="T30" fmla="*/ 1485 w 2046"/>
                <a:gd name="T31" fmla="*/ 6 h 3119"/>
                <a:gd name="T32" fmla="*/ 1306 w 2046"/>
                <a:gd name="T33" fmla="*/ 30 h 3119"/>
                <a:gd name="T34" fmla="*/ 1092 w 2046"/>
                <a:gd name="T35" fmla="*/ 85 h 3119"/>
                <a:gd name="T36" fmla="*/ 900 w 2046"/>
                <a:gd name="T37" fmla="*/ 167 h 3119"/>
                <a:gd name="T38" fmla="*/ 708 w 2046"/>
                <a:gd name="T39" fmla="*/ 277 h 3119"/>
                <a:gd name="T40" fmla="*/ 567 w 2046"/>
                <a:gd name="T41" fmla="*/ 390 h 3119"/>
                <a:gd name="T42" fmla="*/ 428 w 2046"/>
                <a:gd name="T43" fmla="*/ 522 h 3119"/>
                <a:gd name="T44" fmla="*/ 317 w 2046"/>
                <a:gd name="T45" fmla="*/ 660 h 3119"/>
                <a:gd name="T46" fmla="*/ 215 w 2046"/>
                <a:gd name="T47" fmla="*/ 808 h 3119"/>
                <a:gd name="T48" fmla="*/ 135 w 2046"/>
                <a:gd name="T49" fmla="*/ 972 h 3119"/>
                <a:gd name="T50" fmla="*/ 69 w 2046"/>
                <a:gd name="T51" fmla="*/ 1155 h 3119"/>
                <a:gd name="T52" fmla="*/ 24 w 2046"/>
                <a:gd name="T53" fmla="*/ 1340 h 3119"/>
                <a:gd name="T54" fmla="*/ 3 w 2046"/>
                <a:gd name="T55" fmla="*/ 1537 h 3119"/>
                <a:gd name="T56" fmla="*/ 3 w 2046"/>
                <a:gd name="T57" fmla="*/ 1720 h 3119"/>
                <a:gd name="T58" fmla="*/ 34 w 2046"/>
                <a:gd name="T59" fmla="*/ 1940 h 3119"/>
                <a:gd name="T60" fmla="*/ 83 w 2046"/>
                <a:gd name="T61" fmla="*/ 2131 h 3119"/>
                <a:gd name="T62" fmla="*/ 153 w 2046"/>
                <a:gd name="T63" fmla="*/ 2292 h 3119"/>
                <a:gd name="T64" fmla="*/ 238 w 2046"/>
                <a:gd name="T65" fmla="*/ 2459 h 3119"/>
                <a:gd name="T66" fmla="*/ 356 w 2046"/>
                <a:gd name="T67" fmla="*/ 2621 h 3119"/>
                <a:gd name="T68" fmla="*/ 475 w 2046"/>
                <a:gd name="T69" fmla="*/ 2759 h 3119"/>
                <a:gd name="T70" fmla="*/ 597 w 2046"/>
                <a:gd name="T71" fmla="*/ 2870 h 3119"/>
                <a:gd name="T72" fmla="*/ 745 w 2046"/>
                <a:gd name="T73" fmla="*/ 2975 h 3119"/>
                <a:gd name="T74" fmla="*/ 869 w 2046"/>
                <a:gd name="T75" fmla="*/ 3043 h 3119"/>
                <a:gd name="T76" fmla="*/ 989 w 2046"/>
                <a:gd name="T77" fmla="*/ 3085 h 3119"/>
                <a:gd name="T78" fmla="*/ 1146 w 2046"/>
                <a:gd name="T79" fmla="*/ 3115 h 3119"/>
                <a:gd name="T80" fmla="*/ 1281 w 2046"/>
                <a:gd name="T81" fmla="*/ 3115 h 3119"/>
                <a:gd name="T82" fmla="*/ 1451 w 2046"/>
                <a:gd name="T83" fmla="*/ 3083 h 3119"/>
                <a:gd name="T84" fmla="*/ 1588 w 2046"/>
                <a:gd name="T85" fmla="*/ 3017 h 3119"/>
                <a:gd name="T86" fmla="*/ 1713 w 2046"/>
                <a:gd name="T87" fmla="*/ 2928 h 3119"/>
                <a:gd name="T88" fmla="*/ 1821 w 2046"/>
                <a:gd name="T89" fmla="*/ 2811 h 3119"/>
                <a:gd name="T90" fmla="*/ 1902 w 2046"/>
                <a:gd name="T91" fmla="*/ 2671 h 3119"/>
                <a:gd name="T92" fmla="*/ 1950 w 2046"/>
                <a:gd name="T93" fmla="*/ 2506 h 3119"/>
                <a:gd name="T94" fmla="*/ 1964 w 2046"/>
                <a:gd name="T95" fmla="*/ 2330 h 3119"/>
                <a:gd name="T96" fmla="*/ 1933 w 2046"/>
                <a:gd name="T97" fmla="*/ 2145 h 3119"/>
                <a:gd name="T98" fmla="*/ 1860 w 2046"/>
                <a:gd name="T99" fmla="*/ 1983 h 3119"/>
                <a:gd name="T100" fmla="*/ 1753 w 2046"/>
                <a:gd name="T101" fmla="*/ 1830 h 3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46" h="3119">
                  <a:moveTo>
                    <a:pt x="1682" y="1751"/>
                  </a:moveTo>
                  <a:lnTo>
                    <a:pt x="1609" y="1681"/>
                  </a:lnTo>
                  <a:lnTo>
                    <a:pt x="1534" y="1621"/>
                  </a:lnTo>
                  <a:lnTo>
                    <a:pt x="1372" y="1502"/>
                  </a:lnTo>
                  <a:lnTo>
                    <a:pt x="1290" y="1424"/>
                  </a:lnTo>
                  <a:lnTo>
                    <a:pt x="1229" y="1347"/>
                  </a:lnTo>
                  <a:lnTo>
                    <a:pt x="1166" y="1227"/>
                  </a:lnTo>
                  <a:lnTo>
                    <a:pt x="1130" y="1131"/>
                  </a:lnTo>
                  <a:lnTo>
                    <a:pt x="1097" y="1032"/>
                  </a:lnTo>
                  <a:lnTo>
                    <a:pt x="1085" y="941"/>
                  </a:lnTo>
                  <a:lnTo>
                    <a:pt x="1083" y="850"/>
                  </a:lnTo>
                  <a:lnTo>
                    <a:pt x="1088" y="773"/>
                  </a:lnTo>
                  <a:lnTo>
                    <a:pt x="1106" y="665"/>
                  </a:lnTo>
                  <a:lnTo>
                    <a:pt x="1142" y="564"/>
                  </a:lnTo>
                  <a:lnTo>
                    <a:pt x="1186" y="474"/>
                  </a:lnTo>
                  <a:lnTo>
                    <a:pt x="1245" y="378"/>
                  </a:lnTo>
                  <a:lnTo>
                    <a:pt x="1329" y="281"/>
                  </a:lnTo>
                  <a:lnTo>
                    <a:pt x="1395" y="215"/>
                  </a:lnTo>
                  <a:lnTo>
                    <a:pt x="1463" y="163"/>
                  </a:lnTo>
                  <a:lnTo>
                    <a:pt x="1532" y="122"/>
                  </a:lnTo>
                  <a:lnTo>
                    <a:pt x="1604" y="90"/>
                  </a:lnTo>
                  <a:lnTo>
                    <a:pt x="1682" y="66"/>
                  </a:lnTo>
                  <a:lnTo>
                    <a:pt x="1765" y="54"/>
                  </a:lnTo>
                  <a:lnTo>
                    <a:pt x="1821" y="50"/>
                  </a:lnTo>
                  <a:lnTo>
                    <a:pt x="1886" y="48"/>
                  </a:lnTo>
                  <a:lnTo>
                    <a:pt x="2046" y="60"/>
                  </a:lnTo>
                  <a:lnTo>
                    <a:pt x="1928" y="32"/>
                  </a:lnTo>
                  <a:lnTo>
                    <a:pt x="1842" y="18"/>
                  </a:lnTo>
                  <a:lnTo>
                    <a:pt x="1747" y="6"/>
                  </a:lnTo>
                  <a:lnTo>
                    <a:pt x="1651" y="0"/>
                  </a:lnTo>
                  <a:lnTo>
                    <a:pt x="1570" y="0"/>
                  </a:lnTo>
                  <a:lnTo>
                    <a:pt x="1485" y="6"/>
                  </a:lnTo>
                  <a:lnTo>
                    <a:pt x="1391" y="14"/>
                  </a:lnTo>
                  <a:lnTo>
                    <a:pt x="1306" y="30"/>
                  </a:lnTo>
                  <a:lnTo>
                    <a:pt x="1203" y="54"/>
                  </a:lnTo>
                  <a:lnTo>
                    <a:pt x="1092" y="85"/>
                  </a:lnTo>
                  <a:lnTo>
                    <a:pt x="985" y="127"/>
                  </a:lnTo>
                  <a:lnTo>
                    <a:pt x="900" y="167"/>
                  </a:lnTo>
                  <a:lnTo>
                    <a:pt x="806" y="217"/>
                  </a:lnTo>
                  <a:lnTo>
                    <a:pt x="708" y="277"/>
                  </a:lnTo>
                  <a:lnTo>
                    <a:pt x="637" y="333"/>
                  </a:lnTo>
                  <a:lnTo>
                    <a:pt x="567" y="390"/>
                  </a:lnTo>
                  <a:lnTo>
                    <a:pt x="494" y="458"/>
                  </a:lnTo>
                  <a:lnTo>
                    <a:pt x="428" y="522"/>
                  </a:lnTo>
                  <a:lnTo>
                    <a:pt x="374" y="587"/>
                  </a:lnTo>
                  <a:lnTo>
                    <a:pt x="317" y="660"/>
                  </a:lnTo>
                  <a:lnTo>
                    <a:pt x="266" y="731"/>
                  </a:lnTo>
                  <a:lnTo>
                    <a:pt x="215" y="808"/>
                  </a:lnTo>
                  <a:lnTo>
                    <a:pt x="174" y="888"/>
                  </a:lnTo>
                  <a:lnTo>
                    <a:pt x="135" y="972"/>
                  </a:lnTo>
                  <a:lnTo>
                    <a:pt x="99" y="1059"/>
                  </a:lnTo>
                  <a:lnTo>
                    <a:pt x="69" y="1155"/>
                  </a:lnTo>
                  <a:lnTo>
                    <a:pt x="42" y="1247"/>
                  </a:lnTo>
                  <a:lnTo>
                    <a:pt x="24" y="1340"/>
                  </a:lnTo>
                  <a:lnTo>
                    <a:pt x="10" y="1448"/>
                  </a:lnTo>
                  <a:lnTo>
                    <a:pt x="3" y="1537"/>
                  </a:lnTo>
                  <a:lnTo>
                    <a:pt x="0" y="1627"/>
                  </a:lnTo>
                  <a:lnTo>
                    <a:pt x="3" y="1720"/>
                  </a:lnTo>
                  <a:lnTo>
                    <a:pt x="16" y="1828"/>
                  </a:lnTo>
                  <a:lnTo>
                    <a:pt x="34" y="1940"/>
                  </a:lnTo>
                  <a:lnTo>
                    <a:pt x="57" y="2035"/>
                  </a:lnTo>
                  <a:lnTo>
                    <a:pt x="83" y="2131"/>
                  </a:lnTo>
                  <a:lnTo>
                    <a:pt x="113" y="2208"/>
                  </a:lnTo>
                  <a:lnTo>
                    <a:pt x="153" y="2292"/>
                  </a:lnTo>
                  <a:lnTo>
                    <a:pt x="189" y="2370"/>
                  </a:lnTo>
                  <a:lnTo>
                    <a:pt x="238" y="2459"/>
                  </a:lnTo>
                  <a:lnTo>
                    <a:pt x="296" y="2548"/>
                  </a:lnTo>
                  <a:lnTo>
                    <a:pt x="356" y="2621"/>
                  </a:lnTo>
                  <a:lnTo>
                    <a:pt x="412" y="2691"/>
                  </a:lnTo>
                  <a:lnTo>
                    <a:pt x="475" y="2759"/>
                  </a:lnTo>
                  <a:lnTo>
                    <a:pt x="541" y="2822"/>
                  </a:lnTo>
                  <a:lnTo>
                    <a:pt x="597" y="2870"/>
                  </a:lnTo>
                  <a:lnTo>
                    <a:pt x="668" y="2928"/>
                  </a:lnTo>
                  <a:lnTo>
                    <a:pt x="745" y="2975"/>
                  </a:lnTo>
                  <a:lnTo>
                    <a:pt x="806" y="3012"/>
                  </a:lnTo>
                  <a:lnTo>
                    <a:pt x="869" y="3043"/>
                  </a:lnTo>
                  <a:lnTo>
                    <a:pt x="930" y="3067"/>
                  </a:lnTo>
                  <a:lnTo>
                    <a:pt x="989" y="3085"/>
                  </a:lnTo>
                  <a:lnTo>
                    <a:pt x="1078" y="3107"/>
                  </a:lnTo>
                  <a:lnTo>
                    <a:pt x="1146" y="3115"/>
                  </a:lnTo>
                  <a:lnTo>
                    <a:pt x="1216" y="3119"/>
                  </a:lnTo>
                  <a:lnTo>
                    <a:pt x="1281" y="3115"/>
                  </a:lnTo>
                  <a:lnTo>
                    <a:pt x="1367" y="3104"/>
                  </a:lnTo>
                  <a:lnTo>
                    <a:pt x="1451" y="3083"/>
                  </a:lnTo>
                  <a:lnTo>
                    <a:pt x="1527" y="3053"/>
                  </a:lnTo>
                  <a:lnTo>
                    <a:pt x="1588" y="3017"/>
                  </a:lnTo>
                  <a:lnTo>
                    <a:pt x="1658" y="2975"/>
                  </a:lnTo>
                  <a:lnTo>
                    <a:pt x="1713" y="2928"/>
                  </a:lnTo>
                  <a:lnTo>
                    <a:pt x="1771" y="2874"/>
                  </a:lnTo>
                  <a:lnTo>
                    <a:pt x="1821" y="2811"/>
                  </a:lnTo>
                  <a:lnTo>
                    <a:pt x="1867" y="2743"/>
                  </a:lnTo>
                  <a:lnTo>
                    <a:pt x="1902" y="2671"/>
                  </a:lnTo>
                  <a:lnTo>
                    <a:pt x="1928" y="2590"/>
                  </a:lnTo>
                  <a:lnTo>
                    <a:pt x="1950" y="2506"/>
                  </a:lnTo>
                  <a:lnTo>
                    <a:pt x="1962" y="2420"/>
                  </a:lnTo>
                  <a:lnTo>
                    <a:pt x="1964" y="2330"/>
                  </a:lnTo>
                  <a:lnTo>
                    <a:pt x="1952" y="2231"/>
                  </a:lnTo>
                  <a:lnTo>
                    <a:pt x="1933" y="2145"/>
                  </a:lnTo>
                  <a:lnTo>
                    <a:pt x="1898" y="2062"/>
                  </a:lnTo>
                  <a:lnTo>
                    <a:pt x="1860" y="1983"/>
                  </a:lnTo>
                  <a:lnTo>
                    <a:pt x="1813" y="1914"/>
                  </a:lnTo>
                  <a:lnTo>
                    <a:pt x="1753" y="1830"/>
                  </a:lnTo>
                  <a:lnTo>
                    <a:pt x="1682" y="1751"/>
                  </a:lnTo>
                  <a:close/>
                </a:path>
              </a:pathLst>
            </a:custGeom>
            <a:solidFill>
              <a:schemeClr val="tx1">
                <a:alpha val="52000"/>
              </a:schemeClr>
            </a:solidFill>
            <a:ln>
              <a:noFill/>
            </a:ln>
            <a:scene3d>
              <a:camera prst="orthographicFront"/>
              <a:lightRig rig="threePt" dir="t"/>
            </a:scene3d>
            <a:sp3d>
              <a:bevelT prst="relaxedInset"/>
            </a:sp3d>
            <a:extLst>
              <a:ext uri="{91240B29-F687-4F45-9708-019B960494DF}">
                <a14:hiddenLine xmlns:a14="http://schemas.microsoft.com/office/drawing/2010/main" w="14288">
                  <a:solidFill>
                    <a:srgbClr val="000000"/>
                  </a:solidFill>
                  <a:prstDash val="solid"/>
                  <a:round/>
                  <a:headEnd/>
                  <a:tailEnd/>
                </a14:hiddenLine>
              </a:ext>
            </a:extLst>
          </p:spPr>
          <p:txBody>
            <a:bodyPr/>
            <a:lstStyle/>
            <a:p>
              <a:pPr algn="ctr" fontAlgn="auto">
                <a:spcBef>
                  <a:spcPts val="0"/>
                </a:spcBef>
                <a:spcAft>
                  <a:spcPts val="0"/>
                </a:spcAft>
                <a:defRPr/>
              </a:pPr>
              <a:endParaRPr lang="th-TH" sz="3600" kern="0" smtClean="0">
                <a:solidFill>
                  <a:srgbClr val="FFFF00"/>
                </a:solidFill>
                <a:latin typeface="AngsanaUPC" pitchFamily="18" charset="-34"/>
                <a:cs typeface="LilyUPC" panose="020B0604020202020204" pitchFamily="34" charset="-34"/>
              </a:endParaRPr>
            </a:p>
          </p:txBody>
        </p:sp>
      </p:grpSp>
      <p:sp>
        <p:nvSpPr>
          <p:cNvPr id="48" name="Rectangle 6"/>
          <p:cNvSpPr>
            <a:spLocks noChangeArrowheads="1"/>
          </p:cNvSpPr>
          <p:nvPr/>
        </p:nvSpPr>
        <p:spPr bwMode="auto">
          <a:xfrm>
            <a:off x="142875" y="1831975"/>
            <a:ext cx="3390900" cy="2044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eaLnBrk="0" hangingPunct="0">
              <a:lnSpc>
                <a:spcPct val="90000"/>
              </a:lnSpc>
              <a:spcBef>
                <a:spcPct val="20000"/>
              </a:spcBef>
            </a:pPr>
            <a:r>
              <a:rPr lang="th-TH" b="1" dirty="0" smtClean="0">
                <a:solidFill>
                  <a:srgbClr val="FF0000"/>
                </a:solidFill>
                <a:latin typeface="Angsana News" pitchFamily="18" charset="-34"/>
                <a:cs typeface="AngsanaUPC" pitchFamily="18" charset="-34"/>
              </a:rPr>
              <a:t>คนดีสร้าง</a:t>
            </a:r>
            <a:r>
              <a:rPr lang="th-TH" b="1" u="sng" dirty="0" smtClean="0">
                <a:solidFill>
                  <a:srgbClr val="000099"/>
                </a:solidFill>
                <a:latin typeface="Angsana News" pitchFamily="18" charset="-34"/>
                <a:cs typeface="AngsanaUPC" pitchFamily="18" charset="-34"/>
              </a:rPr>
              <a:t>ระบบดีมีคุณภาพ</a:t>
            </a:r>
          </a:p>
          <a:p>
            <a:pPr marL="342900" indent="-342900" eaLnBrk="0" hangingPunct="0">
              <a:lnSpc>
                <a:spcPct val="90000"/>
              </a:lnSpc>
              <a:spcBef>
                <a:spcPct val="20000"/>
              </a:spcBef>
            </a:pPr>
            <a:r>
              <a:rPr lang="th-TH" b="1" dirty="0" smtClean="0">
                <a:solidFill>
                  <a:srgbClr val="FF0000"/>
                </a:solidFill>
                <a:latin typeface="Angsana News" pitchFamily="18" charset="-34"/>
                <a:cs typeface="AngsanaUPC" pitchFamily="18" charset="-34"/>
              </a:rPr>
              <a:t>ปัญหาราบ</a:t>
            </a:r>
            <a:r>
              <a:rPr lang="th-TH" b="1" u="sng" dirty="0" smtClean="0">
                <a:solidFill>
                  <a:srgbClr val="000099"/>
                </a:solidFill>
                <a:latin typeface="Angsana News" pitchFamily="18" charset="-34"/>
                <a:cs typeface="AngsanaUPC" pitchFamily="18" charset="-34"/>
              </a:rPr>
              <a:t>ปราบระบบอุปถัมภ์</a:t>
            </a:r>
          </a:p>
          <a:p>
            <a:pPr marL="342900" indent="-342900" eaLnBrk="0" hangingPunct="0">
              <a:lnSpc>
                <a:spcPct val="90000"/>
              </a:lnSpc>
              <a:spcBef>
                <a:spcPct val="20000"/>
              </a:spcBef>
            </a:pPr>
            <a:r>
              <a:rPr lang="th-TH" b="1" u="sng" dirty="0" smtClean="0">
                <a:solidFill>
                  <a:srgbClr val="000099"/>
                </a:solidFill>
                <a:latin typeface="Angsana News" pitchFamily="18" charset="-34"/>
                <a:cs typeface="AngsanaUPC" pitchFamily="18" charset="-34"/>
              </a:rPr>
              <a:t>ระบบดีเสริมคนดี</a:t>
            </a:r>
            <a:r>
              <a:rPr lang="th-TH" b="1" dirty="0" smtClean="0">
                <a:solidFill>
                  <a:srgbClr val="FF0000"/>
                </a:solidFill>
                <a:latin typeface="Angsana News" pitchFamily="18" charset="-34"/>
                <a:cs typeface="AngsanaUPC" pitchFamily="18" charset="-34"/>
              </a:rPr>
              <a:t>มีคุณธรรม</a:t>
            </a:r>
          </a:p>
          <a:p>
            <a:pPr marL="342900" indent="-342900" eaLnBrk="0" hangingPunct="0">
              <a:lnSpc>
                <a:spcPct val="90000"/>
              </a:lnSpc>
              <a:spcBef>
                <a:spcPct val="20000"/>
              </a:spcBef>
            </a:pPr>
            <a:r>
              <a:rPr lang="th-TH" b="1" dirty="0" smtClean="0">
                <a:solidFill>
                  <a:srgbClr val="FF0000"/>
                </a:solidFill>
                <a:latin typeface="Angsana News" pitchFamily="18" charset="-34"/>
                <a:cs typeface="AngsanaUPC" pitchFamily="18" charset="-34"/>
              </a:rPr>
              <a:t>สองส่วนนำองค์กรไกลให้</a:t>
            </a:r>
            <a:r>
              <a:rPr lang="th-TH" b="1" u="sng" dirty="0" smtClean="0">
                <a:solidFill>
                  <a:srgbClr val="000099"/>
                </a:solidFill>
                <a:latin typeface="Angsana News" pitchFamily="18" charset="-34"/>
                <a:cs typeface="AngsanaUPC" pitchFamily="18" charset="-34"/>
              </a:rPr>
              <a:t>วัฒนา</a:t>
            </a:r>
            <a:endParaRPr lang="th-TH" b="1" i="1" u="sng" dirty="0" smtClean="0">
              <a:solidFill>
                <a:srgbClr val="000099"/>
              </a:solidFill>
              <a:latin typeface="Angsana News" pitchFamily="18" charset="-34"/>
              <a:cs typeface="AngsanaUPC" pitchFamily="18" charset="-34"/>
            </a:endParaRPr>
          </a:p>
        </p:txBody>
      </p:sp>
      <p:sp>
        <p:nvSpPr>
          <p:cNvPr id="49" name="Rectangle 7"/>
          <p:cNvSpPr>
            <a:spLocks noChangeArrowheads="1"/>
          </p:cNvSpPr>
          <p:nvPr/>
        </p:nvSpPr>
        <p:spPr bwMode="auto">
          <a:xfrm>
            <a:off x="142875" y="4168775"/>
            <a:ext cx="3233738" cy="1697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eaLnBrk="0" hangingPunct="0">
              <a:lnSpc>
                <a:spcPct val="90000"/>
              </a:lnSpc>
              <a:spcBef>
                <a:spcPct val="20000"/>
              </a:spcBef>
            </a:pPr>
            <a:r>
              <a:rPr lang="th-TH" b="1" dirty="0" smtClean="0">
                <a:solidFill>
                  <a:srgbClr val="FF0000"/>
                </a:solidFill>
                <a:latin typeface="Angsana News" pitchFamily="18" charset="-34"/>
                <a:cs typeface="AngsanaUPC" pitchFamily="18" charset="-34"/>
              </a:rPr>
              <a:t>คนไม่ดีระบบดีมีที่ไหน</a:t>
            </a:r>
          </a:p>
          <a:p>
            <a:pPr marL="342900" indent="-342900" eaLnBrk="0" hangingPunct="0">
              <a:lnSpc>
                <a:spcPct val="90000"/>
              </a:lnSpc>
              <a:spcBef>
                <a:spcPct val="20000"/>
              </a:spcBef>
            </a:pPr>
            <a:r>
              <a:rPr lang="th-TH" b="1" dirty="0" smtClean="0">
                <a:solidFill>
                  <a:srgbClr val="FF0000"/>
                </a:solidFill>
                <a:latin typeface="Angsana News" pitchFamily="18" charset="-34"/>
                <a:cs typeface="AngsanaUPC" pitchFamily="18" charset="-34"/>
              </a:rPr>
              <a:t>คนฉุดให้ระบบจมถมปัญหา</a:t>
            </a:r>
          </a:p>
          <a:p>
            <a:pPr marL="342900" indent="-342900" eaLnBrk="0" hangingPunct="0">
              <a:lnSpc>
                <a:spcPct val="90000"/>
              </a:lnSpc>
              <a:spcBef>
                <a:spcPct val="20000"/>
              </a:spcBef>
            </a:pPr>
            <a:r>
              <a:rPr lang="th-TH" b="1" dirty="0" smtClean="0">
                <a:solidFill>
                  <a:srgbClr val="FF0000"/>
                </a:solidFill>
                <a:latin typeface="Angsana News" pitchFamily="18" charset="-34"/>
                <a:cs typeface="AngsanaUPC" pitchFamily="18" charset="-34"/>
              </a:rPr>
              <a:t>ระบบจมถมคนให้ไร้ปัญญา</a:t>
            </a:r>
          </a:p>
          <a:p>
            <a:pPr marL="342900" indent="-342900" eaLnBrk="0" hangingPunct="0">
              <a:lnSpc>
                <a:spcPct val="90000"/>
              </a:lnSpc>
              <a:spcBef>
                <a:spcPct val="20000"/>
              </a:spcBef>
            </a:pPr>
            <a:r>
              <a:rPr lang="th-TH" b="1" dirty="0" smtClean="0">
                <a:solidFill>
                  <a:srgbClr val="FF0000"/>
                </a:solidFill>
                <a:latin typeface="Angsana News" pitchFamily="18" charset="-34"/>
                <a:cs typeface="AngsanaUPC" pitchFamily="18" charset="-34"/>
              </a:rPr>
              <a:t>สองส่วนพา องค์กรให้ ไม่เจริญ</a:t>
            </a:r>
            <a:endParaRPr lang="th-TH" b="1" i="1" dirty="0" smtClean="0">
              <a:solidFill>
                <a:srgbClr val="FF0000"/>
              </a:solidFill>
              <a:latin typeface="Angsana News" pitchFamily="18" charset="-34"/>
              <a:cs typeface="AngsanaUPC" pitchFamily="18" charset="-34"/>
            </a:endParaRPr>
          </a:p>
        </p:txBody>
      </p:sp>
      <p:sp>
        <p:nvSpPr>
          <p:cNvPr id="50" name="Rectangle 8"/>
          <p:cNvSpPr>
            <a:spLocks noChangeArrowheads="1"/>
          </p:cNvSpPr>
          <p:nvPr/>
        </p:nvSpPr>
        <p:spPr bwMode="auto">
          <a:xfrm>
            <a:off x="5722938" y="1831975"/>
            <a:ext cx="3192462" cy="1858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algn="r" eaLnBrk="0" hangingPunct="0">
              <a:lnSpc>
                <a:spcPct val="90000"/>
              </a:lnSpc>
              <a:spcBef>
                <a:spcPct val="20000"/>
              </a:spcBef>
            </a:pPr>
            <a:r>
              <a:rPr lang="th-TH" b="1" dirty="0" smtClean="0">
                <a:solidFill>
                  <a:srgbClr val="FF0000"/>
                </a:solidFill>
                <a:latin typeface="Angsana News" pitchFamily="18" charset="-34"/>
                <a:cs typeface="AngsanaUPC" pitchFamily="18" charset="-34"/>
              </a:rPr>
              <a:t>องค์กรดีเพราะ</a:t>
            </a:r>
            <a:r>
              <a:rPr lang="th-TH" b="1" u="sng" dirty="0" smtClean="0">
                <a:solidFill>
                  <a:srgbClr val="000099"/>
                </a:solidFill>
                <a:latin typeface="Angsana News" pitchFamily="18" charset="-34"/>
                <a:cs typeface="AngsanaUPC" pitchFamily="18" charset="-34"/>
              </a:rPr>
              <a:t>คนดีมีความคิด</a:t>
            </a:r>
          </a:p>
          <a:p>
            <a:pPr marL="342900" indent="-342900" algn="r" eaLnBrk="0" hangingPunct="0">
              <a:lnSpc>
                <a:spcPct val="90000"/>
              </a:lnSpc>
              <a:spcBef>
                <a:spcPct val="20000"/>
              </a:spcBef>
            </a:pPr>
            <a:r>
              <a:rPr lang="th-TH" b="1" u="sng" dirty="0" smtClean="0">
                <a:solidFill>
                  <a:srgbClr val="000099"/>
                </a:solidFill>
                <a:latin typeface="Angsana News" pitchFamily="18" charset="-34"/>
                <a:cs typeface="AngsanaUPC" pitchFamily="18" charset="-34"/>
              </a:rPr>
              <a:t>รู้ถูกผิดรู้คุณค่า</a:t>
            </a:r>
            <a:r>
              <a:rPr lang="th-TH" b="1" dirty="0" smtClean="0">
                <a:solidFill>
                  <a:srgbClr val="FF0000"/>
                </a:solidFill>
                <a:latin typeface="Angsana News" pitchFamily="18" charset="-34"/>
                <a:cs typeface="AngsanaUPC" pitchFamily="18" charset="-34"/>
              </a:rPr>
              <a:t>น่าสรรเสริญ</a:t>
            </a:r>
          </a:p>
          <a:p>
            <a:pPr marL="342900" indent="-342900" algn="r" eaLnBrk="0" hangingPunct="0">
              <a:lnSpc>
                <a:spcPct val="90000"/>
              </a:lnSpc>
              <a:spcBef>
                <a:spcPct val="20000"/>
              </a:spcBef>
            </a:pPr>
            <a:r>
              <a:rPr lang="th-TH" b="1" u="sng" dirty="0" smtClean="0">
                <a:solidFill>
                  <a:srgbClr val="000099"/>
                </a:solidFill>
                <a:latin typeface="Angsana News" pitchFamily="18" charset="-34"/>
                <a:cs typeface="AngsanaUPC" pitchFamily="18" charset="-34"/>
              </a:rPr>
              <a:t>แก้ปัญหา</a:t>
            </a:r>
            <a:r>
              <a:rPr lang="th-TH" b="1" dirty="0" smtClean="0">
                <a:solidFill>
                  <a:srgbClr val="FF0000"/>
                </a:solidFill>
                <a:latin typeface="Angsana News" pitchFamily="18" charset="-34"/>
                <a:cs typeface="AngsanaUPC" pitchFamily="18" charset="-34"/>
              </a:rPr>
              <a:t>สิ่งข้องขัด</a:t>
            </a:r>
            <a:r>
              <a:rPr lang="th-TH" b="1" u="sng" dirty="0" smtClean="0">
                <a:solidFill>
                  <a:srgbClr val="000099"/>
                </a:solidFill>
                <a:latin typeface="Angsana News" pitchFamily="18" charset="-34"/>
                <a:cs typeface="AngsanaUPC" pitchFamily="18" charset="-34"/>
              </a:rPr>
              <a:t>ตัดส่วนเกิน</a:t>
            </a:r>
          </a:p>
          <a:p>
            <a:pPr marL="342900" indent="-342900" algn="r" eaLnBrk="0" hangingPunct="0">
              <a:lnSpc>
                <a:spcPct val="90000"/>
              </a:lnSpc>
              <a:spcBef>
                <a:spcPct val="20000"/>
              </a:spcBef>
            </a:pPr>
            <a:r>
              <a:rPr lang="th-TH" b="1" dirty="0" smtClean="0">
                <a:solidFill>
                  <a:srgbClr val="FF0000"/>
                </a:solidFill>
                <a:latin typeface="Angsana News" pitchFamily="18" charset="-34"/>
                <a:cs typeface="AngsanaUPC" pitchFamily="18" charset="-34"/>
              </a:rPr>
              <a:t>เป็นทางเดินสู่วิวัฒน์จัดองค์การ</a:t>
            </a:r>
            <a:endParaRPr lang="th-TH" b="1" i="1" dirty="0" smtClean="0">
              <a:solidFill>
                <a:srgbClr val="FF0000"/>
              </a:solidFill>
              <a:latin typeface="Angsana News" pitchFamily="18" charset="-34"/>
              <a:cs typeface="AngsanaUPC" pitchFamily="18" charset="-34"/>
            </a:endParaRPr>
          </a:p>
        </p:txBody>
      </p:sp>
      <p:sp>
        <p:nvSpPr>
          <p:cNvPr id="51" name="Rectangle 9"/>
          <p:cNvSpPr>
            <a:spLocks noChangeArrowheads="1"/>
          </p:cNvSpPr>
          <p:nvPr/>
        </p:nvSpPr>
        <p:spPr bwMode="auto">
          <a:xfrm>
            <a:off x="5189538" y="4237038"/>
            <a:ext cx="3725862" cy="2287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algn="r" eaLnBrk="0" hangingPunct="0">
              <a:lnSpc>
                <a:spcPct val="90000"/>
              </a:lnSpc>
              <a:spcBef>
                <a:spcPct val="20000"/>
              </a:spcBef>
            </a:pPr>
            <a:r>
              <a:rPr lang="th-TH" b="1" dirty="0" smtClean="0">
                <a:solidFill>
                  <a:srgbClr val="FF0000"/>
                </a:solidFill>
                <a:latin typeface="Angsana News" pitchFamily="18" charset="-34"/>
                <a:cs typeface="AngsanaUPC" pitchFamily="18" charset="-34"/>
              </a:rPr>
              <a:t>สร้างคนดีระบบเด่นเป็น</a:t>
            </a:r>
            <a:r>
              <a:rPr lang="th-TH" b="1" u="sng" dirty="0" smtClean="0">
                <a:solidFill>
                  <a:srgbClr val="000099"/>
                </a:solidFill>
                <a:latin typeface="Angsana News" pitchFamily="18" charset="-34"/>
                <a:cs typeface="AngsanaUPC" pitchFamily="18" charset="-34"/>
              </a:rPr>
              <a:t>ธรรมรัฐ</a:t>
            </a:r>
          </a:p>
          <a:p>
            <a:pPr marL="342900" indent="-342900" algn="r" eaLnBrk="0" hangingPunct="0">
              <a:lnSpc>
                <a:spcPct val="90000"/>
              </a:lnSpc>
              <a:spcBef>
                <a:spcPct val="20000"/>
              </a:spcBef>
            </a:pPr>
            <a:r>
              <a:rPr lang="th-TH" b="1" dirty="0" smtClean="0">
                <a:solidFill>
                  <a:srgbClr val="FF0000"/>
                </a:solidFill>
                <a:latin typeface="Angsana News" pitchFamily="18" charset="-34"/>
                <a:cs typeface="AngsanaUPC" pitchFamily="18" charset="-34"/>
              </a:rPr>
              <a:t>แก้วิบัติ</a:t>
            </a:r>
            <a:r>
              <a:rPr lang="th-TH" b="1" u="sng" dirty="0" smtClean="0">
                <a:solidFill>
                  <a:srgbClr val="000099"/>
                </a:solidFill>
                <a:latin typeface="Angsana News" pitchFamily="18" charset="-34"/>
                <a:cs typeface="AngsanaUPC" pitchFamily="18" charset="-34"/>
              </a:rPr>
              <a:t>จัดระเบียบ</a:t>
            </a:r>
            <a:r>
              <a:rPr lang="th-TH" b="1" dirty="0" smtClean="0">
                <a:solidFill>
                  <a:srgbClr val="FF0000"/>
                </a:solidFill>
                <a:latin typeface="Angsana News" pitchFamily="18" charset="-34"/>
                <a:cs typeface="AngsanaUPC" pitchFamily="18" charset="-34"/>
              </a:rPr>
              <a:t>เทียบ</a:t>
            </a:r>
            <a:r>
              <a:rPr lang="th-TH" b="1" u="sng" dirty="0" smtClean="0">
                <a:solidFill>
                  <a:srgbClr val="000099"/>
                </a:solidFill>
                <a:latin typeface="Angsana News" pitchFamily="18" charset="-34"/>
                <a:cs typeface="AngsanaUPC" pitchFamily="18" charset="-34"/>
              </a:rPr>
              <a:t>มาตรฐาน</a:t>
            </a:r>
            <a:r>
              <a:rPr lang="th-TH" b="1" u="sng" dirty="0" smtClean="0">
                <a:solidFill>
                  <a:srgbClr val="FF0000"/>
                </a:solidFill>
                <a:latin typeface="Angsana News" pitchFamily="18" charset="-34"/>
                <a:cs typeface="AngsanaUPC" pitchFamily="18" charset="-34"/>
              </a:rPr>
              <a:t> </a:t>
            </a:r>
          </a:p>
          <a:p>
            <a:pPr marL="342900" indent="-342900" algn="r" eaLnBrk="0" hangingPunct="0">
              <a:lnSpc>
                <a:spcPct val="90000"/>
              </a:lnSpc>
              <a:spcBef>
                <a:spcPct val="20000"/>
              </a:spcBef>
            </a:pPr>
            <a:r>
              <a:rPr lang="th-TH" b="1" u="sng" dirty="0" smtClean="0">
                <a:solidFill>
                  <a:srgbClr val="000099"/>
                </a:solidFill>
                <a:latin typeface="Angsana News" pitchFamily="18" charset="-34"/>
                <a:cs typeface="AngsanaUPC" pitchFamily="18" charset="-34"/>
              </a:rPr>
              <a:t>ปรับโครงสร้าง</a:t>
            </a:r>
            <a:r>
              <a:rPr lang="th-TH" b="1" dirty="0" smtClean="0">
                <a:solidFill>
                  <a:srgbClr val="FF0000"/>
                </a:solidFill>
                <a:latin typeface="Angsana News" pitchFamily="18" charset="-34"/>
                <a:cs typeface="AngsanaUPC" pitchFamily="18" charset="-34"/>
              </a:rPr>
              <a:t>วางแนวคิด</a:t>
            </a:r>
            <a:r>
              <a:rPr lang="th-TH" b="1" u="sng" dirty="0" smtClean="0">
                <a:solidFill>
                  <a:srgbClr val="000099"/>
                </a:solidFill>
                <a:latin typeface="Angsana News" pitchFamily="18" charset="-34"/>
                <a:cs typeface="AngsanaUPC" pitchFamily="18" charset="-34"/>
              </a:rPr>
              <a:t>ติดตามงาน</a:t>
            </a:r>
          </a:p>
          <a:p>
            <a:pPr marL="342900" indent="-342900" algn="r" eaLnBrk="0" hangingPunct="0">
              <a:lnSpc>
                <a:spcPct val="90000"/>
              </a:lnSpc>
              <a:spcBef>
                <a:spcPct val="20000"/>
              </a:spcBef>
            </a:pPr>
            <a:r>
              <a:rPr lang="th-TH" b="1" u="sng" dirty="0" smtClean="0">
                <a:solidFill>
                  <a:srgbClr val="000099"/>
                </a:solidFill>
                <a:latin typeface="Angsana News" pitchFamily="18" charset="-34"/>
                <a:cs typeface="AngsanaUPC" pitchFamily="18" charset="-34"/>
              </a:rPr>
              <a:t>บริหาร</a:t>
            </a:r>
            <a:r>
              <a:rPr lang="th-TH" b="1" dirty="0" smtClean="0">
                <a:solidFill>
                  <a:srgbClr val="FF0000"/>
                </a:solidFill>
                <a:latin typeface="Angsana News" pitchFamily="18" charset="-34"/>
                <a:cs typeface="AngsanaUPC" pitchFamily="18" charset="-34"/>
              </a:rPr>
              <a:t>องค์กรใหม่ให้</a:t>
            </a:r>
            <a:r>
              <a:rPr lang="th-TH" b="1" u="sng" dirty="0" smtClean="0">
                <a:solidFill>
                  <a:srgbClr val="000099"/>
                </a:solidFill>
                <a:latin typeface="Angsana News" pitchFamily="18" charset="-34"/>
                <a:cs typeface="AngsanaUPC" pitchFamily="18" charset="-34"/>
              </a:rPr>
              <a:t>ยั่งยืน</a:t>
            </a:r>
          </a:p>
        </p:txBody>
      </p:sp>
      <p:sp>
        <p:nvSpPr>
          <p:cNvPr id="53" name="Freeform 11"/>
          <p:cNvSpPr>
            <a:spLocks/>
          </p:cNvSpPr>
          <p:nvPr/>
        </p:nvSpPr>
        <p:spPr bwMode="auto">
          <a:xfrm>
            <a:off x="9272588" y="2343150"/>
            <a:ext cx="1624012" cy="2474913"/>
          </a:xfrm>
          <a:custGeom>
            <a:avLst/>
            <a:gdLst>
              <a:gd name="T0" fmla="*/ 436 w 2045"/>
              <a:gd name="T1" fmla="*/ 1438 h 3118"/>
              <a:gd name="T2" fmla="*/ 673 w 2045"/>
              <a:gd name="T3" fmla="*/ 1617 h 3118"/>
              <a:gd name="T4" fmla="*/ 816 w 2045"/>
              <a:gd name="T5" fmla="*/ 1772 h 3118"/>
              <a:gd name="T6" fmla="*/ 915 w 2045"/>
              <a:gd name="T7" fmla="*/ 1987 h 3118"/>
              <a:gd name="T8" fmla="*/ 961 w 2045"/>
              <a:gd name="T9" fmla="*/ 2178 h 3118"/>
              <a:gd name="T10" fmla="*/ 957 w 2045"/>
              <a:gd name="T11" fmla="*/ 2346 h 3118"/>
              <a:gd name="T12" fmla="*/ 904 w 2045"/>
              <a:gd name="T13" fmla="*/ 2555 h 3118"/>
              <a:gd name="T14" fmla="*/ 800 w 2045"/>
              <a:gd name="T15" fmla="*/ 2740 h 3118"/>
              <a:gd name="T16" fmla="*/ 650 w 2045"/>
              <a:gd name="T17" fmla="*/ 2904 h 3118"/>
              <a:gd name="T18" fmla="*/ 514 w 2045"/>
              <a:gd name="T19" fmla="*/ 2997 h 3118"/>
              <a:gd name="T20" fmla="*/ 364 w 2045"/>
              <a:gd name="T21" fmla="*/ 3053 h 3118"/>
              <a:gd name="T22" fmla="*/ 225 w 2045"/>
              <a:gd name="T23" fmla="*/ 3069 h 3118"/>
              <a:gd name="T24" fmla="*/ 0 w 2045"/>
              <a:gd name="T25" fmla="*/ 3059 h 3118"/>
              <a:gd name="T26" fmla="*/ 203 w 2045"/>
              <a:gd name="T27" fmla="*/ 3101 h 3118"/>
              <a:gd name="T28" fmla="*/ 394 w 2045"/>
              <a:gd name="T29" fmla="*/ 3118 h 3118"/>
              <a:gd name="T30" fmla="*/ 561 w 2045"/>
              <a:gd name="T31" fmla="*/ 3113 h 3118"/>
              <a:gd name="T32" fmla="*/ 740 w 2045"/>
              <a:gd name="T33" fmla="*/ 3088 h 3118"/>
              <a:gd name="T34" fmla="*/ 953 w 2045"/>
              <a:gd name="T35" fmla="*/ 3033 h 3118"/>
              <a:gd name="T36" fmla="*/ 1146 w 2045"/>
              <a:gd name="T37" fmla="*/ 2951 h 3118"/>
              <a:gd name="T38" fmla="*/ 1338 w 2045"/>
              <a:gd name="T39" fmla="*/ 2841 h 3118"/>
              <a:gd name="T40" fmla="*/ 1479 w 2045"/>
              <a:gd name="T41" fmla="*/ 2728 h 3118"/>
              <a:gd name="T42" fmla="*/ 1618 w 2045"/>
              <a:gd name="T43" fmla="*/ 2597 h 3118"/>
              <a:gd name="T44" fmla="*/ 1729 w 2045"/>
              <a:gd name="T45" fmla="*/ 2459 h 3118"/>
              <a:gd name="T46" fmla="*/ 1831 w 2045"/>
              <a:gd name="T47" fmla="*/ 2310 h 3118"/>
              <a:gd name="T48" fmla="*/ 1911 w 2045"/>
              <a:gd name="T49" fmla="*/ 2147 h 3118"/>
              <a:gd name="T50" fmla="*/ 1976 w 2045"/>
              <a:gd name="T51" fmla="*/ 1964 h 3118"/>
              <a:gd name="T52" fmla="*/ 2022 w 2045"/>
              <a:gd name="T53" fmla="*/ 1778 h 3118"/>
              <a:gd name="T54" fmla="*/ 2042 w 2045"/>
              <a:gd name="T55" fmla="*/ 1581 h 3118"/>
              <a:gd name="T56" fmla="*/ 2042 w 2045"/>
              <a:gd name="T57" fmla="*/ 1398 h 3118"/>
              <a:gd name="T58" fmla="*/ 2012 w 2045"/>
              <a:gd name="T59" fmla="*/ 1178 h 3118"/>
              <a:gd name="T60" fmla="*/ 1962 w 2045"/>
              <a:gd name="T61" fmla="*/ 988 h 3118"/>
              <a:gd name="T62" fmla="*/ 1892 w 2045"/>
              <a:gd name="T63" fmla="*/ 826 h 3118"/>
              <a:gd name="T64" fmla="*/ 1807 w 2045"/>
              <a:gd name="T65" fmla="*/ 659 h 3118"/>
              <a:gd name="T66" fmla="*/ 1690 w 2045"/>
              <a:gd name="T67" fmla="*/ 498 h 3118"/>
              <a:gd name="T68" fmla="*/ 1570 w 2045"/>
              <a:gd name="T69" fmla="*/ 360 h 3118"/>
              <a:gd name="T70" fmla="*/ 1449 w 2045"/>
              <a:gd name="T71" fmla="*/ 249 h 3118"/>
              <a:gd name="T72" fmla="*/ 1301 w 2045"/>
              <a:gd name="T73" fmla="*/ 143 h 3118"/>
              <a:gd name="T74" fmla="*/ 1176 w 2045"/>
              <a:gd name="T75" fmla="*/ 75 h 3118"/>
              <a:gd name="T76" fmla="*/ 1057 w 2045"/>
              <a:gd name="T77" fmla="*/ 33 h 3118"/>
              <a:gd name="T78" fmla="*/ 899 w 2045"/>
              <a:gd name="T79" fmla="*/ 3 h 3118"/>
              <a:gd name="T80" fmla="*/ 765 w 2045"/>
              <a:gd name="T81" fmla="*/ 3 h 3118"/>
              <a:gd name="T82" fmla="*/ 594 w 2045"/>
              <a:gd name="T83" fmla="*/ 36 h 3118"/>
              <a:gd name="T84" fmla="*/ 458 w 2045"/>
              <a:gd name="T85" fmla="*/ 101 h 3118"/>
              <a:gd name="T86" fmla="*/ 333 w 2045"/>
              <a:gd name="T87" fmla="*/ 191 h 3118"/>
              <a:gd name="T88" fmla="*/ 225 w 2045"/>
              <a:gd name="T89" fmla="*/ 308 h 3118"/>
              <a:gd name="T90" fmla="*/ 143 w 2045"/>
              <a:gd name="T91" fmla="*/ 448 h 3118"/>
              <a:gd name="T92" fmla="*/ 96 w 2045"/>
              <a:gd name="T93" fmla="*/ 613 h 3118"/>
              <a:gd name="T94" fmla="*/ 82 w 2045"/>
              <a:gd name="T95" fmla="*/ 788 h 3118"/>
              <a:gd name="T96" fmla="*/ 113 w 2045"/>
              <a:gd name="T97" fmla="*/ 974 h 3118"/>
              <a:gd name="T98" fmla="*/ 185 w 2045"/>
              <a:gd name="T99" fmla="*/ 1135 h 3118"/>
              <a:gd name="T100" fmla="*/ 293 w 2045"/>
              <a:gd name="T101" fmla="*/ 1288 h 3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45" h="3118">
                <a:moveTo>
                  <a:pt x="364" y="1368"/>
                </a:moveTo>
                <a:lnTo>
                  <a:pt x="436" y="1438"/>
                </a:lnTo>
                <a:lnTo>
                  <a:pt x="511" y="1497"/>
                </a:lnTo>
                <a:lnTo>
                  <a:pt x="673" y="1617"/>
                </a:lnTo>
                <a:lnTo>
                  <a:pt x="756" y="1694"/>
                </a:lnTo>
                <a:lnTo>
                  <a:pt x="816" y="1772"/>
                </a:lnTo>
                <a:lnTo>
                  <a:pt x="880" y="1891"/>
                </a:lnTo>
                <a:lnTo>
                  <a:pt x="915" y="1987"/>
                </a:lnTo>
                <a:lnTo>
                  <a:pt x="949" y="2086"/>
                </a:lnTo>
                <a:lnTo>
                  <a:pt x="961" y="2178"/>
                </a:lnTo>
                <a:lnTo>
                  <a:pt x="963" y="2268"/>
                </a:lnTo>
                <a:lnTo>
                  <a:pt x="957" y="2346"/>
                </a:lnTo>
                <a:lnTo>
                  <a:pt x="939" y="2454"/>
                </a:lnTo>
                <a:lnTo>
                  <a:pt x="904" y="2555"/>
                </a:lnTo>
                <a:lnTo>
                  <a:pt x="859" y="2644"/>
                </a:lnTo>
                <a:lnTo>
                  <a:pt x="800" y="2740"/>
                </a:lnTo>
                <a:lnTo>
                  <a:pt x="716" y="2837"/>
                </a:lnTo>
                <a:lnTo>
                  <a:pt x="650" y="2904"/>
                </a:lnTo>
                <a:lnTo>
                  <a:pt x="583" y="2956"/>
                </a:lnTo>
                <a:lnTo>
                  <a:pt x="514" y="2997"/>
                </a:lnTo>
                <a:lnTo>
                  <a:pt x="441" y="3029"/>
                </a:lnTo>
                <a:lnTo>
                  <a:pt x="364" y="3053"/>
                </a:lnTo>
                <a:lnTo>
                  <a:pt x="281" y="3064"/>
                </a:lnTo>
                <a:lnTo>
                  <a:pt x="225" y="3069"/>
                </a:lnTo>
                <a:lnTo>
                  <a:pt x="159" y="3071"/>
                </a:lnTo>
                <a:lnTo>
                  <a:pt x="0" y="3059"/>
                </a:lnTo>
                <a:lnTo>
                  <a:pt x="117" y="3087"/>
                </a:lnTo>
                <a:lnTo>
                  <a:pt x="203" y="3101"/>
                </a:lnTo>
                <a:lnTo>
                  <a:pt x="298" y="3113"/>
                </a:lnTo>
                <a:lnTo>
                  <a:pt x="394" y="3118"/>
                </a:lnTo>
                <a:lnTo>
                  <a:pt x="476" y="3118"/>
                </a:lnTo>
                <a:lnTo>
                  <a:pt x="561" y="3113"/>
                </a:lnTo>
                <a:lnTo>
                  <a:pt x="655" y="3104"/>
                </a:lnTo>
                <a:lnTo>
                  <a:pt x="740" y="3088"/>
                </a:lnTo>
                <a:lnTo>
                  <a:pt x="842" y="3064"/>
                </a:lnTo>
                <a:lnTo>
                  <a:pt x="953" y="3033"/>
                </a:lnTo>
                <a:lnTo>
                  <a:pt x="1061" y="2991"/>
                </a:lnTo>
                <a:lnTo>
                  <a:pt x="1146" y="2951"/>
                </a:lnTo>
                <a:lnTo>
                  <a:pt x="1240" y="2902"/>
                </a:lnTo>
                <a:lnTo>
                  <a:pt x="1338" y="2841"/>
                </a:lnTo>
                <a:lnTo>
                  <a:pt x="1409" y="2785"/>
                </a:lnTo>
                <a:lnTo>
                  <a:pt x="1479" y="2728"/>
                </a:lnTo>
                <a:lnTo>
                  <a:pt x="1552" y="2661"/>
                </a:lnTo>
                <a:lnTo>
                  <a:pt x="1618" y="2597"/>
                </a:lnTo>
                <a:lnTo>
                  <a:pt x="1672" y="2531"/>
                </a:lnTo>
                <a:lnTo>
                  <a:pt x="1729" y="2459"/>
                </a:lnTo>
                <a:lnTo>
                  <a:pt x="1779" y="2388"/>
                </a:lnTo>
                <a:lnTo>
                  <a:pt x="1831" y="2310"/>
                </a:lnTo>
                <a:lnTo>
                  <a:pt x="1872" y="2231"/>
                </a:lnTo>
                <a:lnTo>
                  <a:pt x="1911" y="2147"/>
                </a:lnTo>
                <a:lnTo>
                  <a:pt x="1946" y="2059"/>
                </a:lnTo>
                <a:lnTo>
                  <a:pt x="1976" y="1964"/>
                </a:lnTo>
                <a:lnTo>
                  <a:pt x="2003" y="1872"/>
                </a:lnTo>
                <a:lnTo>
                  <a:pt x="2022" y="1778"/>
                </a:lnTo>
                <a:lnTo>
                  <a:pt x="2036" y="1671"/>
                </a:lnTo>
                <a:lnTo>
                  <a:pt x="2042" y="1581"/>
                </a:lnTo>
                <a:lnTo>
                  <a:pt x="2045" y="1492"/>
                </a:lnTo>
                <a:lnTo>
                  <a:pt x="2042" y="1398"/>
                </a:lnTo>
                <a:lnTo>
                  <a:pt x="2029" y="1290"/>
                </a:lnTo>
                <a:lnTo>
                  <a:pt x="2012" y="1178"/>
                </a:lnTo>
                <a:lnTo>
                  <a:pt x="1988" y="1084"/>
                </a:lnTo>
                <a:lnTo>
                  <a:pt x="1962" y="988"/>
                </a:lnTo>
                <a:lnTo>
                  <a:pt x="1932" y="910"/>
                </a:lnTo>
                <a:lnTo>
                  <a:pt x="1892" y="826"/>
                </a:lnTo>
                <a:lnTo>
                  <a:pt x="1857" y="749"/>
                </a:lnTo>
                <a:lnTo>
                  <a:pt x="1807" y="659"/>
                </a:lnTo>
                <a:lnTo>
                  <a:pt x="1749" y="571"/>
                </a:lnTo>
                <a:lnTo>
                  <a:pt x="1690" y="498"/>
                </a:lnTo>
                <a:lnTo>
                  <a:pt x="1634" y="428"/>
                </a:lnTo>
                <a:lnTo>
                  <a:pt x="1570" y="360"/>
                </a:lnTo>
                <a:lnTo>
                  <a:pt x="1505" y="296"/>
                </a:lnTo>
                <a:lnTo>
                  <a:pt x="1449" y="249"/>
                </a:lnTo>
                <a:lnTo>
                  <a:pt x="1377" y="191"/>
                </a:lnTo>
                <a:lnTo>
                  <a:pt x="1301" y="143"/>
                </a:lnTo>
                <a:lnTo>
                  <a:pt x="1240" y="107"/>
                </a:lnTo>
                <a:lnTo>
                  <a:pt x="1176" y="75"/>
                </a:lnTo>
                <a:lnTo>
                  <a:pt x="1116" y="52"/>
                </a:lnTo>
                <a:lnTo>
                  <a:pt x="1057" y="33"/>
                </a:lnTo>
                <a:lnTo>
                  <a:pt x="967" y="12"/>
                </a:lnTo>
                <a:lnTo>
                  <a:pt x="899" y="3"/>
                </a:lnTo>
                <a:lnTo>
                  <a:pt x="829" y="0"/>
                </a:lnTo>
                <a:lnTo>
                  <a:pt x="765" y="3"/>
                </a:lnTo>
                <a:lnTo>
                  <a:pt x="678" y="15"/>
                </a:lnTo>
                <a:lnTo>
                  <a:pt x="594" y="36"/>
                </a:lnTo>
                <a:lnTo>
                  <a:pt x="519" y="66"/>
                </a:lnTo>
                <a:lnTo>
                  <a:pt x="458" y="101"/>
                </a:lnTo>
                <a:lnTo>
                  <a:pt x="388" y="143"/>
                </a:lnTo>
                <a:lnTo>
                  <a:pt x="333" y="191"/>
                </a:lnTo>
                <a:lnTo>
                  <a:pt x="275" y="245"/>
                </a:lnTo>
                <a:lnTo>
                  <a:pt x="225" y="308"/>
                </a:lnTo>
                <a:lnTo>
                  <a:pt x="179" y="376"/>
                </a:lnTo>
                <a:lnTo>
                  <a:pt x="143" y="448"/>
                </a:lnTo>
                <a:lnTo>
                  <a:pt x="117" y="529"/>
                </a:lnTo>
                <a:lnTo>
                  <a:pt x="96" y="613"/>
                </a:lnTo>
                <a:lnTo>
                  <a:pt x="84" y="699"/>
                </a:lnTo>
                <a:lnTo>
                  <a:pt x="82" y="788"/>
                </a:lnTo>
                <a:lnTo>
                  <a:pt x="94" y="888"/>
                </a:lnTo>
                <a:lnTo>
                  <a:pt x="113" y="974"/>
                </a:lnTo>
                <a:lnTo>
                  <a:pt x="147" y="1057"/>
                </a:lnTo>
                <a:lnTo>
                  <a:pt x="185" y="1135"/>
                </a:lnTo>
                <a:lnTo>
                  <a:pt x="233" y="1204"/>
                </a:lnTo>
                <a:lnTo>
                  <a:pt x="293" y="1288"/>
                </a:lnTo>
                <a:lnTo>
                  <a:pt x="364" y="1368"/>
                </a:lnTo>
                <a:close/>
              </a:path>
            </a:pathLst>
          </a:custGeom>
          <a:gradFill rotWithShape="1">
            <a:gsLst>
              <a:gs pos="0">
                <a:schemeClr val="bg1">
                  <a:lumMod val="75000"/>
                </a:schemeClr>
              </a:gs>
              <a:gs pos="100000">
                <a:schemeClr val="bg1"/>
              </a:gs>
            </a:gsLst>
            <a:path path="rect">
              <a:fillToRect l="50000" t="50000" r="50000" b="50000"/>
            </a:path>
          </a:gradFill>
          <a:ln>
            <a:noFill/>
          </a:ln>
          <a:scene3d>
            <a:camera prst="orthographicFront"/>
            <a:lightRig rig="threePt" dir="t"/>
          </a:scene3d>
          <a:sp3d>
            <a:bevelT/>
          </a:sp3d>
          <a:extLst/>
        </p:spPr>
        <p:txBody>
          <a:bodyPr/>
          <a:lstStyle/>
          <a:p>
            <a:pPr algn="ctr"/>
            <a:endParaRPr lang="th-TH" sz="3600" smtClean="0">
              <a:solidFill>
                <a:srgbClr val="FFFF00"/>
              </a:solidFill>
              <a:latin typeface="AngsanaUPC" pitchFamily="18" charset="-34"/>
              <a:cs typeface="LilyUPC" panose="020B0604020202020204" pitchFamily="34" charset="-34"/>
            </a:endParaRPr>
          </a:p>
        </p:txBody>
      </p:sp>
      <p:sp>
        <p:nvSpPr>
          <p:cNvPr id="54" name="Freeform 12"/>
          <p:cNvSpPr>
            <a:spLocks/>
          </p:cNvSpPr>
          <p:nvPr/>
        </p:nvSpPr>
        <p:spPr bwMode="auto">
          <a:xfrm>
            <a:off x="-1676400" y="2411413"/>
            <a:ext cx="1622425" cy="2474912"/>
          </a:xfrm>
          <a:custGeom>
            <a:avLst/>
            <a:gdLst>
              <a:gd name="T0" fmla="*/ 1609 w 2046"/>
              <a:gd name="T1" fmla="*/ 1681 h 3119"/>
              <a:gd name="T2" fmla="*/ 1372 w 2046"/>
              <a:gd name="T3" fmla="*/ 1502 h 3119"/>
              <a:gd name="T4" fmla="*/ 1229 w 2046"/>
              <a:gd name="T5" fmla="*/ 1347 h 3119"/>
              <a:gd name="T6" fmla="*/ 1130 w 2046"/>
              <a:gd name="T7" fmla="*/ 1131 h 3119"/>
              <a:gd name="T8" fmla="*/ 1085 w 2046"/>
              <a:gd name="T9" fmla="*/ 941 h 3119"/>
              <a:gd name="T10" fmla="*/ 1088 w 2046"/>
              <a:gd name="T11" fmla="*/ 773 h 3119"/>
              <a:gd name="T12" fmla="*/ 1142 w 2046"/>
              <a:gd name="T13" fmla="*/ 564 h 3119"/>
              <a:gd name="T14" fmla="*/ 1245 w 2046"/>
              <a:gd name="T15" fmla="*/ 378 h 3119"/>
              <a:gd name="T16" fmla="*/ 1395 w 2046"/>
              <a:gd name="T17" fmla="*/ 215 h 3119"/>
              <a:gd name="T18" fmla="*/ 1532 w 2046"/>
              <a:gd name="T19" fmla="*/ 122 h 3119"/>
              <a:gd name="T20" fmla="*/ 1682 w 2046"/>
              <a:gd name="T21" fmla="*/ 66 h 3119"/>
              <a:gd name="T22" fmla="*/ 1821 w 2046"/>
              <a:gd name="T23" fmla="*/ 50 h 3119"/>
              <a:gd name="T24" fmla="*/ 2046 w 2046"/>
              <a:gd name="T25" fmla="*/ 60 h 3119"/>
              <a:gd name="T26" fmla="*/ 1842 w 2046"/>
              <a:gd name="T27" fmla="*/ 18 h 3119"/>
              <a:gd name="T28" fmla="*/ 1651 w 2046"/>
              <a:gd name="T29" fmla="*/ 0 h 3119"/>
              <a:gd name="T30" fmla="*/ 1485 w 2046"/>
              <a:gd name="T31" fmla="*/ 6 h 3119"/>
              <a:gd name="T32" fmla="*/ 1306 w 2046"/>
              <a:gd name="T33" fmla="*/ 30 h 3119"/>
              <a:gd name="T34" fmla="*/ 1092 w 2046"/>
              <a:gd name="T35" fmla="*/ 85 h 3119"/>
              <a:gd name="T36" fmla="*/ 900 w 2046"/>
              <a:gd name="T37" fmla="*/ 167 h 3119"/>
              <a:gd name="T38" fmla="*/ 708 w 2046"/>
              <a:gd name="T39" fmla="*/ 277 h 3119"/>
              <a:gd name="T40" fmla="*/ 567 w 2046"/>
              <a:gd name="T41" fmla="*/ 390 h 3119"/>
              <a:gd name="T42" fmla="*/ 428 w 2046"/>
              <a:gd name="T43" fmla="*/ 522 h 3119"/>
              <a:gd name="T44" fmla="*/ 317 w 2046"/>
              <a:gd name="T45" fmla="*/ 660 h 3119"/>
              <a:gd name="T46" fmla="*/ 215 w 2046"/>
              <a:gd name="T47" fmla="*/ 808 h 3119"/>
              <a:gd name="T48" fmla="*/ 135 w 2046"/>
              <a:gd name="T49" fmla="*/ 972 h 3119"/>
              <a:gd name="T50" fmla="*/ 69 w 2046"/>
              <a:gd name="T51" fmla="*/ 1155 h 3119"/>
              <a:gd name="T52" fmla="*/ 24 w 2046"/>
              <a:gd name="T53" fmla="*/ 1340 h 3119"/>
              <a:gd name="T54" fmla="*/ 3 w 2046"/>
              <a:gd name="T55" fmla="*/ 1537 h 3119"/>
              <a:gd name="T56" fmla="*/ 3 w 2046"/>
              <a:gd name="T57" fmla="*/ 1720 h 3119"/>
              <a:gd name="T58" fmla="*/ 34 w 2046"/>
              <a:gd name="T59" fmla="*/ 1940 h 3119"/>
              <a:gd name="T60" fmla="*/ 83 w 2046"/>
              <a:gd name="T61" fmla="*/ 2131 h 3119"/>
              <a:gd name="T62" fmla="*/ 153 w 2046"/>
              <a:gd name="T63" fmla="*/ 2292 h 3119"/>
              <a:gd name="T64" fmla="*/ 238 w 2046"/>
              <a:gd name="T65" fmla="*/ 2459 h 3119"/>
              <a:gd name="T66" fmla="*/ 356 w 2046"/>
              <a:gd name="T67" fmla="*/ 2621 h 3119"/>
              <a:gd name="T68" fmla="*/ 475 w 2046"/>
              <a:gd name="T69" fmla="*/ 2759 h 3119"/>
              <a:gd name="T70" fmla="*/ 597 w 2046"/>
              <a:gd name="T71" fmla="*/ 2870 h 3119"/>
              <a:gd name="T72" fmla="*/ 745 w 2046"/>
              <a:gd name="T73" fmla="*/ 2975 h 3119"/>
              <a:gd name="T74" fmla="*/ 869 w 2046"/>
              <a:gd name="T75" fmla="*/ 3043 h 3119"/>
              <a:gd name="T76" fmla="*/ 989 w 2046"/>
              <a:gd name="T77" fmla="*/ 3085 h 3119"/>
              <a:gd name="T78" fmla="*/ 1146 w 2046"/>
              <a:gd name="T79" fmla="*/ 3115 h 3119"/>
              <a:gd name="T80" fmla="*/ 1281 w 2046"/>
              <a:gd name="T81" fmla="*/ 3115 h 3119"/>
              <a:gd name="T82" fmla="*/ 1451 w 2046"/>
              <a:gd name="T83" fmla="*/ 3083 h 3119"/>
              <a:gd name="T84" fmla="*/ 1588 w 2046"/>
              <a:gd name="T85" fmla="*/ 3017 h 3119"/>
              <a:gd name="T86" fmla="*/ 1713 w 2046"/>
              <a:gd name="T87" fmla="*/ 2928 h 3119"/>
              <a:gd name="T88" fmla="*/ 1821 w 2046"/>
              <a:gd name="T89" fmla="*/ 2811 h 3119"/>
              <a:gd name="T90" fmla="*/ 1902 w 2046"/>
              <a:gd name="T91" fmla="*/ 2671 h 3119"/>
              <a:gd name="T92" fmla="*/ 1950 w 2046"/>
              <a:gd name="T93" fmla="*/ 2506 h 3119"/>
              <a:gd name="T94" fmla="*/ 1964 w 2046"/>
              <a:gd name="T95" fmla="*/ 2330 h 3119"/>
              <a:gd name="T96" fmla="*/ 1933 w 2046"/>
              <a:gd name="T97" fmla="*/ 2145 h 3119"/>
              <a:gd name="T98" fmla="*/ 1860 w 2046"/>
              <a:gd name="T99" fmla="*/ 1983 h 3119"/>
              <a:gd name="T100" fmla="*/ 1753 w 2046"/>
              <a:gd name="T101" fmla="*/ 1830 h 3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46" h="3119">
                <a:moveTo>
                  <a:pt x="1682" y="1751"/>
                </a:moveTo>
                <a:lnTo>
                  <a:pt x="1609" y="1681"/>
                </a:lnTo>
                <a:lnTo>
                  <a:pt x="1534" y="1621"/>
                </a:lnTo>
                <a:lnTo>
                  <a:pt x="1372" y="1502"/>
                </a:lnTo>
                <a:lnTo>
                  <a:pt x="1290" y="1424"/>
                </a:lnTo>
                <a:lnTo>
                  <a:pt x="1229" y="1347"/>
                </a:lnTo>
                <a:lnTo>
                  <a:pt x="1166" y="1227"/>
                </a:lnTo>
                <a:lnTo>
                  <a:pt x="1130" y="1131"/>
                </a:lnTo>
                <a:lnTo>
                  <a:pt x="1097" y="1032"/>
                </a:lnTo>
                <a:lnTo>
                  <a:pt x="1085" y="941"/>
                </a:lnTo>
                <a:lnTo>
                  <a:pt x="1083" y="850"/>
                </a:lnTo>
                <a:lnTo>
                  <a:pt x="1088" y="773"/>
                </a:lnTo>
                <a:lnTo>
                  <a:pt x="1106" y="665"/>
                </a:lnTo>
                <a:lnTo>
                  <a:pt x="1142" y="564"/>
                </a:lnTo>
                <a:lnTo>
                  <a:pt x="1186" y="474"/>
                </a:lnTo>
                <a:lnTo>
                  <a:pt x="1245" y="378"/>
                </a:lnTo>
                <a:lnTo>
                  <a:pt x="1329" y="281"/>
                </a:lnTo>
                <a:lnTo>
                  <a:pt x="1395" y="215"/>
                </a:lnTo>
                <a:lnTo>
                  <a:pt x="1463" y="163"/>
                </a:lnTo>
                <a:lnTo>
                  <a:pt x="1532" y="122"/>
                </a:lnTo>
                <a:lnTo>
                  <a:pt x="1604" y="90"/>
                </a:lnTo>
                <a:lnTo>
                  <a:pt x="1682" y="66"/>
                </a:lnTo>
                <a:lnTo>
                  <a:pt x="1765" y="54"/>
                </a:lnTo>
                <a:lnTo>
                  <a:pt x="1821" y="50"/>
                </a:lnTo>
                <a:lnTo>
                  <a:pt x="1886" y="48"/>
                </a:lnTo>
                <a:lnTo>
                  <a:pt x="2046" y="60"/>
                </a:lnTo>
                <a:lnTo>
                  <a:pt x="1928" y="32"/>
                </a:lnTo>
                <a:lnTo>
                  <a:pt x="1842" y="18"/>
                </a:lnTo>
                <a:lnTo>
                  <a:pt x="1747" y="6"/>
                </a:lnTo>
                <a:lnTo>
                  <a:pt x="1651" y="0"/>
                </a:lnTo>
                <a:lnTo>
                  <a:pt x="1570" y="0"/>
                </a:lnTo>
                <a:lnTo>
                  <a:pt x="1485" y="6"/>
                </a:lnTo>
                <a:lnTo>
                  <a:pt x="1391" y="14"/>
                </a:lnTo>
                <a:lnTo>
                  <a:pt x="1306" y="30"/>
                </a:lnTo>
                <a:lnTo>
                  <a:pt x="1203" y="54"/>
                </a:lnTo>
                <a:lnTo>
                  <a:pt x="1092" y="85"/>
                </a:lnTo>
                <a:lnTo>
                  <a:pt x="985" y="127"/>
                </a:lnTo>
                <a:lnTo>
                  <a:pt x="900" y="167"/>
                </a:lnTo>
                <a:lnTo>
                  <a:pt x="806" y="217"/>
                </a:lnTo>
                <a:lnTo>
                  <a:pt x="708" y="277"/>
                </a:lnTo>
                <a:lnTo>
                  <a:pt x="637" y="333"/>
                </a:lnTo>
                <a:lnTo>
                  <a:pt x="567" y="390"/>
                </a:lnTo>
                <a:lnTo>
                  <a:pt x="494" y="458"/>
                </a:lnTo>
                <a:lnTo>
                  <a:pt x="428" y="522"/>
                </a:lnTo>
                <a:lnTo>
                  <a:pt x="374" y="587"/>
                </a:lnTo>
                <a:lnTo>
                  <a:pt x="317" y="660"/>
                </a:lnTo>
                <a:lnTo>
                  <a:pt x="266" y="731"/>
                </a:lnTo>
                <a:lnTo>
                  <a:pt x="215" y="808"/>
                </a:lnTo>
                <a:lnTo>
                  <a:pt x="174" y="888"/>
                </a:lnTo>
                <a:lnTo>
                  <a:pt x="135" y="972"/>
                </a:lnTo>
                <a:lnTo>
                  <a:pt x="99" y="1059"/>
                </a:lnTo>
                <a:lnTo>
                  <a:pt x="69" y="1155"/>
                </a:lnTo>
                <a:lnTo>
                  <a:pt x="42" y="1247"/>
                </a:lnTo>
                <a:lnTo>
                  <a:pt x="24" y="1340"/>
                </a:lnTo>
                <a:lnTo>
                  <a:pt x="10" y="1448"/>
                </a:lnTo>
                <a:lnTo>
                  <a:pt x="3" y="1537"/>
                </a:lnTo>
                <a:lnTo>
                  <a:pt x="0" y="1627"/>
                </a:lnTo>
                <a:lnTo>
                  <a:pt x="3" y="1720"/>
                </a:lnTo>
                <a:lnTo>
                  <a:pt x="16" y="1828"/>
                </a:lnTo>
                <a:lnTo>
                  <a:pt x="34" y="1940"/>
                </a:lnTo>
                <a:lnTo>
                  <a:pt x="57" y="2035"/>
                </a:lnTo>
                <a:lnTo>
                  <a:pt x="83" y="2131"/>
                </a:lnTo>
                <a:lnTo>
                  <a:pt x="113" y="2208"/>
                </a:lnTo>
                <a:lnTo>
                  <a:pt x="153" y="2292"/>
                </a:lnTo>
                <a:lnTo>
                  <a:pt x="189" y="2370"/>
                </a:lnTo>
                <a:lnTo>
                  <a:pt x="238" y="2459"/>
                </a:lnTo>
                <a:lnTo>
                  <a:pt x="296" y="2548"/>
                </a:lnTo>
                <a:lnTo>
                  <a:pt x="356" y="2621"/>
                </a:lnTo>
                <a:lnTo>
                  <a:pt x="412" y="2691"/>
                </a:lnTo>
                <a:lnTo>
                  <a:pt x="475" y="2759"/>
                </a:lnTo>
                <a:lnTo>
                  <a:pt x="541" y="2822"/>
                </a:lnTo>
                <a:lnTo>
                  <a:pt x="597" y="2870"/>
                </a:lnTo>
                <a:lnTo>
                  <a:pt x="668" y="2928"/>
                </a:lnTo>
                <a:lnTo>
                  <a:pt x="745" y="2975"/>
                </a:lnTo>
                <a:lnTo>
                  <a:pt x="806" y="3012"/>
                </a:lnTo>
                <a:lnTo>
                  <a:pt x="869" y="3043"/>
                </a:lnTo>
                <a:lnTo>
                  <a:pt x="930" y="3067"/>
                </a:lnTo>
                <a:lnTo>
                  <a:pt x="989" y="3085"/>
                </a:lnTo>
                <a:lnTo>
                  <a:pt x="1078" y="3107"/>
                </a:lnTo>
                <a:lnTo>
                  <a:pt x="1146" y="3115"/>
                </a:lnTo>
                <a:lnTo>
                  <a:pt x="1216" y="3119"/>
                </a:lnTo>
                <a:lnTo>
                  <a:pt x="1281" y="3115"/>
                </a:lnTo>
                <a:lnTo>
                  <a:pt x="1367" y="3104"/>
                </a:lnTo>
                <a:lnTo>
                  <a:pt x="1451" y="3083"/>
                </a:lnTo>
                <a:lnTo>
                  <a:pt x="1527" y="3053"/>
                </a:lnTo>
                <a:lnTo>
                  <a:pt x="1588" y="3017"/>
                </a:lnTo>
                <a:lnTo>
                  <a:pt x="1658" y="2975"/>
                </a:lnTo>
                <a:lnTo>
                  <a:pt x="1713" y="2928"/>
                </a:lnTo>
                <a:lnTo>
                  <a:pt x="1771" y="2874"/>
                </a:lnTo>
                <a:lnTo>
                  <a:pt x="1821" y="2811"/>
                </a:lnTo>
                <a:lnTo>
                  <a:pt x="1867" y="2743"/>
                </a:lnTo>
                <a:lnTo>
                  <a:pt x="1902" y="2671"/>
                </a:lnTo>
                <a:lnTo>
                  <a:pt x="1928" y="2590"/>
                </a:lnTo>
                <a:lnTo>
                  <a:pt x="1950" y="2506"/>
                </a:lnTo>
                <a:lnTo>
                  <a:pt x="1962" y="2420"/>
                </a:lnTo>
                <a:lnTo>
                  <a:pt x="1964" y="2330"/>
                </a:lnTo>
                <a:lnTo>
                  <a:pt x="1952" y="2231"/>
                </a:lnTo>
                <a:lnTo>
                  <a:pt x="1933" y="2145"/>
                </a:lnTo>
                <a:lnTo>
                  <a:pt x="1898" y="2062"/>
                </a:lnTo>
                <a:lnTo>
                  <a:pt x="1860" y="1983"/>
                </a:lnTo>
                <a:lnTo>
                  <a:pt x="1813" y="1914"/>
                </a:lnTo>
                <a:lnTo>
                  <a:pt x="1753" y="1830"/>
                </a:lnTo>
                <a:lnTo>
                  <a:pt x="1682" y="1751"/>
                </a:lnTo>
                <a:close/>
              </a:path>
            </a:pathLst>
          </a:custGeom>
          <a:gradFill rotWithShape="1">
            <a:gsLst>
              <a:gs pos="0">
                <a:schemeClr val="bg1">
                  <a:lumMod val="75000"/>
                </a:schemeClr>
              </a:gs>
              <a:gs pos="100000">
                <a:schemeClr val="tx1"/>
              </a:gs>
            </a:gsLst>
            <a:path path="rect">
              <a:fillToRect l="50000" t="50000" r="50000" b="50000"/>
            </a:path>
          </a:gradFill>
          <a:ln>
            <a:noFill/>
          </a:ln>
          <a:scene3d>
            <a:camera prst="orthographicFront"/>
            <a:lightRig rig="threePt" dir="t"/>
          </a:scene3d>
          <a:sp3d>
            <a:bevelT/>
          </a:sp3d>
          <a:extLst/>
        </p:spPr>
        <p:txBody>
          <a:bodyPr/>
          <a:lstStyle/>
          <a:p>
            <a:pPr algn="ctr" fontAlgn="auto">
              <a:spcBef>
                <a:spcPts val="0"/>
              </a:spcBef>
              <a:spcAft>
                <a:spcPts val="0"/>
              </a:spcAft>
              <a:defRPr/>
            </a:pPr>
            <a:endParaRPr lang="th-TH" sz="3600" kern="0" smtClean="0">
              <a:solidFill>
                <a:srgbClr val="FFFF00"/>
              </a:solidFill>
              <a:latin typeface="AngsanaUPC" pitchFamily="18" charset="-34"/>
              <a:cs typeface="LilyUPC" panose="020B0604020202020204" pitchFamily="34" charset="-34"/>
            </a:endParaRPr>
          </a:p>
        </p:txBody>
      </p:sp>
      <p:sp>
        <p:nvSpPr>
          <p:cNvPr id="2" name="Rectangle 1"/>
          <p:cNvSpPr/>
          <p:nvPr/>
        </p:nvSpPr>
        <p:spPr>
          <a:xfrm>
            <a:off x="6890542" y="6424035"/>
            <a:ext cx="2123282" cy="433965"/>
          </a:xfrm>
          <a:prstGeom prst="rect">
            <a:avLst/>
          </a:prstGeom>
        </p:spPr>
        <p:txBody>
          <a:bodyPr wrap="square">
            <a:spAutoFit/>
          </a:bodyPr>
          <a:lstStyle/>
          <a:p>
            <a:pPr marL="342900" indent="-342900" eaLnBrk="0" hangingPunct="0">
              <a:lnSpc>
                <a:spcPct val="90000"/>
              </a:lnSpc>
              <a:spcBef>
                <a:spcPct val="20000"/>
              </a:spcBef>
            </a:pPr>
            <a:r>
              <a:rPr lang="th-TH" sz="2400" b="0" dirty="0">
                <a:solidFill>
                  <a:srgbClr val="000099"/>
                </a:solidFill>
                <a:latin typeface="Angsana News" pitchFamily="18" charset="-34"/>
                <a:cs typeface="AngsanaUPC" pitchFamily="18" charset="-34"/>
              </a:rPr>
              <a:t>ธนิตสรณ์ จิระพรชัย        </a:t>
            </a:r>
            <a:endParaRPr lang="th-TH" sz="2400" b="0" i="1" dirty="0">
              <a:solidFill>
                <a:srgbClr val="000099"/>
              </a:solidFill>
              <a:latin typeface="Angsana News" pitchFamily="18" charset="-34"/>
              <a:cs typeface="AngsanaUPC" pitchFamily="18" charset="-34"/>
            </a:endParaRPr>
          </a:p>
        </p:txBody>
      </p:sp>
      <p:sp>
        <p:nvSpPr>
          <p:cNvPr id="3" name="Rounded Rectangle 2"/>
          <p:cNvSpPr/>
          <p:nvPr/>
        </p:nvSpPr>
        <p:spPr>
          <a:xfrm>
            <a:off x="142875" y="1536699"/>
            <a:ext cx="8772526" cy="4841169"/>
          </a:xfrm>
          <a:prstGeom prst="roundRect">
            <a:avLst>
              <a:gd name="adj" fmla="val 7864"/>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a:solidFill>
                <a:prstClr val="white"/>
              </a:solidFill>
            </a:endParaRPr>
          </a:p>
        </p:txBody>
      </p:sp>
      <p:pic>
        <p:nvPicPr>
          <p:cNvPr id="25" name="Picture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800000">
            <a:off x="3233449" y="2395363"/>
            <a:ext cx="2599964" cy="2599964"/>
          </a:xfrm>
          <a:prstGeom prst="rect">
            <a:avLst/>
          </a:prstGeom>
        </p:spPr>
      </p:pic>
      <p:sp>
        <p:nvSpPr>
          <p:cNvPr id="4" name="Rectangle 3"/>
          <p:cNvSpPr/>
          <p:nvPr/>
        </p:nvSpPr>
        <p:spPr>
          <a:xfrm>
            <a:off x="4114433" y="3376146"/>
            <a:ext cx="939681" cy="584775"/>
          </a:xfrm>
          <a:prstGeom prst="rect">
            <a:avLst/>
          </a:prstGeom>
        </p:spPr>
        <p:txBody>
          <a:bodyPr wrap="none">
            <a:spAutoFit/>
          </a:bodyPr>
          <a:lstStyle/>
          <a:p>
            <a:r>
              <a:rPr lang="th-TH" sz="3200" b="1" dirty="0" smtClean="0">
                <a:solidFill>
                  <a:srgbClr val="FFFFFF"/>
                </a:solidFill>
                <a:effectLst>
                  <a:outerShdw blurRad="38100" dist="38100" dir="2700000" algn="tl">
                    <a:srgbClr val="000000"/>
                  </a:outerShdw>
                </a:effectLst>
                <a:latin typeface="Angsana News" pitchFamily="18" charset="-34"/>
                <a:cs typeface="AngsanaUPC" pitchFamily="18" charset="-34"/>
              </a:rPr>
              <a:t>องค์กร</a:t>
            </a:r>
            <a:endParaRPr lang="th-TH" sz="3200" dirty="0">
              <a:solidFill>
                <a:prstClr val="white"/>
              </a:solidFill>
              <a:latin typeface="Arial"/>
            </a:endParaRPr>
          </a:p>
        </p:txBody>
      </p:sp>
      <p:sp>
        <p:nvSpPr>
          <p:cNvPr id="5" name="Rounded Rectangle 4"/>
          <p:cNvSpPr/>
          <p:nvPr/>
        </p:nvSpPr>
        <p:spPr>
          <a:xfrm>
            <a:off x="5366741" y="1247775"/>
            <a:ext cx="3227388" cy="554035"/>
          </a:xfrm>
          <a:prstGeom prst="roundRect">
            <a:avLst>
              <a:gd name="adj" fmla="val 36247"/>
            </a:avLst>
          </a:prstGeom>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a:solidFill>
                <a:prstClr val="white"/>
              </a:solidFill>
            </a:endParaRPr>
          </a:p>
        </p:txBody>
      </p:sp>
      <p:sp>
        <p:nvSpPr>
          <p:cNvPr id="52" name="Rectangle 10"/>
          <p:cNvSpPr>
            <a:spLocks noChangeArrowheads="1"/>
          </p:cNvSpPr>
          <p:nvPr/>
        </p:nvSpPr>
        <p:spPr bwMode="auto">
          <a:xfrm>
            <a:off x="5377060" y="1246186"/>
            <a:ext cx="3227388" cy="454025"/>
          </a:xfrm>
          <a:prstGeom prst="rect">
            <a:avLst/>
          </a:prstGeom>
          <a:noFill/>
          <a:ln>
            <a:noFill/>
          </a:ln>
          <a:effectLst/>
        </p:spPr>
        <p:txBody>
          <a:bodyPr anchor="ctr"/>
          <a:lstStyle/>
          <a:p>
            <a:pPr algn="ctr" eaLnBrk="0" hangingPunct="0">
              <a:lnSpc>
                <a:spcPct val="120000"/>
              </a:lnSpc>
              <a:spcBef>
                <a:spcPct val="40000"/>
              </a:spcBef>
            </a:pPr>
            <a:r>
              <a:rPr lang="th-TH" b="1" dirty="0" smtClean="0">
                <a:solidFill>
                  <a:schemeClr val="bg1"/>
                </a:solidFill>
                <a:latin typeface="Angsana News" pitchFamily="18" charset="-34"/>
                <a:cs typeface="AngsanaUPC" pitchFamily="18" charset="-34"/>
              </a:rPr>
              <a:t>จุดเริ่มต้นของการพัฒนาองค์กร</a:t>
            </a:r>
          </a:p>
        </p:txBody>
      </p:sp>
      <p:grpSp>
        <p:nvGrpSpPr>
          <p:cNvPr id="9" name="Group 8"/>
          <p:cNvGrpSpPr/>
          <p:nvPr/>
        </p:nvGrpSpPr>
        <p:grpSpPr>
          <a:xfrm>
            <a:off x="4698307" y="1693869"/>
            <a:ext cx="386655" cy="1385831"/>
            <a:chOff x="4658595" y="1755138"/>
            <a:chExt cx="386655" cy="1385831"/>
          </a:xfrm>
        </p:grpSpPr>
        <p:cxnSp>
          <p:nvCxnSpPr>
            <p:cNvPr id="7" name="Straight Connector 6"/>
            <p:cNvCxnSpPr/>
            <p:nvPr/>
          </p:nvCxnSpPr>
          <p:spPr>
            <a:xfrm flipV="1">
              <a:off x="4838700" y="2132856"/>
              <a:ext cx="0" cy="1008113"/>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31" name="WordArt 17"/>
            <p:cNvSpPr>
              <a:spLocks noChangeArrowheads="1" noChangeShapeType="1" noTextEdit="1"/>
            </p:cNvSpPr>
            <p:nvPr/>
          </p:nvSpPr>
          <p:spPr bwMode="auto">
            <a:xfrm>
              <a:off x="4658595" y="1755138"/>
              <a:ext cx="386655" cy="396235"/>
            </a:xfrm>
            <a:prstGeom prst="rect">
              <a:avLst/>
            </a:prstGeom>
            <a:extLst>
              <a:ext uri="{AF507438-7753-43E0-B8FC-AC1667EBCBE1}">
                <a14:hiddenEffects xmlns:a14="http://schemas.microsoft.com/office/drawing/2010/main">
                  <a:effectLst/>
                </a14:hiddenEffects>
              </a:ext>
            </a:extLst>
          </p:spPr>
          <p:txBody>
            <a:bodyPr wrap="none" fromWordArt="1">
              <a:prstTxWarp prst="textStop">
                <a:avLst>
                  <a:gd name="adj" fmla="val 14286"/>
                </a:avLst>
              </a:prstTxWarp>
              <a:scene3d>
                <a:camera prst="orthographicFront"/>
                <a:lightRig rig="threePt" dir="t"/>
              </a:scene3d>
              <a:sp3d extrusionH="57150" prstMaterial="softEdge">
                <a:bevelT w="38100" h="38100"/>
              </a:sp3d>
            </a:bodyPr>
            <a:lstStyle/>
            <a:p>
              <a:pPr algn="ctr" fontAlgn="auto">
                <a:spcBef>
                  <a:spcPts val="0"/>
                </a:spcBef>
                <a:spcAft>
                  <a:spcPts val="0"/>
                </a:spcAft>
                <a:defRPr/>
              </a:pPr>
              <a:r>
                <a:rPr lang="th-TH" sz="2000" b="1" kern="10" dirty="0" smtClean="0">
                  <a:ln w="9525">
                    <a:solidFill>
                      <a:srgbClr val="000000"/>
                    </a:solidFill>
                    <a:round/>
                    <a:headEnd/>
                    <a:tailEnd/>
                  </a:ln>
                  <a:gradFill rotWithShape="1">
                    <a:gsLst>
                      <a:gs pos="0">
                        <a:srgbClr val="969696"/>
                      </a:gs>
                      <a:gs pos="100000">
                        <a:srgbClr val="969696">
                          <a:gamma/>
                          <a:shade val="0"/>
                          <a:invGamma/>
                        </a:srgbClr>
                      </a:gs>
                    </a:gsLst>
                    <a:path path="rect">
                      <a:fillToRect l="50000" t="50000" r="50000" b="50000"/>
                    </a:path>
                  </a:gradFill>
                  <a:latin typeface="Browallia New"/>
                  <a:cs typeface="Browallia New"/>
                </a:rPr>
                <a:t>คน</a:t>
              </a:r>
            </a:p>
          </p:txBody>
        </p:sp>
      </p:grpSp>
      <p:grpSp>
        <p:nvGrpSpPr>
          <p:cNvPr id="10" name="Group 9"/>
          <p:cNvGrpSpPr/>
          <p:nvPr/>
        </p:nvGrpSpPr>
        <p:grpSpPr>
          <a:xfrm>
            <a:off x="3999098" y="4305452"/>
            <a:ext cx="463190" cy="1524690"/>
            <a:chOff x="3984959" y="4263035"/>
            <a:chExt cx="463190" cy="1524690"/>
          </a:xfrm>
        </p:grpSpPr>
        <p:cxnSp>
          <p:nvCxnSpPr>
            <p:cNvPr id="30" name="Straight Connector 29"/>
            <p:cNvCxnSpPr/>
            <p:nvPr/>
          </p:nvCxnSpPr>
          <p:spPr>
            <a:xfrm flipV="1">
              <a:off x="4211488" y="4263035"/>
              <a:ext cx="0" cy="1008113"/>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33" name="WordArt 20"/>
            <p:cNvSpPr>
              <a:spLocks noChangeArrowheads="1" noChangeShapeType="1" noTextEdit="1"/>
            </p:cNvSpPr>
            <p:nvPr/>
          </p:nvSpPr>
          <p:spPr bwMode="auto">
            <a:xfrm>
              <a:off x="3984959" y="5324535"/>
              <a:ext cx="463190" cy="463190"/>
            </a:xfrm>
            <a:prstGeom prst="rect">
              <a:avLst/>
            </a:prstGeom>
            <a:extLst>
              <a:ext uri="{91240B29-F687-4F45-9708-019B960494DF}">
                <a14:hiddenLine xmlns:a14="http://schemas.microsoft.com/office/drawing/2010/main" w="9525">
                  <a:solidFill>
                    <a:schemeClr val="bg2"/>
                  </a:solidFill>
                  <a:round/>
                  <a:headEnd/>
                  <a:tailEnd/>
                </a14:hiddenLine>
              </a:ext>
              <a:ext uri="{AF507438-7753-43E0-B8FC-AC1667EBCBE1}">
                <a14:hiddenEffects xmlns:a14="http://schemas.microsoft.com/office/drawing/2010/main">
                  <a:effectLst/>
                </a14:hiddenEffects>
              </a:ext>
            </a:extLst>
          </p:spPr>
          <p:txBody>
            <a:bodyPr wrap="none" fromWordArt="1">
              <a:prstTxWarp prst="textStop">
                <a:avLst>
                  <a:gd name="adj" fmla="val 14286"/>
                </a:avLst>
              </a:prstTxWarp>
              <a:scene3d>
                <a:camera prst="orthographicFront"/>
                <a:lightRig rig="threePt" dir="t"/>
              </a:scene3d>
              <a:sp3d extrusionH="57150">
                <a:bevelT w="38100" h="38100"/>
              </a:sp3d>
            </a:bodyPr>
            <a:lstStyle/>
            <a:p>
              <a:pPr algn="ctr" fontAlgn="auto">
                <a:spcBef>
                  <a:spcPts val="0"/>
                </a:spcBef>
                <a:spcAft>
                  <a:spcPts val="0"/>
                </a:spcAft>
                <a:defRPr/>
              </a:pPr>
              <a:r>
                <a:rPr lang="th-TH" sz="2000" b="1" kern="10" dirty="0" smtClean="0">
                  <a:gradFill rotWithShape="1">
                    <a:gsLst>
                      <a:gs pos="0">
                        <a:srgbClr val="1904E0">
                          <a:gamma/>
                          <a:tint val="32549"/>
                          <a:invGamma/>
                        </a:srgbClr>
                      </a:gs>
                      <a:gs pos="100000">
                        <a:srgbClr val="1904E0"/>
                      </a:gs>
                    </a:gsLst>
                    <a:path path="rect">
                      <a:fillToRect l="50000" t="50000" r="50000" b="50000"/>
                    </a:path>
                  </a:gradFill>
                  <a:latin typeface="Browallia New"/>
                  <a:cs typeface="Browallia New"/>
                </a:rPr>
                <a:t>ระบบ</a:t>
              </a:r>
            </a:p>
          </p:txBody>
        </p:sp>
      </p:grpSp>
      <p:sp>
        <p:nvSpPr>
          <p:cNvPr id="36" name="Rectangle 1"/>
          <p:cNvSpPr>
            <a:spLocks noChangeArrowheads="1"/>
          </p:cNvSpPr>
          <p:nvPr/>
        </p:nvSpPr>
        <p:spPr bwMode="auto">
          <a:xfrm>
            <a:off x="12160" y="0"/>
            <a:ext cx="8973516" cy="794544"/>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anchor="ctr"/>
          <a:lstStyle/>
          <a:p>
            <a:pPr algn="ctr"/>
            <a:r>
              <a:rPr lang="th-TH" sz="4400" dirty="0">
                <a:solidFill>
                  <a:schemeClr val="bg1"/>
                </a:solidFill>
                <a:effectLst>
                  <a:outerShdw blurRad="38100" dist="38100" dir="2700000" algn="tl">
                    <a:srgbClr val="000000">
                      <a:alpha val="43137"/>
                    </a:srgbClr>
                  </a:outerShdw>
                </a:effectLst>
                <a:latin typeface="Haettenschweiler" pitchFamily="34" charset="0"/>
                <a:cs typeface="AngsanaUPC" pitchFamily="18" charset="-34"/>
              </a:rPr>
              <a:t>แนวคิด ความสัมพันธ์ระหว่างคน ระบบ และองค์กร</a:t>
            </a:r>
          </a:p>
        </p:txBody>
      </p:sp>
    </p:spTree>
    <p:extLst>
      <p:ext uri="{BB962C8B-B14F-4D97-AF65-F5344CB8AC3E}">
        <p14:creationId xmlns:p14="http://schemas.microsoft.com/office/powerpoint/2010/main" val="290308827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2000"/>
                                        <p:tgtEl>
                                          <p:spTgt spid="53"/>
                                        </p:tgtEl>
                                      </p:cBhvr>
                                    </p:animEffect>
                                  </p:childTnLst>
                                </p:cTn>
                              </p:par>
                              <p:par>
                                <p:cTn id="8" presetID="35" presetClass="path" presetSubtype="0" fill="hold" grpId="1" nodeType="withEffect">
                                  <p:stCondLst>
                                    <p:cond delay="0"/>
                                  </p:stCondLst>
                                  <p:childTnLst>
                                    <p:animMotion origin="layout" path="M 0.00364 -0.00555 L -0.54983 0.02222 " pathEditMode="relative" rAng="0" ptsTypes="AA">
                                      <p:cBhvr>
                                        <p:cTn id="9" dur="3000" fill="hold"/>
                                        <p:tgtEl>
                                          <p:spTgt spid="53"/>
                                        </p:tgtEl>
                                        <p:attrNameLst>
                                          <p:attrName>ppt_x</p:attrName>
                                          <p:attrName>ppt_y</p:attrName>
                                        </p:attrNameLst>
                                      </p:cBhvr>
                                      <p:rCtr x="-27674" y="1389"/>
                                    </p:animMotion>
                                  </p:childTnLst>
                                </p:cTn>
                              </p:par>
                              <p:par>
                                <p:cTn id="10" presetID="8" presetClass="emph" presetSubtype="0" accel="50000" decel="50000" fill="hold" grpId="2" nodeType="withEffect">
                                  <p:stCondLst>
                                    <p:cond delay="0"/>
                                  </p:stCondLst>
                                  <p:childTnLst>
                                    <p:animRot by="-43200000">
                                      <p:cBhvr>
                                        <p:cTn id="11" dur="5000" fill="hold"/>
                                        <p:tgtEl>
                                          <p:spTgt spid="53"/>
                                        </p:tgtEl>
                                        <p:attrNameLst>
                                          <p:attrName>r</p:attrName>
                                        </p:attrNameLst>
                                      </p:cBhvr>
                                    </p:animRot>
                                  </p:childTnLst>
                                </p:cTn>
                              </p:par>
                              <p:par>
                                <p:cTn id="12" presetID="10" presetClass="entr" presetSubtype="0" fill="hold" grpId="0" nodeType="withEffect">
                                  <p:stCondLst>
                                    <p:cond delay="0"/>
                                  </p:stCondLst>
                                  <p:childTnLst>
                                    <p:set>
                                      <p:cBhvr>
                                        <p:cTn id="13" dur="1" fill="hold">
                                          <p:stCondLst>
                                            <p:cond delay="0"/>
                                          </p:stCondLst>
                                        </p:cTn>
                                        <p:tgtEl>
                                          <p:spTgt spid="54"/>
                                        </p:tgtEl>
                                        <p:attrNameLst>
                                          <p:attrName>style.visibility</p:attrName>
                                        </p:attrNameLst>
                                      </p:cBhvr>
                                      <p:to>
                                        <p:strVal val="visible"/>
                                      </p:to>
                                    </p:set>
                                    <p:animEffect transition="in" filter="fade">
                                      <p:cBhvr>
                                        <p:cTn id="14" dur="2000"/>
                                        <p:tgtEl>
                                          <p:spTgt spid="54"/>
                                        </p:tgtEl>
                                      </p:cBhvr>
                                    </p:animEffect>
                                  </p:childTnLst>
                                </p:cTn>
                              </p:par>
                              <p:par>
                                <p:cTn id="15" presetID="63" presetClass="path" presetSubtype="0" accel="50000" decel="50000" fill="hold" grpId="1" nodeType="withEffect">
                                  <p:stCondLst>
                                    <p:cond delay="0"/>
                                  </p:stCondLst>
                                  <p:childTnLst>
                                    <p:animMotion origin="layout" path="M 0.00799 -4.44444E-6 L 0.54566 -4.44444E-6 " pathEditMode="relative" rAng="0" ptsTypes="AA">
                                      <p:cBhvr>
                                        <p:cTn id="16" dur="3000" fill="hold"/>
                                        <p:tgtEl>
                                          <p:spTgt spid="54"/>
                                        </p:tgtEl>
                                        <p:attrNameLst>
                                          <p:attrName>ppt_x</p:attrName>
                                          <p:attrName>ppt_y</p:attrName>
                                        </p:attrNameLst>
                                      </p:cBhvr>
                                      <p:rCtr x="26875" y="0"/>
                                    </p:animMotion>
                                  </p:childTnLst>
                                </p:cTn>
                              </p:par>
                              <p:par>
                                <p:cTn id="17" presetID="8" presetClass="emph" presetSubtype="0" accel="50000" decel="50000" fill="hold" grpId="2" nodeType="withEffect">
                                  <p:stCondLst>
                                    <p:cond delay="0"/>
                                  </p:stCondLst>
                                  <p:childTnLst>
                                    <p:animRot by="-43200000">
                                      <p:cBhvr>
                                        <p:cTn id="18" dur="5000" fill="hold"/>
                                        <p:tgtEl>
                                          <p:spTgt spid="54"/>
                                        </p:tgtEl>
                                        <p:attrNameLst>
                                          <p:attrName>r</p:attrName>
                                        </p:attrNameLst>
                                      </p:cBhvr>
                                    </p:animRot>
                                  </p:childTnLst>
                                </p:cTn>
                              </p:par>
                              <p:par>
                                <p:cTn id="19" presetID="8" presetClass="emph" presetSubtype="0" decel="50000" fill="hold" nodeType="withEffect">
                                  <p:stCondLst>
                                    <p:cond delay="0"/>
                                  </p:stCondLst>
                                  <p:childTnLst>
                                    <p:animRot by="-21600000">
                                      <p:cBhvr>
                                        <p:cTn id="20" dur="5000" fill="hold"/>
                                        <p:tgtEl>
                                          <p:spTgt spid="45"/>
                                        </p:tgtEl>
                                        <p:attrNameLst>
                                          <p:attrName>r</p:attrName>
                                        </p:attrNameLst>
                                      </p:cBhvr>
                                    </p:animRot>
                                  </p:childTnLst>
                                </p:cTn>
                              </p:par>
                            </p:childTnLst>
                          </p:cTn>
                        </p:par>
                        <p:par>
                          <p:cTn id="21" fill="hold">
                            <p:stCondLst>
                              <p:cond delay="5000"/>
                            </p:stCondLst>
                            <p:childTnLst>
                              <p:par>
                                <p:cTn id="22" presetID="10" presetClass="entr" presetSubtype="0" fill="hold" nodeType="afterEffect">
                                  <p:stCondLst>
                                    <p:cond delay="0"/>
                                  </p:stCondLst>
                                  <p:childTnLst>
                                    <p:set>
                                      <p:cBhvr>
                                        <p:cTn id="23" dur="1" fill="hold">
                                          <p:stCondLst>
                                            <p:cond delay="0"/>
                                          </p:stCondLst>
                                        </p:cTn>
                                        <p:tgtEl>
                                          <p:spTgt spid="25"/>
                                        </p:tgtEl>
                                        <p:attrNameLst>
                                          <p:attrName>style.visibility</p:attrName>
                                        </p:attrNameLst>
                                      </p:cBhvr>
                                      <p:to>
                                        <p:strVal val="visible"/>
                                      </p:to>
                                    </p:set>
                                    <p:animEffect transition="in" filter="fade">
                                      <p:cBhvr>
                                        <p:cTn id="24" dur="2000"/>
                                        <p:tgtEl>
                                          <p:spTgt spid="25"/>
                                        </p:tgtEl>
                                      </p:cBhvr>
                                    </p:animEffect>
                                  </p:childTnLst>
                                </p:cTn>
                              </p:par>
                            </p:childTnLst>
                          </p:cTn>
                        </p:par>
                        <p:par>
                          <p:cTn id="25" fill="hold">
                            <p:stCondLst>
                              <p:cond delay="7000"/>
                            </p:stCondLst>
                            <p:childTnLst>
                              <p:par>
                                <p:cTn id="26" presetID="22" presetClass="entr" presetSubtype="4"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ipe(down)">
                                      <p:cBhvr>
                                        <p:cTn id="28" dur="500"/>
                                        <p:tgtEl>
                                          <p:spTgt spid="9"/>
                                        </p:tgtEl>
                                      </p:cBhvr>
                                    </p:animEffect>
                                  </p:childTnLst>
                                </p:cTn>
                              </p:par>
                            </p:childTnLst>
                          </p:cTn>
                        </p:par>
                        <p:par>
                          <p:cTn id="29" fill="hold">
                            <p:stCondLst>
                              <p:cond delay="750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500"/>
                                        <p:tgtEl>
                                          <p:spTgt spid="10"/>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wipe(left)">
                                      <p:cBhvr>
                                        <p:cTn id="35" dur="500"/>
                                        <p:tgtEl>
                                          <p:spTgt spid="4"/>
                                        </p:tgtEl>
                                      </p:cBhvr>
                                    </p:animEffect>
                                  </p:childTnLst>
                                </p:cTn>
                              </p:par>
                            </p:childTnLst>
                          </p:cTn>
                        </p:par>
                        <p:par>
                          <p:cTn id="36" fill="hold">
                            <p:stCondLst>
                              <p:cond delay="8000"/>
                            </p:stCondLst>
                            <p:childTnLst>
                              <p:par>
                                <p:cTn id="37" presetID="22" presetClass="entr" presetSubtype="8" fill="hold" grpId="0" nodeType="afterEffect">
                                  <p:stCondLst>
                                    <p:cond delay="2000"/>
                                  </p:stCondLst>
                                  <p:childTnLst>
                                    <p:set>
                                      <p:cBhvr>
                                        <p:cTn id="38" dur="1" fill="hold">
                                          <p:stCondLst>
                                            <p:cond delay="0"/>
                                          </p:stCondLst>
                                        </p:cTn>
                                        <p:tgtEl>
                                          <p:spTgt spid="48">
                                            <p:txEl>
                                              <p:pRg st="0" end="0"/>
                                            </p:txEl>
                                          </p:spTgt>
                                        </p:tgtEl>
                                        <p:attrNameLst>
                                          <p:attrName>style.visibility</p:attrName>
                                        </p:attrNameLst>
                                      </p:cBhvr>
                                      <p:to>
                                        <p:strVal val="visible"/>
                                      </p:to>
                                    </p:set>
                                    <p:animEffect transition="in" filter="wipe(left)">
                                      <p:cBhvr>
                                        <p:cTn id="39" dur="500"/>
                                        <p:tgtEl>
                                          <p:spTgt spid="48">
                                            <p:txEl>
                                              <p:pRg st="0" end="0"/>
                                            </p:txEl>
                                          </p:spTgt>
                                        </p:tgtEl>
                                      </p:cBhvr>
                                    </p:animEffect>
                                  </p:childTnLst>
                                </p:cTn>
                              </p:par>
                            </p:childTnLst>
                          </p:cTn>
                        </p:par>
                        <p:par>
                          <p:cTn id="40" fill="hold">
                            <p:stCondLst>
                              <p:cond delay="10500"/>
                            </p:stCondLst>
                            <p:childTnLst>
                              <p:par>
                                <p:cTn id="41" presetID="22" presetClass="entr" presetSubtype="8" fill="hold" grpId="0" nodeType="afterEffect">
                                  <p:stCondLst>
                                    <p:cond delay="2000"/>
                                  </p:stCondLst>
                                  <p:childTnLst>
                                    <p:set>
                                      <p:cBhvr>
                                        <p:cTn id="42" dur="1" fill="hold">
                                          <p:stCondLst>
                                            <p:cond delay="0"/>
                                          </p:stCondLst>
                                        </p:cTn>
                                        <p:tgtEl>
                                          <p:spTgt spid="48">
                                            <p:txEl>
                                              <p:pRg st="1" end="1"/>
                                            </p:txEl>
                                          </p:spTgt>
                                        </p:tgtEl>
                                        <p:attrNameLst>
                                          <p:attrName>style.visibility</p:attrName>
                                        </p:attrNameLst>
                                      </p:cBhvr>
                                      <p:to>
                                        <p:strVal val="visible"/>
                                      </p:to>
                                    </p:set>
                                    <p:animEffect transition="in" filter="wipe(left)">
                                      <p:cBhvr>
                                        <p:cTn id="43" dur="500"/>
                                        <p:tgtEl>
                                          <p:spTgt spid="48">
                                            <p:txEl>
                                              <p:pRg st="1" end="1"/>
                                            </p:txEl>
                                          </p:spTgt>
                                        </p:tgtEl>
                                      </p:cBhvr>
                                    </p:animEffect>
                                  </p:childTnLst>
                                </p:cTn>
                              </p:par>
                            </p:childTnLst>
                          </p:cTn>
                        </p:par>
                        <p:par>
                          <p:cTn id="44" fill="hold">
                            <p:stCondLst>
                              <p:cond delay="13000"/>
                            </p:stCondLst>
                            <p:childTnLst>
                              <p:par>
                                <p:cTn id="45" presetID="22" presetClass="entr" presetSubtype="8" fill="hold" grpId="0" nodeType="afterEffect">
                                  <p:stCondLst>
                                    <p:cond delay="2000"/>
                                  </p:stCondLst>
                                  <p:childTnLst>
                                    <p:set>
                                      <p:cBhvr>
                                        <p:cTn id="46" dur="1" fill="hold">
                                          <p:stCondLst>
                                            <p:cond delay="0"/>
                                          </p:stCondLst>
                                        </p:cTn>
                                        <p:tgtEl>
                                          <p:spTgt spid="48">
                                            <p:txEl>
                                              <p:pRg st="2" end="2"/>
                                            </p:txEl>
                                          </p:spTgt>
                                        </p:tgtEl>
                                        <p:attrNameLst>
                                          <p:attrName>style.visibility</p:attrName>
                                        </p:attrNameLst>
                                      </p:cBhvr>
                                      <p:to>
                                        <p:strVal val="visible"/>
                                      </p:to>
                                    </p:set>
                                    <p:animEffect transition="in" filter="wipe(left)">
                                      <p:cBhvr>
                                        <p:cTn id="47" dur="500"/>
                                        <p:tgtEl>
                                          <p:spTgt spid="48">
                                            <p:txEl>
                                              <p:pRg st="2" end="2"/>
                                            </p:txEl>
                                          </p:spTgt>
                                        </p:tgtEl>
                                      </p:cBhvr>
                                    </p:animEffect>
                                  </p:childTnLst>
                                </p:cTn>
                              </p:par>
                            </p:childTnLst>
                          </p:cTn>
                        </p:par>
                        <p:par>
                          <p:cTn id="48" fill="hold">
                            <p:stCondLst>
                              <p:cond delay="15500"/>
                            </p:stCondLst>
                            <p:childTnLst>
                              <p:par>
                                <p:cTn id="49" presetID="22" presetClass="entr" presetSubtype="8" fill="hold" grpId="0" nodeType="afterEffect">
                                  <p:stCondLst>
                                    <p:cond delay="2000"/>
                                  </p:stCondLst>
                                  <p:childTnLst>
                                    <p:set>
                                      <p:cBhvr>
                                        <p:cTn id="50" dur="1" fill="hold">
                                          <p:stCondLst>
                                            <p:cond delay="0"/>
                                          </p:stCondLst>
                                        </p:cTn>
                                        <p:tgtEl>
                                          <p:spTgt spid="48">
                                            <p:txEl>
                                              <p:pRg st="3" end="3"/>
                                            </p:txEl>
                                          </p:spTgt>
                                        </p:tgtEl>
                                        <p:attrNameLst>
                                          <p:attrName>style.visibility</p:attrName>
                                        </p:attrNameLst>
                                      </p:cBhvr>
                                      <p:to>
                                        <p:strVal val="visible"/>
                                      </p:to>
                                    </p:set>
                                    <p:animEffect transition="in" filter="wipe(left)">
                                      <p:cBhvr>
                                        <p:cTn id="51" dur="500"/>
                                        <p:tgtEl>
                                          <p:spTgt spid="48">
                                            <p:txEl>
                                              <p:pRg st="3" end="3"/>
                                            </p:txEl>
                                          </p:spTgt>
                                        </p:tgtEl>
                                      </p:cBhvr>
                                    </p:animEffect>
                                  </p:childTnLst>
                                </p:cTn>
                              </p:par>
                            </p:childTnLst>
                          </p:cTn>
                        </p:par>
                        <p:par>
                          <p:cTn id="52" fill="hold">
                            <p:stCondLst>
                              <p:cond delay="18000"/>
                            </p:stCondLst>
                            <p:childTnLst>
                              <p:par>
                                <p:cTn id="53" presetID="22" presetClass="entr" presetSubtype="8" fill="hold" grpId="0" nodeType="afterEffect">
                                  <p:stCondLst>
                                    <p:cond delay="2000"/>
                                  </p:stCondLst>
                                  <p:childTnLst>
                                    <p:set>
                                      <p:cBhvr>
                                        <p:cTn id="54" dur="1" fill="hold">
                                          <p:stCondLst>
                                            <p:cond delay="0"/>
                                          </p:stCondLst>
                                        </p:cTn>
                                        <p:tgtEl>
                                          <p:spTgt spid="49">
                                            <p:txEl>
                                              <p:pRg st="0" end="0"/>
                                            </p:txEl>
                                          </p:spTgt>
                                        </p:tgtEl>
                                        <p:attrNameLst>
                                          <p:attrName>style.visibility</p:attrName>
                                        </p:attrNameLst>
                                      </p:cBhvr>
                                      <p:to>
                                        <p:strVal val="visible"/>
                                      </p:to>
                                    </p:set>
                                    <p:animEffect transition="in" filter="wipe(left)">
                                      <p:cBhvr>
                                        <p:cTn id="55" dur="500"/>
                                        <p:tgtEl>
                                          <p:spTgt spid="49">
                                            <p:txEl>
                                              <p:pRg st="0" end="0"/>
                                            </p:txEl>
                                          </p:spTgt>
                                        </p:tgtEl>
                                      </p:cBhvr>
                                    </p:animEffect>
                                  </p:childTnLst>
                                </p:cTn>
                              </p:par>
                            </p:childTnLst>
                          </p:cTn>
                        </p:par>
                        <p:par>
                          <p:cTn id="56" fill="hold">
                            <p:stCondLst>
                              <p:cond delay="20500"/>
                            </p:stCondLst>
                            <p:childTnLst>
                              <p:par>
                                <p:cTn id="57" presetID="22" presetClass="entr" presetSubtype="8" fill="hold" grpId="0" nodeType="afterEffect">
                                  <p:stCondLst>
                                    <p:cond delay="2000"/>
                                  </p:stCondLst>
                                  <p:childTnLst>
                                    <p:set>
                                      <p:cBhvr>
                                        <p:cTn id="58" dur="1" fill="hold">
                                          <p:stCondLst>
                                            <p:cond delay="0"/>
                                          </p:stCondLst>
                                        </p:cTn>
                                        <p:tgtEl>
                                          <p:spTgt spid="49">
                                            <p:txEl>
                                              <p:pRg st="1" end="1"/>
                                            </p:txEl>
                                          </p:spTgt>
                                        </p:tgtEl>
                                        <p:attrNameLst>
                                          <p:attrName>style.visibility</p:attrName>
                                        </p:attrNameLst>
                                      </p:cBhvr>
                                      <p:to>
                                        <p:strVal val="visible"/>
                                      </p:to>
                                    </p:set>
                                    <p:animEffect transition="in" filter="wipe(left)">
                                      <p:cBhvr>
                                        <p:cTn id="59" dur="500"/>
                                        <p:tgtEl>
                                          <p:spTgt spid="49">
                                            <p:txEl>
                                              <p:pRg st="1" end="1"/>
                                            </p:txEl>
                                          </p:spTgt>
                                        </p:tgtEl>
                                      </p:cBhvr>
                                    </p:animEffect>
                                  </p:childTnLst>
                                </p:cTn>
                              </p:par>
                            </p:childTnLst>
                          </p:cTn>
                        </p:par>
                        <p:par>
                          <p:cTn id="60" fill="hold">
                            <p:stCondLst>
                              <p:cond delay="23000"/>
                            </p:stCondLst>
                            <p:childTnLst>
                              <p:par>
                                <p:cTn id="61" presetID="22" presetClass="entr" presetSubtype="8" fill="hold" grpId="0" nodeType="afterEffect">
                                  <p:stCondLst>
                                    <p:cond delay="2000"/>
                                  </p:stCondLst>
                                  <p:childTnLst>
                                    <p:set>
                                      <p:cBhvr>
                                        <p:cTn id="62" dur="1" fill="hold">
                                          <p:stCondLst>
                                            <p:cond delay="0"/>
                                          </p:stCondLst>
                                        </p:cTn>
                                        <p:tgtEl>
                                          <p:spTgt spid="49">
                                            <p:txEl>
                                              <p:pRg st="2" end="2"/>
                                            </p:txEl>
                                          </p:spTgt>
                                        </p:tgtEl>
                                        <p:attrNameLst>
                                          <p:attrName>style.visibility</p:attrName>
                                        </p:attrNameLst>
                                      </p:cBhvr>
                                      <p:to>
                                        <p:strVal val="visible"/>
                                      </p:to>
                                    </p:set>
                                    <p:animEffect transition="in" filter="wipe(left)">
                                      <p:cBhvr>
                                        <p:cTn id="63" dur="500"/>
                                        <p:tgtEl>
                                          <p:spTgt spid="49">
                                            <p:txEl>
                                              <p:pRg st="2" end="2"/>
                                            </p:txEl>
                                          </p:spTgt>
                                        </p:tgtEl>
                                      </p:cBhvr>
                                    </p:animEffect>
                                  </p:childTnLst>
                                </p:cTn>
                              </p:par>
                            </p:childTnLst>
                          </p:cTn>
                        </p:par>
                        <p:par>
                          <p:cTn id="64" fill="hold">
                            <p:stCondLst>
                              <p:cond delay="25500"/>
                            </p:stCondLst>
                            <p:childTnLst>
                              <p:par>
                                <p:cTn id="65" presetID="22" presetClass="entr" presetSubtype="8" fill="hold" grpId="0" nodeType="afterEffect">
                                  <p:stCondLst>
                                    <p:cond delay="2000"/>
                                  </p:stCondLst>
                                  <p:childTnLst>
                                    <p:set>
                                      <p:cBhvr>
                                        <p:cTn id="66" dur="1" fill="hold">
                                          <p:stCondLst>
                                            <p:cond delay="0"/>
                                          </p:stCondLst>
                                        </p:cTn>
                                        <p:tgtEl>
                                          <p:spTgt spid="49">
                                            <p:txEl>
                                              <p:pRg st="3" end="3"/>
                                            </p:txEl>
                                          </p:spTgt>
                                        </p:tgtEl>
                                        <p:attrNameLst>
                                          <p:attrName>style.visibility</p:attrName>
                                        </p:attrNameLst>
                                      </p:cBhvr>
                                      <p:to>
                                        <p:strVal val="visible"/>
                                      </p:to>
                                    </p:set>
                                    <p:animEffect transition="in" filter="wipe(left)">
                                      <p:cBhvr>
                                        <p:cTn id="67" dur="500"/>
                                        <p:tgtEl>
                                          <p:spTgt spid="49">
                                            <p:txEl>
                                              <p:pRg st="3" end="3"/>
                                            </p:txEl>
                                          </p:spTgt>
                                        </p:tgtEl>
                                      </p:cBhvr>
                                    </p:animEffect>
                                  </p:childTnLst>
                                </p:cTn>
                              </p:par>
                            </p:childTnLst>
                          </p:cTn>
                        </p:par>
                        <p:par>
                          <p:cTn id="68" fill="hold">
                            <p:stCondLst>
                              <p:cond delay="28000"/>
                            </p:stCondLst>
                            <p:childTnLst>
                              <p:par>
                                <p:cTn id="69" presetID="22" presetClass="entr" presetSubtype="8" fill="hold" grpId="0" nodeType="afterEffect">
                                  <p:stCondLst>
                                    <p:cond delay="2000"/>
                                  </p:stCondLst>
                                  <p:childTnLst>
                                    <p:set>
                                      <p:cBhvr>
                                        <p:cTn id="70" dur="1" fill="hold">
                                          <p:stCondLst>
                                            <p:cond delay="0"/>
                                          </p:stCondLst>
                                        </p:cTn>
                                        <p:tgtEl>
                                          <p:spTgt spid="50">
                                            <p:txEl>
                                              <p:pRg st="0" end="0"/>
                                            </p:txEl>
                                          </p:spTgt>
                                        </p:tgtEl>
                                        <p:attrNameLst>
                                          <p:attrName>style.visibility</p:attrName>
                                        </p:attrNameLst>
                                      </p:cBhvr>
                                      <p:to>
                                        <p:strVal val="visible"/>
                                      </p:to>
                                    </p:set>
                                    <p:animEffect transition="in" filter="wipe(left)">
                                      <p:cBhvr>
                                        <p:cTn id="71" dur="500"/>
                                        <p:tgtEl>
                                          <p:spTgt spid="50">
                                            <p:txEl>
                                              <p:pRg st="0" end="0"/>
                                            </p:txEl>
                                          </p:spTgt>
                                        </p:tgtEl>
                                      </p:cBhvr>
                                    </p:animEffect>
                                  </p:childTnLst>
                                </p:cTn>
                              </p:par>
                            </p:childTnLst>
                          </p:cTn>
                        </p:par>
                        <p:par>
                          <p:cTn id="72" fill="hold">
                            <p:stCondLst>
                              <p:cond delay="30500"/>
                            </p:stCondLst>
                            <p:childTnLst>
                              <p:par>
                                <p:cTn id="73" presetID="22" presetClass="entr" presetSubtype="8" fill="hold" grpId="0" nodeType="afterEffect">
                                  <p:stCondLst>
                                    <p:cond delay="2000"/>
                                  </p:stCondLst>
                                  <p:childTnLst>
                                    <p:set>
                                      <p:cBhvr>
                                        <p:cTn id="74" dur="1" fill="hold">
                                          <p:stCondLst>
                                            <p:cond delay="0"/>
                                          </p:stCondLst>
                                        </p:cTn>
                                        <p:tgtEl>
                                          <p:spTgt spid="50">
                                            <p:txEl>
                                              <p:pRg st="1" end="1"/>
                                            </p:txEl>
                                          </p:spTgt>
                                        </p:tgtEl>
                                        <p:attrNameLst>
                                          <p:attrName>style.visibility</p:attrName>
                                        </p:attrNameLst>
                                      </p:cBhvr>
                                      <p:to>
                                        <p:strVal val="visible"/>
                                      </p:to>
                                    </p:set>
                                    <p:animEffect transition="in" filter="wipe(left)">
                                      <p:cBhvr>
                                        <p:cTn id="75" dur="500"/>
                                        <p:tgtEl>
                                          <p:spTgt spid="50">
                                            <p:txEl>
                                              <p:pRg st="1" end="1"/>
                                            </p:txEl>
                                          </p:spTgt>
                                        </p:tgtEl>
                                      </p:cBhvr>
                                    </p:animEffect>
                                  </p:childTnLst>
                                </p:cTn>
                              </p:par>
                            </p:childTnLst>
                          </p:cTn>
                        </p:par>
                        <p:par>
                          <p:cTn id="76" fill="hold">
                            <p:stCondLst>
                              <p:cond delay="33000"/>
                            </p:stCondLst>
                            <p:childTnLst>
                              <p:par>
                                <p:cTn id="77" presetID="22" presetClass="entr" presetSubtype="8" fill="hold" grpId="0" nodeType="afterEffect">
                                  <p:stCondLst>
                                    <p:cond delay="2000"/>
                                  </p:stCondLst>
                                  <p:childTnLst>
                                    <p:set>
                                      <p:cBhvr>
                                        <p:cTn id="78" dur="1" fill="hold">
                                          <p:stCondLst>
                                            <p:cond delay="0"/>
                                          </p:stCondLst>
                                        </p:cTn>
                                        <p:tgtEl>
                                          <p:spTgt spid="50">
                                            <p:txEl>
                                              <p:pRg st="2" end="2"/>
                                            </p:txEl>
                                          </p:spTgt>
                                        </p:tgtEl>
                                        <p:attrNameLst>
                                          <p:attrName>style.visibility</p:attrName>
                                        </p:attrNameLst>
                                      </p:cBhvr>
                                      <p:to>
                                        <p:strVal val="visible"/>
                                      </p:to>
                                    </p:set>
                                    <p:animEffect transition="in" filter="wipe(left)">
                                      <p:cBhvr>
                                        <p:cTn id="79" dur="500"/>
                                        <p:tgtEl>
                                          <p:spTgt spid="50">
                                            <p:txEl>
                                              <p:pRg st="2" end="2"/>
                                            </p:txEl>
                                          </p:spTgt>
                                        </p:tgtEl>
                                      </p:cBhvr>
                                    </p:animEffect>
                                  </p:childTnLst>
                                </p:cTn>
                              </p:par>
                            </p:childTnLst>
                          </p:cTn>
                        </p:par>
                        <p:par>
                          <p:cTn id="80" fill="hold">
                            <p:stCondLst>
                              <p:cond delay="35500"/>
                            </p:stCondLst>
                            <p:childTnLst>
                              <p:par>
                                <p:cTn id="81" presetID="22" presetClass="entr" presetSubtype="8" fill="hold" grpId="0" nodeType="afterEffect">
                                  <p:stCondLst>
                                    <p:cond delay="2000"/>
                                  </p:stCondLst>
                                  <p:childTnLst>
                                    <p:set>
                                      <p:cBhvr>
                                        <p:cTn id="82" dur="1" fill="hold">
                                          <p:stCondLst>
                                            <p:cond delay="0"/>
                                          </p:stCondLst>
                                        </p:cTn>
                                        <p:tgtEl>
                                          <p:spTgt spid="50">
                                            <p:txEl>
                                              <p:pRg st="3" end="3"/>
                                            </p:txEl>
                                          </p:spTgt>
                                        </p:tgtEl>
                                        <p:attrNameLst>
                                          <p:attrName>style.visibility</p:attrName>
                                        </p:attrNameLst>
                                      </p:cBhvr>
                                      <p:to>
                                        <p:strVal val="visible"/>
                                      </p:to>
                                    </p:set>
                                    <p:animEffect transition="in" filter="wipe(left)">
                                      <p:cBhvr>
                                        <p:cTn id="83" dur="500"/>
                                        <p:tgtEl>
                                          <p:spTgt spid="50">
                                            <p:txEl>
                                              <p:pRg st="3" end="3"/>
                                            </p:txEl>
                                          </p:spTgt>
                                        </p:tgtEl>
                                      </p:cBhvr>
                                    </p:animEffect>
                                  </p:childTnLst>
                                </p:cTn>
                              </p:par>
                            </p:childTnLst>
                          </p:cTn>
                        </p:par>
                        <p:par>
                          <p:cTn id="84" fill="hold">
                            <p:stCondLst>
                              <p:cond delay="38000"/>
                            </p:stCondLst>
                            <p:childTnLst>
                              <p:par>
                                <p:cTn id="85" presetID="22" presetClass="entr" presetSubtype="8" fill="hold" grpId="0" nodeType="afterEffect">
                                  <p:stCondLst>
                                    <p:cond delay="2000"/>
                                  </p:stCondLst>
                                  <p:childTnLst>
                                    <p:set>
                                      <p:cBhvr>
                                        <p:cTn id="86" dur="1" fill="hold">
                                          <p:stCondLst>
                                            <p:cond delay="0"/>
                                          </p:stCondLst>
                                        </p:cTn>
                                        <p:tgtEl>
                                          <p:spTgt spid="51">
                                            <p:txEl>
                                              <p:pRg st="0" end="0"/>
                                            </p:txEl>
                                          </p:spTgt>
                                        </p:tgtEl>
                                        <p:attrNameLst>
                                          <p:attrName>style.visibility</p:attrName>
                                        </p:attrNameLst>
                                      </p:cBhvr>
                                      <p:to>
                                        <p:strVal val="visible"/>
                                      </p:to>
                                    </p:set>
                                    <p:animEffect transition="in" filter="wipe(left)">
                                      <p:cBhvr>
                                        <p:cTn id="87" dur="500"/>
                                        <p:tgtEl>
                                          <p:spTgt spid="51">
                                            <p:txEl>
                                              <p:pRg st="0" end="0"/>
                                            </p:txEl>
                                          </p:spTgt>
                                        </p:tgtEl>
                                      </p:cBhvr>
                                    </p:animEffect>
                                  </p:childTnLst>
                                </p:cTn>
                              </p:par>
                            </p:childTnLst>
                          </p:cTn>
                        </p:par>
                        <p:par>
                          <p:cTn id="88" fill="hold">
                            <p:stCondLst>
                              <p:cond delay="40500"/>
                            </p:stCondLst>
                            <p:childTnLst>
                              <p:par>
                                <p:cTn id="89" presetID="22" presetClass="entr" presetSubtype="8" fill="hold" grpId="0" nodeType="afterEffect">
                                  <p:stCondLst>
                                    <p:cond delay="2000"/>
                                  </p:stCondLst>
                                  <p:childTnLst>
                                    <p:set>
                                      <p:cBhvr>
                                        <p:cTn id="90" dur="1" fill="hold">
                                          <p:stCondLst>
                                            <p:cond delay="0"/>
                                          </p:stCondLst>
                                        </p:cTn>
                                        <p:tgtEl>
                                          <p:spTgt spid="51">
                                            <p:txEl>
                                              <p:pRg st="1" end="1"/>
                                            </p:txEl>
                                          </p:spTgt>
                                        </p:tgtEl>
                                        <p:attrNameLst>
                                          <p:attrName>style.visibility</p:attrName>
                                        </p:attrNameLst>
                                      </p:cBhvr>
                                      <p:to>
                                        <p:strVal val="visible"/>
                                      </p:to>
                                    </p:set>
                                    <p:animEffect transition="in" filter="wipe(left)">
                                      <p:cBhvr>
                                        <p:cTn id="91" dur="500"/>
                                        <p:tgtEl>
                                          <p:spTgt spid="51">
                                            <p:txEl>
                                              <p:pRg st="1" end="1"/>
                                            </p:txEl>
                                          </p:spTgt>
                                        </p:tgtEl>
                                      </p:cBhvr>
                                    </p:animEffect>
                                  </p:childTnLst>
                                </p:cTn>
                              </p:par>
                            </p:childTnLst>
                          </p:cTn>
                        </p:par>
                        <p:par>
                          <p:cTn id="92" fill="hold">
                            <p:stCondLst>
                              <p:cond delay="43000"/>
                            </p:stCondLst>
                            <p:childTnLst>
                              <p:par>
                                <p:cTn id="93" presetID="22" presetClass="entr" presetSubtype="8" fill="hold" grpId="0" nodeType="afterEffect">
                                  <p:stCondLst>
                                    <p:cond delay="2000"/>
                                  </p:stCondLst>
                                  <p:childTnLst>
                                    <p:set>
                                      <p:cBhvr>
                                        <p:cTn id="94" dur="1" fill="hold">
                                          <p:stCondLst>
                                            <p:cond delay="0"/>
                                          </p:stCondLst>
                                        </p:cTn>
                                        <p:tgtEl>
                                          <p:spTgt spid="51">
                                            <p:txEl>
                                              <p:pRg st="2" end="2"/>
                                            </p:txEl>
                                          </p:spTgt>
                                        </p:tgtEl>
                                        <p:attrNameLst>
                                          <p:attrName>style.visibility</p:attrName>
                                        </p:attrNameLst>
                                      </p:cBhvr>
                                      <p:to>
                                        <p:strVal val="visible"/>
                                      </p:to>
                                    </p:set>
                                    <p:animEffect transition="in" filter="wipe(left)">
                                      <p:cBhvr>
                                        <p:cTn id="95" dur="500"/>
                                        <p:tgtEl>
                                          <p:spTgt spid="51">
                                            <p:txEl>
                                              <p:pRg st="2" end="2"/>
                                            </p:txEl>
                                          </p:spTgt>
                                        </p:tgtEl>
                                      </p:cBhvr>
                                    </p:animEffect>
                                  </p:childTnLst>
                                </p:cTn>
                              </p:par>
                            </p:childTnLst>
                          </p:cTn>
                        </p:par>
                        <p:par>
                          <p:cTn id="96" fill="hold">
                            <p:stCondLst>
                              <p:cond delay="45500"/>
                            </p:stCondLst>
                            <p:childTnLst>
                              <p:par>
                                <p:cTn id="97" presetID="22" presetClass="entr" presetSubtype="8" fill="hold" grpId="0" nodeType="afterEffect">
                                  <p:stCondLst>
                                    <p:cond delay="2000"/>
                                  </p:stCondLst>
                                  <p:childTnLst>
                                    <p:set>
                                      <p:cBhvr>
                                        <p:cTn id="98" dur="1" fill="hold">
                                          <p:stCondLst>
                                            <p:cond delay="0"/>
                                          </p:stCondLst>
                                        </p:cTn>
                                        <p:tgtEl>
                                          <p:spTgt spid="51">
                                            <p:txEl>
                                              <p:pRg st="3" end="3"/>
                                            </p:txEl>
                                          </p:spTgt>
                                        </p:tgtEl>
                                        <p:attrNameLst>
                                          <p:attrName>style.visibility</p:attrName>
                                        </p:attrNameLst>
                                      </p:cBhvr>
                                      <p:to>
                                        <p:strVal val="visible"/>
                                      </p:to>
                                    </p:set>
                                    <p:animEffect transition="in" filter="wipe(left)">
                                      <p:cBhvr>
                                        <p:cTn id="99" dur="500"/>
                                        <p:tgtEl>
                                          <p:spTgt spid="51">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build="p" autoUpdateAnimBg="0" advAuto="2000"/>
      <p:bldP spid="49" grpId="0" build="p" autoUpdateAnimBg="0" advAuto="2000"/>
      <p:bldP spid="50" grpId="0" build="p" autoUpdateAnimBg="0" advAuto="2000"/>
      <p:bldP spid="51" grpId="0" build="p" autoUpdateAnimBg="0" advAuto="2000"/>
      <p:bldP spid="53" grpId="0" animBg="1"/>
      <p:bldP spid="53" grpId="1" animBg="1"/>
      <p:bldP spid="53" grpId="2" animBg="1"/>
      <p:bldP spid="54" grpId="0" animBg="1"/>
      <p:bldP spid="54" grpId="1" animBg="1"/>
      <p:bldP spid="54" grpId="2" animBg="1"/>
      <p:bldP spid="4" grpId="0"/>
    </p:bldLst>
  </p:timing>
</p:sld>
</file>

<file path=ppt/slides/slide2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p:nvPicPr>
        <p:blipFill>
          <a:blip r:embed="rId4"/>
          <a:stretch>
            <a:fillRect/>
          </a:stretch>
        </p:blipFill>
        <p:spPr>
          <a:xfrm>
            <a:off x="5342853" y="357695"/>
            <a:ext cx="3646269" cy="1612773"/>
          </a:xfrm>
          <a:prstGeom prst="rect">
            <a:avLst/>
          </a:prstGeom>
        </p:spPr>
      </p:pic>
      <p:sp>
        <p:nvSpPr>
          <p:cNvPr id="6" name="Rectangle 5"/>
          <p:cNvSpPr/>
          <p:nvPr/>
        </p:nvSpPr>
        <p:spPr>
          <a:xfrm>
            <a:off x="200830" y="4299786"/>
            <a:ext cx="8734164" cy="2492990"/>
          </a:xfrm>
          <a:prstGeom prst="rect">
            <a:avLst/>
          </a:prstGeom>
        </p:spPr>
        <p:txBody>
          <a:bodyPr wrap="square">
            <a:spAutoFit/>
          </a:bodyPr>
          <a:lstStyle/>
          <a:p>
            <a:pPr marL="0" marR="0" lvl="0" indent="0" algn="l" defTabSz="914400" rtl="0" eaLnBrk="1" fontAlgn="base" latinLnBrk="0" hangingPunct="1">
              <a:lnSpc>
                <a:spcPts val="24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itchFamily="34" charset="0"/>
                <a:ea typeface="Times New Roman" panose="02020603050405020304" pitchFamily="18" charset="0"/>
                <a:cs typeface="Angsana New" pitchFamily="18" charset="-34"/>
              </a:rPr>
              <a:t>What will Singapore be like 40 years from now?  I can’t tell you. Nobody can.  </a:t>
            </a:r>
            <a:endParaRPr kumimoji="0" lang="en-GB" sz="1600" b="0" i="0" u="none" strike="noStrike" kern="1200" cap="none" spc="0" normalizeH="0" baseline="0" noProof="0" dirty="0" smtClean="0">
              <a:ln>
                <a:noFill/>
              </a:ln>
              <a:solidFill>
                <a:srgbClr val="000000"/>
              </a:solidFill>
              <a:effectLst/>
              <a:uLnTx/>
              <a:uFillTx/>
              <a:latin typeface="Arial" pitchFamily="34" charset="0"/>
              <a:ea typeface="Times New Roman" panose="02020603050405020304" pitchFamily="18" charset="0"/>
              <a:cs typeface="Angsana New" pitchFamily="18" charset="-34"/>
            </a:endParaRPr>
          </a:p>
          <a:p>
            <a:pPr marL="0" marR="0" lvl="0" indent="0" algn="l" defTabSz="914400" rtl="0" eaLnBrk="1" fontAlgn="base" latinLnBrk="0" hangingPunct="1">
              <a:lnSpc>
                <a:spcPts val="2400"/>
              </a:lnSpc>
              <a:spcBef>
                <a:spcPct val="0"/>
              </a:spcBef>
              <a:spcAft>
                <a:spcPct val="0"/>
              </a:spcAft>
              <a:buClrTx/>
              <a:buSzTx/>
              <a:buFontTx/>
              <a:buNone/>
              <a:tabLst/>
              <a:defRPr/>
            </a:pPr>
            <a:r>
              <a:rPr kumimoji="0" lang="en-GB" sz="1600" b="0" i="0" u="none" strike="noStrike" kern="1200" cap="none" spc="0" normalizeH="0" baseline="0" noProof="0" dirty="0" smtClean="0">
                <a:ln>
                  <a:noFill/>
                </a:ln>
                <a:solidFill>
                  <a:srgbClr val="000000"/>
                </a:solidFill>
                <a:effectLst/>
                <a:uLnTx/>
                <a:uFillTx/>
                <a:latin typeface="Arial" pitchFamily="34" charset="0"/>
                <a:ea typeface="Times New Roman" panose="02020603050405020304" pitchFamily="18" charset="0"/>
                <a:cs typeface="Angsana New" pitchFamily="18" charset="-34"/>
              </a:rPr>
              <a:t>But </a:t>
            </a:r>
            <a:r>
              <a:rPr kumimoji="0" lang="en-GB" sz="1600" b="0" i="0" u="none" strike="noStrike" kern="1200" cap="none" spc="0" normalizeH="0" baseline="0" noProof="0" dirty="0">
                <a:ln>
                  <a:noFill/>
                </a:ln>
                <a:solidFill>
                  <a:srgbClr val="000000"/>
                </a:solidFill>
                <a:effectLst/>
                <a:uLnTx/>
                <a:uFillTx/>
                <a:latin typeface="Arial" pitchFamily="34" charset="0"/>
                <a:ea typeface="Times New Roman" panose="02020603050405020304" pitchFamily="18" charset="0"/>
                <a:cs typeface="Angsana New" pitchFamily="18" charset="-34"/>
              </a:rPr>
              <a:t>I can tell you it must be a totally different Singapore </a:t>
            </a:r>
            <a:endParaRPr kumimoji="0" lang="en-GB" sz="1600" b="0" i="0" u="none" strike="noStrike" kern="1200" cap="none" spc="0" normalizeH="0" baseline="0" noProof="0" dirty="0" smtClean="0">
              <a:ln>
                <a:noFill/>
              </a:ln>
              <a:solidFill>
                <a:srgbClr val="000000"/>
              </a:solidFill>
              <a:effectLst/>
              <a:uLnTx/>
              <a:uFillTx/>
              <a:latin typeface="Arial" pitchFamily="34" charset="0"/>
              <a:ea typeface="Times New Roman" panose="02020603050405020304" pitchFamily="18" charset="0"/>
              <a:cs typeface="Angsana New" pitchFamily="18" charset="-34"/>
            </a:endParaRPr>
          </a:p>
          <a:p>
            <a:pPr marL="0" marR="0" lvl="0" indent="0" algn="l" defTabSz="914400" rtl="0" eaLnBrk="1" fontAlgn="base" latinLnBrk="0" hangingPunct="1">
              <a:lnSpc>
                <a:spcPts val="2400"/>
              </a:lnSpc>
              <a:spcBef>
                <a:spcPct val="0"/>
              </a:spcBef>
              <a:spcAft>
                <a:spcPct val="0"/>
              </a:spcAft>
              <a:buClrTx/>
              <a:buSzTx/>
              <a:buFontTx/>
              <a:buNone/>
              <a:tabLst/>
              <a:defRPr/>
            </a:pPr>
            <a:r>
              <a:rPr kumimoji="0" lang="en-GB" sz="1600" b="1" i="0" u="none" strike="noStrike" kern="1200" cap="none" spc="0" normalizeH="0" baseline="0" noProof="0" dirty="0" smtClean="0">
                <a:ln>
                  <a:noFill/>
                </a:ln>
                <a:solidFill>
                  <a:srgbClr val="0070C0"/>
                </a:solidFill>
                <a:effectLst/>
                <a:uLnTx/>
                <a:uFillTx/>
                <a:latin typeface="Arial" pitchFamily="34" charset="0"/>
                <a:ea typeface="Times New Roman" panose="02020603050405020304" pitchFamily="18" charset="0"/>
                <a:cs typeface="Angsana New" pitchFamily="18" charset="-34"/>
              </a:rPr>
              <a:t>because </a:t>
            </a:r>
            <a:r>
              <a:rPr kumimoji="0" lang="en-GB" sz="1600" b="1" i="0" u="none" strike="noStrike" kern="1200" cap="none" spc="0" normalizeH="0" baseline="0" noProof="0" dirty="0">
                <a:ln>
                  <a:noFill/>
                </a:ln>
                <a:solidFill>
                  <a:srgbClr val="0070C0"/>
                </a:solidFill>
                <a:effectLst/>
                <a:uLnTx/>
                <a:uFillTx/>
                <a:latin typeface="Arial" pitchFamily="34" charset="0"/>
                <a:ea typeface="Times New Roman" panose="02020603050405020304" pitchFamily="18" charset="0"/>
                <a:cs typeface="Angsana New" pitchFamily="18" charset="-34"/>
              </a:rPr>
              <a:t>if it is the same Singapore as it is today, we’re dead.</a:t>
            </a:r>
            <a:r>
              <a:rPr kumimoji="0" lang="en-GB" sz="1600" b="1" i="0" u="none" strike="noStrike" kern="1200" cap="none" spc="0" normalizeH="0" baseline="0" noProof="0" dirty="0">
                <a:ln>
                  <a:noFill/>
                </a:ln>
                <a:solidFill>
                  <a:srgbClr val="000000"/>
                </a:solidFill>
                <a:effectLst/>
                <a:uLnTx/>
                <a:uFillTx/>
                <a:latin typeface="Arial" pitchFamily="34" charset="0"/>
                <a:ea typeface="Times New Roman" panose="02020603050405020304" pitchFamily="18" charset="0"/>
                <a:cs typeface="Angsana New" pitchFamily="18" charset="-34"/>
              </a:rPr>
              <a:t>  </a:t>
            </a:r>
            <a:endParaRPr kumimoji="0" lang="en-GB" sz="1600" b="1" i="0" u="none" strike="noStrike" kern="1200" cap="none" spc="0" normalizeH="0" baseline="0" noProof="0" dirty="0" smtClean="0">
              <a:ln>
                <a:noFill/>
              </a:ln>
              <a:solidFill>
                <a:srgbClr val="000000"/>
              </a:solidFill>
              <a:effectLst/>
              <a:uLnTx/>
              <a:uFillTx/>
              <a:latin typeface="Arial" pitchFamily="34" charset="0"/>
              <a:ea typeface="Times New Roman" panose="02020603050405020304" pitchFamily="18" charset="0"/>
              <a:cs typeface="Angsana New" pitchFamily="18" charset="-34"/>
            </a:endParaRPr>
          </a:p>
          <a:p>
            <a:pPr marL="0" marR="0" lvl="0" indent="0" algn="l" defTabSz="914400" rtl="0" eaLnBrk="1" fontAlgn="base" latinLnBrk="0" hangingPunct="1">
              <a:lnSpc>
                <a:spcPts val="2400"/>
              </a:lnSpc>
              <a:spcBef>
                <a:spcPct val="0"/>
              </a:spcBef>
              <a:spcAft>
                <a:spcPct val="0"/>
              </a:spcAft>
              <a:buClrTx/>
              <a:buSzTx/>
              <a:buFontTx/>
              <a:buNone/>
              <a:tabLst/>
              <a:defRPr/>
            </a:pPr>
            <a:r>
              <a:rPr kumimoji="0" lang="en-GB" sz="1600" b="0" i="0" u="none" strike="noStrike" kern="1200" cap="none" spc="0" normalizeH="0" baseline="0" noProof="0" dirty="0" smtClean="0">
                <a:ln>
                  <a:noFill/>
                </a:ln>
                <a:solidFill>
                  <a:srgbClr val="000000"/>
                </a:solidFill>
                <a:effectLst/>
                <a:uLnTx/>
                <a:uFillTx/>
                <a:latin typeface="Arial" pitchFamily="34" charset="0"/>
                <a:ea typeface="Times New Roman" panose="02020603050405020304" pitchFamily="18" charset="0"/>
                <a:cs typeface="Angsana New" pitchFamily="18" charset="-34"/>
              </a:rPr>
              <a:t>We </a:t>
            </a:r>
            <a:r>
              <a:rPr kumimoji="0" lang="en-GB" sz="1600" b="0" i="0" u="none" strike="noStrike" kern="1200" cap="none" spc="0" normalizeH="0" baseline="0" noProof="0" dirty="0">
                <a:ln>
                  <a:noFill/>
                </a:ln>
                <a:solidFill>
                  <a:srgbClr val="000000"/>
                </a:solidFill>
                <a:effectLst/>
                <a:uLnTx/>
                <a:uFillTx/>
                <a:latin typeface="Arial" pitchFamily="34" charset="0"/>
                <a:ea typeface="Times New Roman" panose="02020603050405020304" pitchFamily="18" charset="0"/>
                <a:cs typeface="Angsana New" pitchFamily="18" charset="-34"/>
              </a:rPr>
              <a:t>will be irrelevant, marginalised, the world will be different. </a:t>
            </a:r>
            <a:endParaRPr kumimoji="0" lang="en-GB" sz="1600" b="0" i="0" u="none" strike="noStrike" kern="1200" cap="none" spc="0" normalizeH="0" baseline="0" noProof="0" dirty="0" smtClean="0">
              <a:ln>
                <a:noFill/>
              </a:ln>
              <a:solidFill>
                <a:srgbClr val="000000"/>
              </a:solidFill>
              <a:effectLst/>
              <a:uLnTx/>
              <a:uFillTx/>
              <a:latin typeface="Arial" pitchFamily="34" charset="0"/>
              <a:ea typeface="Times New Roman" panose="02020603050405020304" pitchFamily="18" charset="0"/>
              <a:cs typeface="Angsana New" pitchFamily="18" charset="-34"/>
            </a:endParaRPr>
          </a:p>
          <a:p>
            <a:pPr marL="0" marR="0" lvl="0" indent="0" algn="l" defTabSz="914400" rtl="0" eaLnBrk="1" fontAlgn="base" latinLnBrk="0" hangingPunct="1">
              <a:lnSpc>
                <a:spcPts val="2400"/>
              </a:lnSpc>
              <a:spcBef>
                <a:spcPct val="0"/>
              </a:spcBef>
              <a:spcAft>
                <a:spcPct val="0"/>
              </a:spcAft>
              <a:buClrTx/>
              <a:buSzTx/>
              <a:buFontTx/>
              <a:buNone/>
              <a:tabLst/>
              <a:defRPr/>
            </a:pPr>
            <a:r>
              <a:rPr kumimoji="0" lang="en-GB" sz="1600" b="1" i="0" u="none" strike="noStrike" kern="1200" cap="none" spc="0" normalizeH="0" baseline="0" noProof="0" dirty="0" smtClean="0">
                <a:ln>
                  <a:noFill/>
                </a:ln>
                <a:solidFill>
                  <a:srgbClr val="0070C0"/>
                </a:solidFill>
                <a:effectLst/>
                <a:uLnTx/>
                <a:uFillTx/>
                <a:latin typeface="Arial" pitchFamily="34" charset="0"/>
                <a:ea typeface="Times New Roman" panose="02020603050405020304" pitchFamily="18" charset="0"/>
                <a:cs typeface="Angsana New" pitchFamily="18" charset="-34"/>
              </a:rPr>
              <a:t>You </a:t>
            </a:r>
            <a:r>
              <a:rPr kumimoji="0" lang="en-GB" sz="1600" b="1" i="0" u="none" strike="noStrike" kern="1200" cap="none" spc="0" normalizeH="0" baseline="0" noProof="0" dirty="0">
                <a:ln>
                  <a:noFill/>
                </a:ln>
                <a:solidFill>
                  <a:srgbClr val="0070C0"/>
                </a:solidFill>
                <a:effectLst/>
                <a:uLnTx/>
                <a:uFillTx/>
                <a:latin typeface="Arial" pitchFamily="34" charset="0"/>
                <a:ea typeface="Times New Roman" panose="02020603050405020304" pitchFamily="18" charset="0"/>
                <a:cs typeface="Angsana New" pitchFamily="18" charset="-34"/>
              </a:rPr>
              <a:t>may want to be the same, but you can’t be the same.  </a:t>
            </a:r>
            <a:endParaRPr kumimoji="0" lang="en-GB" sz="1600" b="1" i="0" u="none" strike="noStrike" kern="1200" cap="none" spc="0" normalizeH="0" baseline="0" noProof="0" dirty="0" smtClean="0">
              <a:ln>
                <a:noFill/>
              </a:ln>
              <a:solidFill>
                <a:srgbClr val="0070C0"/>
              </a:solidFill>
              <a:effectLst/>
              <a:uLnTx/>
              <a:uFillTx/>
              <a:latin typeface="Arial" pitchFamily="34" charset="0"/>
              <a:ea typeface="Times New Roman" panose="02020603050405020304" pitchFamily="18" charset="0"/>
              <a:cs typeface="Angsana New" pitchFamily="18" charset="-34"/>
            </a:endParaRPr>
          </a:p>
          <a:p>
            <a:pPr marL="0" marR="0" lvl="0" indent="0" algn="l" defTabSz="914400" rtl="0" eaLnBrk="1" fontAlgn="base" latinLnBrk="0" hangingPunct="1">
              <a:lnSpc>
                <a:spcPts val="2400"/>
              </a:lnSpc>
              <a:spcBef>
                <a:spcPct val="0"/>
              </a:spcBef>
              <a:spcAft>
                <a:spcPct val="0"/>
              </a:spcAft>
              <a:buClrTx/>
              <a:buSzTx/>
              <a:buFontTx/>
              <a:buNone/>
              <a:tabLst/>
              <a:defRPr/>
            </a:pPr>
            <a:r>
              <a:rPr kumimoji="0" lang="en-GB" sz="1600" b="0" i="0" u="none" strike="noStrike" kern="1200" cap="none" spc="0" normalizeH="0" baseline="0" noProof="0" dirty="0" smtClean="0">
                <a:ln>
                  <a:noFill/>
                </a:ln>
                <a:solidFill>
                  <a:srgbClr val="000000"/>
                </a:solidFill>
                <a:effectLst/>
                <a:uLnTx/>
                <a:uFillTx/>
                <a:latin typeface="Arial" pitchFamily="34" charset="0"/>
                <a:ea typeface="Times New Roman" panose="02020603050405020304" pitchFamily="18" charset="0"/>
                <a:cs typeface="Angsana New" pitchFamily="18" charset="-34"/>
              </a:rPr>
              <a:t>Therefore</a:t>
            </a:r>
            <a:r>
              <a:rPr kumimoji="0" lang="en-GB" sz="1600" b="0" i="0" u="none" strike="noStrike" kern="1200" cap="none" spc="0" normalizeH="0" baseline="0" noProof="0" dirty="0">
                <a:ln>
                  <a:noFill/>
                </a:ln>
                <a:solidFill>
                  <a:srgbClr val="000000"/>
                </a:solidFill>
                <a:effectLst/>
                <a:uLnTx/>
                <a:uFillTx/>
                <a:latin typeface="Arial" pitchFamily="34" charset="0"/>
                <a:ea typeface="Times New Roman" panose="02020603050405020304" pitchFamily="18" charset="0"/>
                <a:cs typeface="Angsana New" pitchFamily="18" charset="-34"/>
              </a:rPr>
              <a:t>, we have to </a:t>
            </a:r>
            <a:r>
              <a:rPr kumimoji="0" lang="en-GB" sz="1600" b="1" i="0" u="none" strike="noStrike" kern="1200" cap="none" spc="0" normalizeH="0" baseline="0" noProof="0" dirty="0">
                <a:ln>
                  <a:noFill/>
                </a:ln>
                <a:solidFill>
                  <a:srgbClr val="0070C0"/>
                </a:solidFill>
                <a:effectLst/>
                <a:uLnTx/>
                <a:uFillTx/>
                <a:latin typeface="Arial" pitchFamily="34" charset="0"/>
                <a:ea typeface="Times New Roman" panose="02020603050405020304" pitchFamily="18" charset="0"/>
                <a:cs typeface="Angsana New" pitchFamily="18" charset="-34"/>
              </a:rPr>
              <a:t>remake</a:t>
            </a:r>
            <a:r>
              <a:rPr kumimoji="0" lang="en-GB" sz="1600" b="0" i="0" u="none" strike="noStrike" kern="1200" cap="none" spc="0" normalizeH="0" baseline="0" noProof="0" dirty="0">
                <a:ln>
                  <a:noFill/>
                </a:ln>
                <a:solidFill>
                  <a:srgbClr val="000000"/>
                </a:solidFill>
                <a:effectLst/>
                <a:uLnTx/>
                <a:uFillTx/>
                <a:latin typeface="Arial" pitchFamily="34" charset="0"/>
                <a:ea typeface="Times New Roman" panose="02020603050405020304" pitchFamily="18" charset="0"/>
                <a:cs typeface="Angsana New" pitchFamily="18" charset="-34"/>
              </a:rPr>
              <a:t> Singapore -- our economy, our education system, our </a:t>
            </a:r>
            <a:r>
              <a:rPr kumimoji="0" lang="en-GB" sz="1600" b="0" i="0" u="none" strike="noStrike" kern="1200" cap="none" spc="0" normalizeH="0" baseline="0" noProof="0" dirty="0" err="1">
                <a:ln>
                  <a:noFill/>
                </a:ln>
                <a:solidFill>
                  <a:srgbClr val="000000"/>
                </a:solidFill>
                <a:effectLst/>
                <a:uLnTx/>
                <a:uFillTx/>
                <a:latin typeface="Arial" pitchFamily="34" charset="0"/>
                <a:ea typeface="Times New Roman" panose="02020603050405020304" pitchFamily="18" charset="0"/>
                <a:cs typeface="Angsana New" pitchFamily="18" charset="-34"/>
              </a:rPr>
              <a:t>mindsets</a:t>
            </a:r>
            <a:r>
              <a:rPr kumimoji="0" lang="en-GB" sz="1600" b="0" i="0" u="none" strike="noStrike" kern="1200" cap="none" spc="0" normalizeH="0" baseline="0" noProof="0" dirty="0">
                <a:ln>
                  <a:noFill/>
                </a:ln>
                <a:solidFill>
                  <a:srgbClr val="000000"/>
                </a:solidFill>
                <a:effectLst/>
                <a:uLnTx/>
                <a:uFillTx/>
                <a:latin typeface="Arial" pitchFamily="34" charset="0"/>
                <a:ea typeface="Times New Roman" panose="02020603050405020304" pitchFamily="18" charset="0"/>
                <a:cs typeface="Angsana New" pitchFamily="18" charset="-34"/>
              </a:rPr>
              <a:t>, our city.</a:t>
            </a:r>
            <a:r>
              <a:rPr kumimoji="0" lang="en-GB" sz="1600" b="1" i="0" u="none" strike="noStrike" kern="1200" cap="none" spc="0" normalizeH="0" baseline="0" noProof="0" dirty="0">
                <a:ln>
                  <a:noFill/>
                </a:ln>
                <a:solidFill>
                  <a:srgbClr val="0070C0"/>
                </a:solidFill>
                <a:effectLst/>
                <a:uLnTx/>
                <a:uFillTx/>
                <a:latin typeface="Arial" pitchFamily="34" charset="0"/>
                <a:ea typeface="Times New Roman" panose="02020603050405020304" pitchFamily="18" charset="0"/>
                <a:cs typeface="Angsana New" pitchFamily="18" charset="-34"/>
              </a:rPr>
              <a:t> Innovation, enterprise and R&amp;D, these are the ways to remake the economy.</a:t>
            </a:r>
            <a:endParaRPr kumimoji="0" lang="th-TH" sz="1600" b="1" i="0" u="none" strike="noStrike" kern="1200" cap="none" spc="0" normalizeH="0" baseline="0" noProof="0" dirty="0">
              <a:ln>
                <a:noFill/>
              </a:ln>
              <a:solidFill>
                <a:srgbClr val="0070C0"/>
              </a:solidFill>
              <a:effectLst/>
              <a:uLnTx/>
              <a:uFillTx/>
              <a:latin typeface="Arial" pitchFamily="34" charset="0"/>
              <a:ea typeface="Times New Roman" panose="02020603050405020304" pitchFamily="18" charset="0"/>
              <a:cs typeface="Angsana New" pitchFamily="18" charset="-34"/>
            </a:endParaRP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itchFamily="34" charset="0"/>
                <a:ea typeface="Times New Roman" panose="02020603050405020304" pitchFamily="18" charset="0"/>
                <a:cs typeface="Angsana New" pitchFamily="18" charset="-34"/>
              </a:rPr>
              <a:t>(Lee </a:t>
            </a:r>
            <a:r>
              <a:rPr kumimoji="0" lang="en-US" sz="1600" b="0" i="0" u="none" strike="noStrike" kern="1200" cap="none" spc="0" normalizeH="0" baseline="0" noProof="0" dirty="0" err="1">
                <a:ln>
                  <a:noFill/>
                </a:ln>
                <a:solidFill>
                  <a:srgbClr val="000000"/>
                </a:solidFill>
                <a:effectLst/>
                <a:uLnTx/>
                <a:uFillTx/>
                <a:latin typeface="Arial" pitchFamily="34" charset="0"/>
                <a:ea typeface="Times New Roman" panose="02020603050405020304" pitchFamily="18" charset="0"/>
                <a:cs typeface="Angsana New" pitchFamily="18" charset="-34"/>
              </a:rPr>
              <a:t>Hsien</a:t>
            </a:r>
            <a:r>
              <a:rPr kumimoji="0" lang="en-US" sz="1600" b="0" i="0" u="none" strike="noStrike" kern="1200" cap="none" spc="0" normalizeH="0" baseline="0" noProof="0" dirty="0">
                <a:ln>
                  <a:noFill/>
                </a:ln>
                <a:solidFill>
                  <a:srgbClr val="000000"/>
                </a:solidFill>
                <a:effectLst/>
                <a:uLnTx/>
                <a:uFillTx/>
                <a:latin typeface="Arial" pitchFamily="34" charset="0"/>
                <a:ea typeface="Times New Roman" panose="02020603050405020304" pitchFamily="18" charset="0"/>
                <a:cs typeface="Angsana New" pitchFamily="18" charset="-34"/>
              </a:rPr>
              <a:t> </a:t>
            </a:r>
            <a:r>
              <a:rPr kumimoji="0" lang="en-US" sz="1600" b="0" i="0" u="none" strike="noStrike" kern="1200" cap="none" spc="0" normalizeH="0" baseline="0" noProof="0" dirty="0" err="1">
                <a:ln>
                  <a:noFill/>
                </a:ln>
                <a:solidFill>
                  <a:srgbClr val="000000"/>
                </a:solidFill>
                <a:effectLst/>
                <a:uLnTx/>
                <a:uFillTx/>
                <a:latin typeface="Arial" pitchFamily="34" charset="0"/>
                <a:ea typeface="Times New Roman" panose="02020603050405020304" pitchFamily="18" charset="0"/>
                <a:cs typeface="Angsana New" pitchFamily="18" charset="-34"/>
              </a:rPr>
              <a:t>Loong</a:t>
            </a:r>
            <a:r>
              <a:rPr kumimoji="0" lang="en-US" sz="1600" b="0" i="0" u="none" strike="noStrike" kern="1200" cap="none" spc="0" normalizeH="0" baseline="0" noProof="0" dirty="0">
                <a:ln>
                  <a:noFill/>
                </a:ln>
                <a:solidFill>
                  <a:srgbClr val="000000"/>
                </a:solidFill>
                <a:effectLst/>
                <a:uLnTx/>
                <a:uFillTx/>
                <a:latin typeface="Arial" pitchFamily="34" charset="0"/>
                <a:ea typeface="Times New Roman" panose="02020603050405020304" pitchFamily="18" charset="0"/>
                <a:cs typeface="Angsana New" pitchFamily="18" charset="-34"/>
              </a:rPr>
              <a:t>, 21 </a:t>
            </a:r>
            <a:r>
              <a:rPr kumimoji="0" lang="en-US" sz="1600" b="0" i="0" u="none" strike="noStrike" kern="1200" cap="none" spc="0" normalizeH="0" baseline="0" noProof="0" dirty="0" smtClean="0">
                <a:ln>
                  <a:noFill/>
                </a:ln>
                <a:solidFill>
                  <a:srgbClr val="000000"/>
                </a:solidFill>
                <a:effectLst/>
                <a:uLnTx/>
                <a:uFillTx/>
                <a:latin typeface="Arial" pitchFamily="34" charset="0"/>
                <a:ea typeface="Times New Roman" panose="02020603050405020304" pitchFamily="18" charset="0"/>
                <a:cs typeface="Angsana New" pitchFamily="18" charset="-34"/>
              </a:rPr>
              <a:t>August 2005)</a:t>
            </a:r>
            <a:endParaRPr kumimoji="0" lang="th-TH" sz="1600" b="0" i="0" u="none" strike="noStrike" kern="1200" cap="none" spc="0" normalizeH="0" baseline="0" noProof="0" dirty="0">
              <a:ln>
                <a:noFill/>
              </a:ln>
              <a:solidFill>
                <a:srgbClr val="000000"/>
              </a:solidFill>
              <a:effectLst/>
              <a:uLnTx/>
              <a:uFillTx/>
              <a:latin typeface="Arial" pitchFamily="34" charset="0"/>
              <a:ea typeface="Times New Roman" panose="02020603050405020304" pitchFamily="18" charset="0"/>
              <a:cs typeface="Angsana New" pitchFamily="18" charset="-34"/>
            </a:endParaRPr>
          </a:p>
        </p:txBody>
      </p:sp>
      <p:sp>
        <p:nvSpPr>
          <p:cNvPr id="7" name="Rectangle 6"/>
          <p:cNvSpPr/>
          <p:nvPr/>
        </p:nvSpPr>
        <p:spPr>
          <a:xfrm>
            <a:off x="5267457" y="2940907"/>
            <a:ext cx="3768913" cy="1384995"/>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70C0"/>
                </a:solidFill>
                <a:effectLst/>
                <a:uLnTx/>
                <a:uFillTx/>
                <a:latin typeface="Arial" pitchFamily="34" charset="0"/>
                <a:ea typeface="+mn-ea"/>
                <a:cs typeface="Angsana New" pitchFamily="18" charset="-34"/>
              </a:rPr>
              <a:t>PRIME MINISTER </a:t>
            </a:r>
            <a:endParaRPr kumimoji="0" lang="en-US" sz="1400" b="1" i="0" u="none" strike="noStrike" kern="1200" cap="none" spc="0" normalizeH="0" baseline="0" noProof="0" dirty="0" smtClean="0">
              <a:ln>
                <a:noFill/>
              </a:ln>
              <a:solidFill>
                <a:srgbClr val="0070C0"/>
              </a:solidFill>
              <a:effectLst/>
              <a:uLnTx/>
              <a:uFillTx/>
              <a:latin typeface="Arial" pitchFamily="34" charset="0"/>
              <a:ea typeface="+mn-ea"/>
              <a:cs typeface="Angsana New" pitchFamily="18" charset="-34"/>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srgbClr val="0070C0"/>
                </a:solidFill>
                <a:effectLst/>
                <a:uLnTx/>
                <a:uFillTx/>
                <a:latin typeface="Arial" pitchFamily="34" charset="0"/>
                <a:ea typeface="+mn-ea"/>
                <a:cs typeface="Angsana New" pitchFamily="18" charset="-34"/>
              </a:rPr>
              <a:t>LEE </a:t>
            </a:r>
            <a:r>
              <a:rPr kumimoji="0" lang="en-US" sz="1400" b="1" i="0" u="none" strike="noStrike" kern="1200" cap="none" spc="0" normalizeH="0" baseline="0" noProof="0" dirty="0">
                <a:ln>
                  <a:noFill/>
                </a:ln>
                <a:solidFill>
                  <a:srgbClr val="0070C0"/>
                </a:solidFill>
                <a:effectLst/>
                <a:uLnTx/>
                <a:uFillTx/>
                <a:latin typeface="Arial" pitchFamily="34" charset="0"/>
                <a:ea typeface="+mn-ea"/>
                <a:cs typeface="Angsana New" pitchFamily="18" charset="-34"/>
              </a:rPr>
              <a:t>HSIEN LOONG'S </a:t>
            </a:r>
            <a:endParaRPr kumimoji="0" lang="en-US" sz="1400" b="1" i="0" u="none" strike="noStrike" kern="1200" cap="none" spc="0" normalizeH="0" baseline="0" noProof="0" dirty="0" smtClean="0">
              <a:ln>
                <a:noFill/>
              </a:ln>
              <a:solidFill>
                <a:srgbClr val="0070C0"/>
              </a:solidFill>
              <a:effectLst/>
              <a:uLnTx/>
              <a:uFillTx/>
              <a:latin typeface="Arial" pitchFamily="34" charset="0"/>
              <a:ea typeface="+mn-ea"/>
              <a:cs typeface="Angsana New" pitchFamily="18" charset="-34"/>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srgbClr val="0070C0"/>
                </a:solidFill>
                <a:effectLst/>
                <a:uLnTx/>
                <a:uFillTx/>
                <a:latin typeface="Arial" pitchFamily="34" charset="0"/>
                <a:ea typeface="+mn-ea"/>
                <a:cs typeface="Angsana New" pitchFamily="18" charset="-34"/>
              </a:rPr>
              <a:t>SPEECH</a:t>
            </a:r>
            <a:r>
              <a:rPr kumimoji="0" lang="en-US" sz="1400" b="1" i="0" u="none" strike="noStrike" kern="1200" cap="none" spc="0" normalizeH="0" baseline="0" noProof="0" dirty="0">
                <a:ln>
                  <a:noFill/>
                </a:ln>
                <a:solidFill>
                  <a:srgbClr val="0070C0"/>
                </a:solidFill>
                <a:effectLst/>
                <a:uLnTx/>
                <a:uFillTx/>
                <a:latin typeface="Arial" pitchFamily="34" charset="0"/>
                <a:ea typeface="+mn-ea"/>
                <a:cs typeface="Angsana New" pitchFamily="18" charset="-34"/>
              </a:rPr>
              <a:t> AT NATIONAL DAY RALLY 2005 </a:t>
            </a:r>
            <a:endParaRPr kumimoji="0" lang="en-US" sz="1400" b="1" i="0" u="none" strike="noStrike" kern="1200" cap="none" spc="0" normalizeH="0" baseline="0" noProof="0" dirty="0" smtClean="0">
              <a:ln>
                <a:noFill/>
              </a:ln>
              <a:solidFill>
                <a:srgbClr val="0070C0"/>
              </a:solidFill>
              <a:effectLst/>
              <a:uLnTx/>
              <a:uFillTx/>
              <a:latin typeface="Arial" pitchFamily="34" charset="0"/>
              <a:ea typeface="+mn-ea"/>
              <a:cs typeface="Angsana New" pitchFamily="18" charset="-34"/>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srgbClr val="0070C0"/>
                </a:solidFill>
                <a:effectLst/>
                <a:uLnTx/>
                <a:uFillTx/>
                <a:latin typeface="Arial" pitchFamily="34" charset="0"/>
                <a:ea typeface="+mn-ea"/>
                <a:cs typeface="Angsana New" pitchFamily="18" charset="-34"/>
              </a:rPr>
              <a:t>ON </a:t>
            </a:r>
            <a:r>
              <a:rPr kumimoji="0" lang="en-US" sz="1400" b="1" i="0" u="none" strike="noStrike" kern="1200" cap="none" spc="0" normalizeH="0" baseline="0" noProof="0" dirty="0">
                <a:ln>
                  <a:noFill/>
                </a:ln>
                <a:solidFill>
                  <a:srgbClr val="0070C0"/>
                </a:solidFill>
                <a:effectLst/>
                <a:uLnTx/>
                <a:uFillTx/>
                <a:latin typeface="Arial" pitchFamily="34" charset="0"/>
                <a:ea typeface="+mn-ea"/>
                <a:cs typeface="Angsana New" pitchFamily="18" charset="-34"/>
              </a:rPr>
              <a:t>21 AUGUST 2005, 8.00 PM, </a:t>
            </a:r>
            <a:endParaRPr kumimoji="0" lang="en-US" sz="1400" b="1" i="0" u="none" strike="noStrike" kern="1200" cap="none" spc="0" normalizeH="0" baseline="0" noProof="0" dirty="0" smtClean="0">
              <a:ln>
                <a:noFill/>
              </a:ln>
              <a:solidFill>
                <a:srgbClr val="0070C0"/>
              </a:solidFill>
              <a:effectLst/>
              <a:uLnTx/>
              <a:uFillTx/>
              <a:latin typeface="Arial" pitchFamily="34" charset="0"/>
              <a:ea typeface="+mn-ea"/>
              <a:cs typeface="Angsana New" pitchFamily="18" charset="-34"/>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srgbClr val="0070C0"/>
                </a:solidFill>
                <a:effectLst/>
                <a:uLnTx/>
                <a:uFillTx/>
                <a:latin typeface="Arial" pitchFamily="34" charset="0"/>
                <a:ea typeface="+mn-ea"/>
                <a:cs typeface="Angsana New" pitchFamily="18" charset="-34"/>
              </a:rPr>
              <a:t>AT </a:t>
            </a:r>
            <a:r>
              <a:rPr kumimoji="0" lang="en-US" sz="1400" b="1" i="0" u="none" strike="noStrike" kern="1200" cap="none" spc="0" normalizeH="0" baseline="0" noProof="0" dirty="0">
                <a:ln>
                  <a:noFill/>
                </a:ln>
                <a:solidFill>
                  <a:srgbClr val="0070C0"/>
                </a:solidFill>
                <a:effectLst/>
                <a:uLnTx/>
                <a:uFillTx/>
                <a:latin typeface="Arial" pitchFamily="34" charset="0"/>
                <a:ea typeface="+mn-ea"/>
                <a:cs typeface="Angsana New" pitchFamily="18" charset="-34"/>
              </a:rPr>
              <a:t>NUS UNIVERSITY </a:t>
            </a:r>
            <a:endParaRPr kumimoji="0" lang="en-US" sz="1400" b="1" i="0" u="none" strike="noStrike" kern="1200" cap="none" spc="0" normalizeH="0" baseline="0" noProof="0" dirty="0" smtClean="0">
              <a:ln>
                <a:noFill/>
              </a:ln>
              <a:solidFill>
                <a:srgbClr val="0070C0"/>
              </a:solidFill>
              <a:effectLst/>
              <a:uLnTx/>
              <a:uFillTx/>
              <a:latin typeface="Arial" pitchFamily="34" charset="0"/>
              <a:ea typeface="+mn-ea"/>
              <a:cs typeface="Angsana New" pitchFamily="18" charset="-34"/>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srgbClr val="0070C0"/>
                </a:solidFill>
                <a:effectLst/>
                <a:uLnTx/>
                <a:uFillTx/>
                <a:latin typeface="Arial" pitchFamily="34" charset="0"/>
                <a:ea typeface="+mn-ea"/>
                <a:cs typeface="Angsana New" pitchFamily="18" charset="-34"/>
              </a:rPr>
              <a:t>CULTURAL </a:t>
            </a:r>
            <a:r>
              <a:rPr kumimoji="0" lang="en-US" sz="1400" b="1" i="0" u="none" strike="noStrike" kern="1200" cap="none" spc="0" normalizeH="0" baseline="0" noProof="0" dirty="0">
                <a:ln>
                  <a:noFill/>
                </a:ln>
                <a:solidFill>
                  <a:srgbClr val="0070C0"/>
                </a:solidFill>
                <a:effectLst/>
                <a:uLnTx/>
                <a:uFillTx/>
                <a:latin typeface="Arial" pitchFamily="34" charset="0"/>
                <a:ea typeface="+mn-ea"/>
                <a:cs typeface="Angsana New" pitchFamily="18" charset="-34"/>
              </a:rPr>
              <a:t>CENTRE</a:t>
            </a:r>
            <a:endParaRPr kumimoji="0" lang="en-US" sz="1400" b="1" i="0" u="none" strike="noStrike" kern="1200" cap="none" spc="0" normalizeH="0" baseline="0" noProof="0" dirty="0">
              <a:ln>
                <a:noFill/>
              </a:ln>
              <a:solidFill>
                <a:srgbClr val="0070C0"/>
              </a:solidFill>
              <a:effectLst/>
              <a:uLnTx/>
              <a:uFillTx/>
              <a:latin typeface="Times New Roman" panose="02020603050405020304" pitchFamily="18" charset="0"/>
              <a:ea typeface="+mn-ea"/>
              <a:cs typeface="Angsana New" pitchFamily="18" charset="-34"/>
            </a:endParaRPr>
          </a:p>
        </p:txBody>
      </p:sp>
      <p:grpSp>
        <p:nvGrpSpPr>
          <p:cNvPr id="8" name="Group 7"/>
          <p:cNvGrpSpPr/>
          <p:nvPr/>
        </p:nvGrpSpPr>
        <p:grpSpPr>
          <a:xfrm>
            <a:off x="5252343" y="119570"/>
            <a:ext cx="3800475" cy="2667000"/>
            <a:chOff x="5331855" y="119570"/>
            <a:chExt cx="3800475" cy="2667000"/>
          </a:xfrm>
        </p:grpSpPr>
        <p:pic>
          <p:nvPicPr>
            <p:cNvPr id="2052" name="Picture 4" descr="“ลีกวนยู” ประกาศฟ้าผ่า ลาออกจาก ครม.ให้โอกาสคนรุ่นหลังบริหารสิงคโปร์"/>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31855" y="119570"/>
              <a:ext cx="3800475" cy="2667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7313673" y="2045673"/>
              <a:ext cx="1726690" cy="738664"/>
            </a:xfrm>
            <a:prstGeom prst="rect">
              <a:avLst/>
            </a:prstGeom>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prstClr val="white"/>
                  </a:solidFill>
                  <a:effectLst/>
                  <a:uLnTx/>
                  <a:uFillTx/>
                  <a:latin typeface="Arial" pitchFamily="34" charset="0"/>
                  <a:ea typeface="+mn-ea"/>
                  <a:cs typeface="Angsana New" pitchFamily="18" charset="-34"/>
                </a:rPr>
                <a:t>KOH CHOK TONG</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itchFamily="34" charset="0"/>
                  <a:ea typeface="+mn-ea"/>
                  <a:cs typeface="Angsana New" pitchFamily="18" charset="-34"/>
                </a:rPr>
                <a:t>Prime Minister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itchFamily="34" charset="0"/>
                  <a:ea typeface="+mn-ea"/>
                  <a:cs typeface="Angsana New" pitchFamily="18" charset="-34"/>
                </a:rPr>
                <a:t>from </a:t>
              </a:r>
              <a:r>
                <a:rPr kumimoji="0" lang="en-US" sz="1400" b="1" i="0" u="none" strike="noStrike" kern="1200" cap="none" spc="0" normalizeH="0" baseline="0" noProof="0" dirty="0" smtClean="0">
                  <a:ln>
                    <a:noFill/>
                  </a:ln>
                  <a:solidFill>
                    <a:prstClr val="white"/>
                  </a:solidFill>
                  <a:effectLst/>
                  <a:uLnTx/>
                  <a:uFillTx/>
                  <a:latin typeface="Arial" pitchFamily="34" charset="0"/>
                  <a:ea typeface="+mn-ea"/>
                  <a:cs typeface="Angsana New" pitchFamily="18" charset="-34"/>
                </a:rPr>
                <a:t>1990-2004</a:t>
              </a:r>
              <a:endParaRPr kumimoji="0" lang="th-TH" sz="1400" b="1" i="0" u="none" strike="noStrike" kern="1200" cap="none" spc="0" normalizeH="0" baseline="0" noProof="0" dirty="0">
                <a:ln>
                  <a:noFill/>
                </a:ln>
                <a:solidFill>
                  <a:prstClr val="white"/>
                </a:solidFill>
                <a:effectLst/>
                <a:uLnTx/>
                <a:uFillTx/>
                <a:latin typeface="Arial" pitchFamily="34" charset="0"/>
                <a:ea typeface="+mn-ea"/>
                <a:cs typeface="Angsana New" pitchFamily="18" charset="-34"/>
              </a:endParaRPr>
            </a:p>
          </p:txBody>
        </p:sp>
        <p:sp>
          <p:nvSpPr>
            <p:cNvPr id="11" name="Rectangle 10"/>
            <p:cNvSpPr/>
            <p:nvPr/>
          </p:nvSpPr>
          <p:spPr>
            <a:xfrm>
              <a:off x="5538546" y="2047906"/>
              <a:ext cx="1718067" cy="738664"/>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itchFamily="34" charset="0"/>
                  <a:ea typeface="+mn-ea"/>
                  <a:cs typeface="Angsana New" pitchFamily="18" charset="-34"/>
                </a:rPr>
                <a:t>LEE KUAN YEW</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prstClr val="white"/>
                  </a:solidFill>
                  <a:effectLst/>
                  <a:uLnTx/>
                  <a:uFillTx/>
                  <a:latin typeface="Arial" pitchFamily="34" charset="0"/>
                  <a:ea typeface="+mn-ea"/>
                  <a:cs typeface="Angsana New" pitchFamily="18" charset="-34"/>
                </a:rPr>
                <a:t>Prime Minister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prstClr val="white"/>
                  </a:solidFill>
                  <a:effectLst/>
                  <a:uLnTx/>
                  <a:uFillTx/>
                  <a:latin typeface="Arial" pitchFamily="34" charset="0"/>
                  <a:ea typeface="+mn-ea"/>
                  <a:cs typeface="Angsana New" pitchFamily="18" charset="-34"/>
                </a:rPr>
                <a:t>from </a:t>
              </a:r>
              <a:r>
                <a:rPr kumimoji="0" lang="en-US" sz="1400" b="1" i="0" u="none" strike="noStrike" kern="1200" cap="none" spc="0" normalizeH="0" baseline="0" noProof="0" dirty="0">
                  <a:ln>
                    <a:noFill/>
                  </a:ln>
                  <a:solidFill>
                    <a:prstClr val="white"/>
                  </a:solidFill>
                  <a:effectLst/>
                  <a:uLnTx/>
                  <a:uFillTx/>
                  <a:latin typeface="Arial" pitchFamily="34" charset="0"/>
                  <a:ea typeface="+mn-ea"/>
                  <a:cs typeface="Angsana New" pitchFamily="18" charset="-34"/>
                </a:rPr>
                <a:t>1959-1990</a:t>
              </a:r>
            </a:p>
          </p:txBody>
        </p:sp>
      </p:grpSp>
      <p:grpSp>
        <p:nvGrpSpPr>
          <p:cNvPr id="9" name="Group 8"/>
          <p:cNvGrpSpPr/>
          <p:nvPr/>
        </p:nvGrpSpPr>
        <p:grpSpPr>
          <a:xfrm>
            <a:off x="151837" y="119570"/>
            <a:ext cx="5040872" cy="4181045"/>
            <a:chOff x="290983" y="119570"/>
            <a:chExt cx="5040872" cy="4181045"/>
          </a:xfrm>
        </p:grpSpPr>
        <p:pic>
          <p:nvPicPr>
            <p:cNvPr id="1026" name="Picture 2" descr="http://therealsingapore.com/sites/default/files/field/image/0507_a13.jpg"/>
            <p:cNvPicPr>
              <a:picLocks noChangeAspect="1" noChangeArrowheads="1"/>
            </p:cNvPicPr>
            <p:nvPr/>
          </p:nvPicPr>
          <p:blipFill rotWithShape="1">
            <a:blip r:embed="rId6">
              <a:extLst>
                <a:ext uri="{28A0092B-C50C-407E-A947-70E740481C1C}">
                  <a14:useLocalDpi xmlns:a14="http://schemas.microsoft.com/office/drawing/2010/main" val="0"/>
                </a:ext>
              </a:extLst>
            </a:blip>
            <a:srcRect r="10179"/>
            <a:stretch/>
          </p:blipFill>
          <p:spPr bwMode="auto">
            <a:xfrm>
              <a:off x="290983" y="119570"/>
              <a:ext cx="5040872" cy="4181045"/>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3282013" y="1083738"/>
              <a:ext cx="1870735" cy="738664"/>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itchFamily="34" charset="0"/>
                  <a:ea typeface="+mn-ea"/>
                  <a:cs typeface="Angsana New" pitchFamily="18" charset="-34"/>
                </a:rPr>
                <a:t>LEE </a:t>
              </a:r>
              <a:r>
                <a:rPr kumimoji="0" lang="en-US" sz="1400" b="1" i="0" u="none" strike="noStrike" kern="1200" cap="none" spc="0" normalizeH="0" baseline="0" noProof="0" dirty="0" smtClean="0">
                  <a:ln>
                    <a:noFill/>
                  </a:ln>
                  <a:solidFill>
                    <a:prstClr val="white"/>
                  </a:solidFill>
                  <a:effectLst/>
                  <a:uLnTx/>
                  <a:uFillTx/>
                  <a:latin typeface="Arial" pitchFamily="34" charset="0"/>
                  <a:ea typeface="+mn-ea"/>
                  <a:cs typeface="Angsana New" pitchFamily="18" charset="-34"/>
                </a:rPr>
                <a:t>HSIEN LOONG</a:t>
              </a:r>
              <a:endParaRPr kumimoji="0" lang="en-US" sz="1400" b="1" i="0" u="none" strike="noStrike" kern="1200" cap="none" spc="0" normalizeH="0" baseline="0" noProof="0" dirty="0">
                <a:ln>
                  <a:noFill/>
                </a:ln>
                <a:solidFill>
                  <a:prstClr val="white"/>
                </a:solidFill>
                <a:effectLst/>
                <a:uLnTx/>
                <a:uFillTx/>
                <a:latin typeface="Arial" pitchFamily="34" charset="0"/>
                <a:ea typeface="+mn-ea"/>
                <a:cs typeface="Angsana New" pitchFamily="18" charset="-34"/>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prstClr val="white"/>
                  </a:solidFill>
                  <a:effectLst/>
                  <a:uLnTx/>
                  <a:uFillTx/>
                  <a:latin typeface="Arial" pitchFamily="34" charset="0"/>
                  <a:ea typeface="+mn-ea"/>
                  <a:cs typeface="Angsana New" pitchFamily="18" charset="-34"/>
                </a:rPr>
                <a:t>Prime Minister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prstClr val="white"/>
                  </a:solidFill>
                  <a:effectLst/>
                  <a:uLnTx/>
                  <a:uFillTx/>
                  <a:latin typeface="Arial" pitchFamily="34" charset="0"/>
                  <a:ea typeface="+mn-ea"/>
                  <a:cs typeface="Angsana New" pitchFamily="18" charset="-34"/>
                </a:rPr>
                <a:t>from 2004-Present</a:t>
              </a:r>
              <a:endParaRPr kumimoji="0" lang="en-US" sz="1400" b="1" i="0" u="none" strike="noStrike" kern="1200" cap="none" spc="0" normalizeH="0" baseline="0" noProof="0" dirty="0">
                <a:ln>
                  <a:noFill/>
                </a:ln>
                <a:solidFill>
                  <a:prstClr val="white"/>
                </a:solidFill>
                <a:effectLst/>
                <a:uLnTx/>
                <a:uFillTx/>
                <a:latin typeface="Arial" pitchFamily="34" charset="0"/>
                <a:ea typeface="+mn-ea"/>
                <a:cs typeface="Angsana New" pitchFamily="18" charset="-34"/>
              </a:endParaRPr>
            </a:p>
          </p:txBody>
        </p:sp>
      </p:grpSp>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58391" y="5671901"/>
            <a:ext cx="1608335" cy="596455"/>
          </a:xfrm>
          <a:prstGeom prst="rect">
            <a:avLst/>
          </a:prstGeom>
        </p:spPr>
      </p:pic>
      <p:sp>
        <p:nvSpPr>
          <p:cNvPr id="10" name="Rectangle 9"/>
          <p:cNvSpPr/>
          <p:nvPr/>
        </p:nvSpPr>
        <p:spPr>
          <a:xfrm>
            <a:off x="2693943" y="357694"/>
            <a:ext cx="1710725" cy="461665"/>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FF00"/>
                </a:solidFill>
                <a:effectLst/>
                <a:uLnTx/>
                <a:uFillTx/>
                <a:latin typeface="Arial" pitchFamily="34" charset="0"/>
                <a:ea typeface="+mn-ea"/>
                <a:cs typeface="Arial" panose="020B0604020202020204" pitchFamily="34" charset="0"/>
              </a:rPr>
              <a:t>Leadership</a:t>
            </a:r>
            <a:endParaRPr kumimoji="0" lang="th-TH" sz="2400" b="0" i="0" u="none" strike="noStrike" kern="1200" cap="none" spc="0" normalizeH="0" baseline="0" noProof="0" dirty="0">
              <a:ln>
                <a:noFill/>
              </a:ln>
              <a:solidFill>
                <a:srgbClr val="FFFF00"/>
              </a:solidFill>
              <a:effectLst/>
              <a:uLnTx/>
              <a:uFillTx/>
              <a:latin typeface="Arial" pitchFamily="34" charset="0"/>
              <a:ea typeface="+mn-ea"/>
              <a:cs typeface="Angsana New" pitchFamily="18" charset="-34"/>
            </a:endParaRPr>
          </a:p>
        </p:txBody>
      </p:sp>
      <p:pic>
        <p:nvPicPr>
          <p:cNvPr id="15" name="Picture 1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426215" y="184365"/>
            <a:ext cx="2246180" cy="767183"/>
          </a:xfrm>
          <a:prstGeom prst="rect">
            <a:avLst/>
          </a:prstGeom>
        </p:spPr>
      </p:pic>
      <p:pic>
        <p:nvPicPr>
          <p:cNvPr id="16" name="Picture 1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868105" y="6002618"/>
            <a:ext cx="1608335" cy="596455"/>
          </a:xfrm>
          <a:prstGeom prst="rect">
            <a:avLst/>
          </a:prstGeom>
        </p:spPr>
      </p:pic>
    </p:spTree>
    <p:extLst>
      <p:ext uri="{BB962C8B-B14F-4D97-AF65-F5344CB8AC3E}">
        <p14:creationId xmlns:p14="http://schemas.microsoft.com/office/powerpoint/2010/main" val="89311850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wipe(left)">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wipe(up)">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wipe(left)">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down)">
                                      <p:cBhvr>
                                        <p:cTn id="27" dur="500"/>
                                        <p:tgtEl>
                                          <p:spTgt spid="5"/>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wipe(down)">
                                      <p:cBhvr>
                                        <p:cTn id="32" dur="500"/>
                                        <p:tgtEl>
                                          <p:spTgt spid="16"/>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wipe(left)">
                                      <p:cBhvr>
                                        <p:cTn id="37" dur="500"/>
                                        <p:tgtEl>
                                          <p:spTgt spid="10"/>
                                        </p:tgtEl>
                                      </p:cBhvr>
                                    </p:animEffect>
                                  </p:childTnLst>
                                </p:cTn>
                              </p:par>
                            </p:childTnLst>
                          </p:cTn>
                        </p:par>
                        <p:par>
                          <p:cTn id="38" fill="hold">
                            <p:stCondLst>
                              <p:cond delay="500"/>
                            </p:stCondLst>
                            <p:childTnLst>
                              <p:par>
                                <p:cTn id="39" presetID="22" presetClass="entr" presetSubtype="4" fill="hold" nodeType="after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down)">
                                      <p:cBhvr>
                                        <p:cTn id="41"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0" grpId="0"/>
    </p:bldLst>
  </p:timing>
</p:sld>
</file>

<file path=ppt/slides/slide2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6" name="Picture 2" descr="Iceberg2"/>
          <p:cNvPicPr>
            <a:picLocks noChangeAspect="1" noChangeArrowheads="1"/>
          </p:cNvPicPr>
          <p:nvPr/>
        </p:nvPicPr>
        <p:blipFill>
          <a:blip r:embed="rId5" cstate="print"/>
          <a:srcRect/>
          <a:stretch>
            <a:fillRect/>
          </a:stretch>
        </p:blipFill>
        <p:spPr>
          <a:xfrm>
            <a:off x="0" y="-35625"/>
            <a:ext cx="9144000" cy="6858000"/>
          </a:xfrm>
          <a:prstGeom prst="rect">
            <a:avLst/>
          </a:prstGeom>
          <a:noFill/>
        </p:spPr>
      </p:pic>
      <p:sp>
        <p:nvSpPr>
          <p:cNvPr id="8" name="Text Box 4"/>
          <p:cNvSpPr txBox="1">
            <a:spLocks noChangeArrowheads="1"/>
          </p:cNvSpPr>
          <p:nvPr/>
        </p:nvSpPr>
        <p:spPr bwMode="auto">
          <a:xfrm>
            <a:off x="6956652" y="3370347"/>
            <a:ext cx="1223412" cy="1138773"/>
          </a:xfrm>
          <a:prstGeom prst="rect">
            <a:avLst/>
          </a:prstGeom>
          <a:noFill/>
          <a:ln w="9525">
            <a:noFill/>
            <a:miter lim="800000"/>
            <a:headEnd/>
            <a:tailEnd/>
          </a:ln>
          <a:effectLst/>
        </p:spPr>
        <p:txBody>
          <a:bodyPr wrap="none">
            <a:spAutoFit/>
          </a:bodyPr>
          <a:lstStyle/>
          <a:p>
            <a:pPr marL="0" marR="0" lvl="0" indent="0" algn="ctr" defTabSz="914400" rtl="0" eaLnBrk="1" fontAlgn="base" latinLnBrk="0" hangingPunct="1">
              <a:lnSpc>
                <a:spcPts val="2000"/>
              </a:lnSpc>
              <a:spcBef>
                <a:spcPct val="0"/>
              </a:spcBef>
              <a:spcAft>
                <a:spcPct val="0"/>
              </a:spcAft>
              <a:buClrTx/>
              <a:buSzTx/>
              <a:buFontTx/>
              <a:buNone/>
              <a:tabLst/>
              <a:defRPr/>
            </a:pPr>
            <a:r>
              <a:rPr kumimoji="0" lang="th-TH" sz="2400" b="1" i="0" u="none" strike="noStrike" kern="1200" cap="none" spc="0" normalizeH="0" baseline="0" noProof="0" dirty="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rPr>
              <a:t>ความ</a:t>
            </a:r>
            <a:r>
              <a:rPr kumimoji="0" lang="th-TH" sz="2400" b="1" i="0" u="none" strike="noStrike" kern="1200" cap="none" spc="0" normalizeH="0" baseline="0" noProof="0" dirty="0" smtClean="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rPr>
              <a:t>เชื่อ</a:t>
            </a:r>
          </a:p>
          <a:p>
            <a:pPr marL="0" marR="0" lvl="0" indent="0" algn="ctr" defTabSz="914400" rtl="0" eaLnBrk="1" fontAlgn="base" latinLnBrk="0" hangingPunct="1">
              <a:lnSpc>
                <a:spcPts val="2000"/>
              </a:lnSpc>
              <a:spcBef>
                <a:spcPct val="0"/>
              </a:spcBef>
              <a:spcAft>
                <a:spcPct val="0"/>
              </a:spcAft>
              <a:buClrTx/>
              <a:buSzTx/>
              <a:buFontTx/>
              <a:buNone/>
              <a:tabLst/>
              <a:defRPr/>
            </a:pPr>
            <a:r>
              <a:rPr kumimoji="0" lang="en-US" sz="2400" b="1" i="0" u="none" strike="noStrike" kern="1200" cap="none" spc="0" normalizeH="0" baseline="0" noProof="0" dirty="0" smtClean="0">
                <a:ln>
                  <a:noFill/>
                </a:ln>
                <a:solidFill>
                  <a:srgbClr val="FFFF00"/>
                </a:solidFill>
                <a:effectLst>
                  <a:outerShdw blurRad="38100" dist="38100" dir="2700000" algn="tl">
                    <a:srgbClr val="000000"/>
                  </a:outerShdw>
                </a:effectLst>
                <a:uLnTx/>
                <a:uFillTx/>
                <a:latin typeface="Angsana New" pitchFamily="18" charset="-34"/>
                <a:ea typeface="+mn-ea"/>
                <a:cs typeface="AngsanaUPC" pitchFamily="18" charset="-34"/>
              </a:rPr>
              <a:t>(Belief)</a:t>
            </a:r>
            <a:endParaRPr kumimoji="0" lang="th-TH" sz="2400" b="1" i="0" u="none" strike="noStrike" kern="1200" cap="none" spc="0" normalizeH="0" baseline="0" noProof="0" dirty="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endParaRPr>
          </a:p>
          <a:p>
            <a:pPr marL="0" marR="0" lvl="0" indent="0" algn="ctr" defTabSz="914400" rtl="0" eaLnBrk="1" fontAlgn="base" latinLnBrk="0" hangingPunct="1">
              <a:lnSpc>
                <a:spcPct val="75000"/>
              </a:lnSpc>
              <a:spcBef>
                <a:spcPct val="0"/>
              </a:spcBef>
              <a:spcAft>
                <a:spcPct val="0"/>
              </a:spcAft>
              <a:buClrTx/>
              <a:buSzTx/>
              <a:buFontTx/>
              <a:buNone/>
              <a:tabLst/>
              <a:defRPr/>
            </a:pPr>
            <a:r>
              <a:rPr kumimoji="0" lang="th-TH" sz="2400" b="1" i="0" u="none" strike="noStrike" kern="1200" cap="none" spc="0" normalizeH="0" baseline="0" noProof="0" dirty="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rPr>
              <a:t>ความ</a:t>
            </a:r>
            <a:r>
              <a:rPr kumimoji="0" lang="th-TH" sz="2400" b="1" i="0" u="none" strike="noStrike" kern="1200" cap="none" spc="0" normalizeH="0" baseline="0" noProof="0" dirty="0" smtClean="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rPr>
              <a:t>ศรัทธา</a:t>
            </a:r>
          </a:p>
          <a:p>
            <a:pPr marL="0" marR="0" lvl="0" indent="0" algn="ctr" defTabSz="914400" rtl="0" eaLnBrk="1" fontAlgn="base" latinLnBrk="0" hangingPunct="1">
              <a:lnSpc>
                <a:spcPts val="2000"/>
              </a:lnSpc>
              <a:spcBef>
                <a:spcPct val="0"/>
              </a:spcBef>
              <a:spcAft>
                <a:spcPct val="0"/>
              </a:spcAft>
              <a:buClrTx/>
              <a:buSzTx/>
              <a:buFontTx/>
              <a:buNone/>
              <a:tabLst/>
              <a:defRPr/>
            </a:pPr>
            <a:r>
              <a:rPr kumimoji="0" lang="en-US" sz="2400" b="1" i="0" u="none" strike="noStrike" kern="1200" cap="none" spc="0" normalizeH="0" baseline="0" noProof="0" dirty="0" smtClean="0">
                <a:ln>
                  <a:noFill/>
                </a:ln>
                <a:solidFill>
                  <a:srgbClr val="FFFF00"/>
                </a:solidFill>
                <a:effectLst>
                  <a:outerShdw blurRad="38100" dist="38100" dir="2700000" algn="tl">
                    <a:srgbClr val="000000"/>
                  </a:outerShdw>
                </a:effectLst>
                <a:uLnTx/>
                <a:uFillTx/>
                <a:latin typeface="Angsana New" pitchFamily="18" charset="-34"/>
                <a:ea typeface="+mn-ea"/>
                <a:cs typeface="AngsanaUPC" pitchFamily="18" charset="-34"/>
              </a:rPr>
              <a:t>(Faith)</a:t>
            </a:r>
            <a:endParaRPr kumimoji="0" lang="th-TH" sz="2400" b="1" i="0" u="none" strike="noStrike" kern="1200" cap="none" spc="0" normalizeH="0" baseline="0" noProof="0" dirty="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endParaRPr>
          </a:p>
        </p:txBody>
      </p:sp>
      <p:sp>
        <p:nvSpPr>
          <p:cNvPr id="9" name="Text Box 5"/>
          <p:cNvSpPr txBox="1">
            <a:spLocks noChangeArrowheads="1"/>
          </p:cNvSpPr>
          <p:nvPr/>
        </p:nvSpPr>
        <p:spPr bwMode="auto">
          <a:xfrm>
            <a:off x="1275704" y="3488328"/>
            <a:ext cx="998991" cy="902811"/>
          </a:xfrm>
          <a:prstGeom prst="rect">
            <a:avLst/>
          </a:prstGeom>
          <a:noFill/>
          <a:ln w="9525">
            <a:noFill/>
            <a:miter lim="800000"/>
            <a:headEnd/>
            <a:tailEnd/>
          </a:ln>
          <a:effectLst/>
        </p:spPr>
        <p:txBody>
          <a:bodyPr wrap="none">
            <a:spAutoFit/>
          </a:bodyPr>
          <a:lstStyle/>
          <a:p>
            <a:pPr marL="0" marR="0" lvl="0" indent="0" algn="ctr" defTabSz="914400" rtl="0" eaLnBrk="1" fontAlgn="base" latinLnBrk="0" hangingPunct="1">
              <a:lnSpc>
                <a:spcPct val="75000"/>
              </a:lnSpc>
              <a:spcBef>
                <a:spcPct val="0"/>
              </a:spcBef>
              <a:spcAft>
                <a:spcPct val="0"/>
              </a:spcAft>
              <a:buClrTx/>
              <a:buSzTx/>
              <a:buFontTx/>
              <a:buNone/>
              <a:tabLst/>
              <a:defRPr/>
            </a:pPr>
            <a:r>
              <a:rPr kumimoji="0" lang="th-TH" sz="2400" b="1" i="0" u="none" strike="noStrike" kern="1200" cap="none" spc="0" normalizeH="0" baseline="0" noProof="0" dirty="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rPr>
              <a:t>อารมณ์</a:t>
            </a:r>
          </a:p>
          <a:p>
            <a:pPr marL="0" marR="0" lvl="0" indent="0" algn="ctr" defTabSz="914400" rtl="0" eaLnBrk="1" fontAlgn="base" latinLnBrk="0" hangingPunct="1">
              <a:lnSpc>
                <a:spcPct val="75000"/>
              </a:lnSpc>
              <a:spcBef>
                <a:spcPct val="0"/>
              </a:spcBef>
              <a:spcAft>
                <a:spcPct val="0"/>
              </a:spcAft>
              <a:buClrTx/>
              <a:buSzTx/>
              <a:buFontTx/>
              <a:buNone/>
              <a:tabLst/>
              <a:defRPr/>
            </a:pPr>
            <a:r>
              <a:rPr kumimoji="0" lang="th-TH" sz="2400" b="1" i="0" u="none" strike="noStrike" kern="1200" cap="none" spc="0" normalizeH="0" baseline="0" noProof="0" dirty="0" smtClean="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rPr>
              <a:t>ความรู้สึก</a:t>
            </a:r>
          </a:p>
          <a:p>
            <a:pPr marL="0" marR="0" lvl="0" indent="0" algn="ctr" defTabSz="914400" rtl="0" eaLnBrk="1" fontAlgn="base" latinLnBrk="0" hangingPunct="1">
              <a:lnSpc>
                <a:spcPts val="2000"/>
              </a:lnSpc>
              <a:spcBef>
                <a:spcPct val="0"/>
              </a:spcBef>
              <a:spcAft>
                <a:spcPct val="0"/>
              </a:spcAft>
              <a:buClrTx/>
              <a:buSzTx/>
              <a:buFontTx/>
              <a:buNone/>
              <a:tabLst/>
              <a:defRPr/>
            </a:pPr>
            <a:r>
              <a:rPr kumimoji="0" lang="en-US" sz="2400" b="1" i="0" u="none" strike="noStrike" kern="1200" cap="none" spc="0" normalizeH="0" baseline="0" noProof="0" dirty="0" smtClean="0">
                <a:ln>
                  <a:noFill/>
                </a:ln>
                <a:solidFill>
                  <a:srgbClr val="FFFF00"/>
                </a:solidFill>
                <a:effectLst>
                  <a:outerShdw blurRad="38100" dist="38100" dir="2700000" algn="tl">
                    <a:srgbClr val="000000"/>
                  </a:outerShdw>
                </a:effectLst>
                <a:uLnTx/>
                <a:uFillTx/>
                <a:latin typeface="Angsana New" pitchFamily="18" charset="-34"/>
                <a:ea typeface="+mn-ea"/>
                <a:cs typeface="AngsanaUPC" pitchFamily="18" charset="-34"/>
              </a:rPr>
              <a:t>(Feeling)</a:t>
            </a:r>
            <a:endParaRPr kumimoji="0" lang="th-TH" sz="2400" b="1" i="0" u="none" strike="noStrike" kern="1200" cap="none" spc="0" normalizeH="0" baseline="0" noProof="0" dirty="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endParaRPr>
          </a:p>
        </p:txBody>
      </p:sp>
      <p:sp>
        <p:nvSpPr>
          <p:cNvPr id="10" name="Text Box 6"/>
          <p:cNvSpPr txBox="1">
            <a:spLocks noChangeArrowheads="1"/>
          </p:cNvSpPr>
          <p:nvPr/>
        </p:nvSpPr>
        <p:spPr bwMode="auto">
          <a:xfrm>
            <a:off x="4133033" y="6208082"/>
            <a:ext cx="1042272" cy="605294"/>
          </a:xfrm>
          <a:prstGeom prst="rect">
            <a:avLst/>
          </a:prstGeom>
          <a:noFill/>
          <a:ln w="9525">
            <a:noFill/>
            <a:miter lim="800000"/>
            <a:headEnd/>
            <a:tailEnd/>
          </a:ln>
          <a:effectLst/>
        </p:spPr>
        <p:txBody>
          <a:bodyPr wrap="none">
            <a:spAutoFit/>
          </a:bodyPr>
          <a:lstStyle/>
          <a:p>
            <a:pPr marL="0" marR="0" lvl="0" indent="0" algn="ctr" defTabSz="914400" rtl="0" eaLnBrk="1" fontAlgn="base" latinLnBrk="0" hangingPunct="1">
              <a:lnSpc>
                <a:spcPts val="2000"/>
              </a:lnSpc>
              <a:spcBef>
                <a:spcPct val="0"/>
              </a:spcBef>
              <a:spcAft>
                <a:spcPct val="0"/>
              </a:spcAft>
              <a:buClrTx/>
              <a:buSzTx/>
              <a:buFontTx/>
              <a:buNone/>
              <a:tabLst/>
              <a:defRPr/>
            </a:pPr>
            <a:r>
              <a:rPr kumimoji="0" lang="th-TH" sz="2400" b="1" i="0" u="none" strike="noStrike" kern="1200" cap="none" spc="0" normalizeH="0" baseline="0" noProof="0" dirty="0" smtClean="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rPr>
              <a:t>ทัศนคติ</a:t>
            </a:r>
            <a:endParaRPr kumimoji="0" lang="en-US" sz="2400" b="1" i="0" u="none" strike="noStrike" kern="1200" cap="none" spc="0" normalizeH="0" baseline="0" noProof="0" dirty="0" smtClean="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endParaRPr>
          </a:p>
          <a:p>
            <a:pPr marL="0" marR="0" lvl="0" indent="0" algn="ctr" defTabSz="914400" rtl="0" eaLnBrk="1" fontAlgn="base" latinLnBrk="0" hangingPunct="1">
              <a:lnSpc>
                <a:spcPts val="2000"/>
              </a:lnSpc>
              <a:spcBef>
                <a:spcPct val="0"/>
              </a:spcBef>
              <a:spcAft>
                <a:spcPct val="0"/>
              </a:spcAft>
              <a:buClrTx/>
              <a:buSzTx/>
              <a:buFontTx/>
              <a:buNone/>
              <a:tabLst/>
              <a:defRPr/>
            </a:pPr>
            <a:r>
              <a:rPr kumimoji="0" lang="en-US" sz="2400" b="1" i="0" u="none" strike="noStrike" kern="1200" cap="none" spc="0" normalizeH="0" baseline="0" noProof="0" dirty="0" smtClean="0">
                <a:ln>
                  <a:noFill/>
                </a:ln>
                <a:solidFill>
                  <a:srgbClr val="FFFF00"/>
                </a:solidFill>
                <a:effectLst>
                  <a:outerShdw blurRad="38100" dist="38100" dir="2700000" algn="tl">
                    <a:srgbClr val="000000"/>
                  </a:outerShdw>
                </a:effectLst>
                <a:uLnTx/>
                <a:uFillTx/>
                <a:latin typeface="Angsana New" pitchFamily="18" charset="-34"/>
                <a:ea typeface="+mn-ea"/>
                <a:cs typeface="AngsanaUPC" pitchFamily="18" charset="-34"/>
              </a:rPr>
              <a:t>(Attitude)</a:t>
            </a:r>
            <a:endParaRPr kumimoji="0" lang="th-TH" sz="2400" b="1" i="0" u="none" strike="noStrike" kern="1200" cap="none" spc="0" normalizeH="0" baseline="0" noProof="0" dirty="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endParaRPr>
          </a:p>
        </p:txBody>
      </p:sp>
      <p:sp>
        <p:nvSpPr>
          <p:cNvPr id="11" name="Text Box 7"/>
          <p:cNvSpPr txBox="1">
            <a:spLocks noChangeArrowheads="1"/>
          </p:cNvSpPr>
          <p:nvPr/>
        </p:nvSpPr>
        <p:spPr bwMode="auto">
          <a:xfrm>
            <a:off x="4125018" y="1488359"/>
            <a:ext cx="1058303" cy="605294"/>
          </a:xfrm>
          <a:prstGeom prst="rect">
            <a:avLst/>
          </a:prstGeom>
          <a:noFill/>
          <a:ln w="9525">
            <a:noFill/>
            <a:miter lim="800000"/>
            <a:headEnd/>
            <a:tailEnd/>
          </a:ln>
          <a:effectLst/>
        </p:spPr>
        <p:txBody>
          <a:bodyPr wrap="none">
            <a:spAutoFit/>
          </a:bodyPr>
          <a:lstStyle/>
          <a:p>
            <a:pPr marL="0" marR="0" lvl="0" indent="0" algn="ctr" defTabSz="914400" rtl="0" eaLnBrk="1" fontAlgn="base" latinLnBrk="0" hangingPunct="1">
              <a:lnSpc>
                <a:spcPts val="2000"/>
              </a:lnSpc>
              <a:spcBef>
                <a:spcPct val="0"/>
              </a:spcBef>
              <a:spcAft>
                <a:spcPct val="0"/>
              </a:spcAft>
              <a:buClrTx/>
              <a:buSzTx/>
              <a:buFontTx/>
              <a:buNone/>
              <a:tabLst/>
              <a:defRPr/>
            </a:pPr>
            <a:r>
              <a:rPr kumimoji="0" lang="th-TH" sz="2400" b="1" i="0" u="none" strike="noStrike" kern="1200" cap="none" spc="0" normalizeH="0" baseline="0" noProof="0" dirty="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rPr>
              <a:t>การ</a:t>
            </a:r>
            <a:r>
              <a:rPr kumimoji="0" lang="th-TH" sz="2400" b="1" i="0" u="none" strike="noStrike" kern="1200" cap="none" spc="0" normalizeH="0" baseline="0" noProof="0" dirty="0" smtClean="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rPr>
              <a:t>กระทำ</a:t>
            </a:r>
          </a:p>
          <a:p>
            <a:pPr marL="0" marR="0" lvl="0" indent="0" algn="ctr" defTabSz="914400" rtl="0" eaLnBrk="1" fontAlgn="base" latinLnBrk="0" hangingPunct="1">
              <a:lnSpc>
                <a:spcPts val="2000"/>
              </a:lnSpc>
              <a:spcBef>
                <a:spcPct val="0"/>
              </a:spcBef>
              <a:spcAft>
                <a:spcPct val="0"/>
              </a:spcAft>
              <a:buClrTx/>
              <a:buSzTx/>
              <a:buFontTx/>
              <a:buNone/>
              <a:tabLst/>
              <a:defRPr/>
            </a:pPr>
            <a:r>
              <a:rPr kumimoji="0" lang="en-US" sz="2400" b="1" i="0" u="none" strike="noStrike" kern="1200" cap="none" spc="0" normalizeH="0" baseline="0" noProof="0" dirty="0" smtClean="0">
                <a:ln>
                  <a:noFill/>
                </a:ln>
                <a:solidFill>
                  <a:srgbClr val="FFFF00"/>
                </a:solidFill>
                <a:effectLst>
                  <a:outerShdw blurRad="38100" dist="38100" dir="2700000" algn="tl">
                    <a:srgbClr val="000000"/>
                  </a:outerShdw>
                </a:effectLst>
                <a:uLnTx/>
                <a:uFillTx/>
                <a:latin typeface="Angsana New" pitchFamily="18" charset="-34"/>
                <a:ea typeface="+mn-ea"/>
                <a:cs typeface="AngsanaUPC" pitchFamily="18" charset="-34"/>
              </a:rPr>
              <a:t>(Practice)</a:t>
            </a:r>
            <a:endParaRPr kumimoji="0" lang="th-TH" sz="2400" b="1" i="0" u="none" strike="noStrike" kern="1200" cap="none" spc="0" normalizeH="0" baseline="0" noProof="0" dirty="0" smtClean="0">
              <a:ln>
                <a:noFill/>
              </a:ln>
              <a:solidFill>
                <a:srgbClr val="FFFF00"/>
              </a:solidFill>
              <a:effectLst>
                <a:outerShdw blurRad="38100" dist="38100" dir="2700000" algn="tl">
                  <a:srgbClr val="000000"/>
                </a:outerShdw>
              </a:effectLst>
              <a:uLnTx/>
              <a:uFillTx/>
              <a:latin typeface="Angsana New" pitchFamily="18" charset="-34"/>
              <a:ea typeface="+mn-ea"/>
              <a:cs typeface="AngsanaUPC" pitchFamily="18" charset="-34"/>
            </a:endParaRPr>
          </a:p>
        </p:txBody>
      </p:sp>
      <p:grpSp>
        <p:nvGrpSpPr>
          <p:cNvPr id="2" name="Group 9"/>
          <p:cNvGrpSpPr>
            <a:grpSpLocks/>
          </p:cNvGrpSpPr>
          <p:nvPr/>
        </p:nvGrpSpPr>
        <p:grpSpPr bwMode="auto">
          <a:xfrm rot="6541156">
            <a:off x="1692165" y="1914938"/>
            <a:ext cx="1406525" cy="776287"/>
            <a:chOff x="2789" y="770"/>
            <a:chExt cx="768" cy="424"/>
          </a:xfrm>
        </p:grpSpPr>
        <p:sp>
          <p:nvSpPr>
            <p:cNvPr id="13" name="Freeform 10"/>
            <p:cNvSpPr>
              <a:spLocks/>
            </p:cNvSpPr>
            <p:nvPr/>
          </p:nvSpPr>
          <p:spPr bwMode="auto">
            <a:xfrm rot="-8774515">
              <a:off x="2927" y="798"/>
              <a:ext cx="630" cy="396"/>
            </a:xfrm>
            <a:custGeom>
              <a:avLst/>
              <a:gdLst>
                <a:gd name="T0" fmla="*/ 2360 w 2903"/>
                <a:gd name="T1" fmla="*/ 899 h 1823"/>
                <a:gd name="T2" fmla="*/ 2214 w 2903"/>
                <a:gd name="T3" fmla="*/ 827 h 1823"/>
                <a:gd name="T4" fmla="*/ 2064 w 2903"/>
                <a:gd name="T5" fmla="*/ 773 h 1823"/>
                <a:gd name="T6" fmla="*/ 1912 w 2903"/>
                <a:gd name="T7" fmla="*/ 741 h 1823"/>
                <a:gd name="T8" fmla="*/ 1758 w 2903"/>
                <a:gd name="T9" fmla="*/ 728 h 1823"/>
                <a:gd name="T10" fmla="*/ 1685 w 2903"/>
                <a:gd name="T11" fmla="*/ 728 h 1823"/>
                <a:gd name="T12" fmla="*/ 1609 w 2903"/>
                <a:gd name="T13" fmla="*/ 732 h 1823"/>
                <a:gd name="T14" fmla="*/ 1459 w 2903"/>
                <a:gd name="T15" fmla="*/ 758 h 1823"/>
                <a:gd name="T16" fmla="*/ 1316 w 2903"/>
                <a:gd name="T17" fmla="*/ 800 h 1823"/>
                <a:gd name="T18" fmla="*/ 1178 w 2903"/>
                <a:gd name="T19" fmla="*/ 860 h 1823"/>
                <a:gd name="T20" fmla="*/ 1051 w 2903"/>
                <a:gd name="T21" fmla="*/ 933 h 1823"/>
                <a:gd name="T22" fmla="*/ 931 w 2903"/>
                <a:gd name="T23" fmla="*/ 1023 h 1823"/>
                <a:gd name="T24" fmla="*/ 825 w 2903"/>
                <a:gd name="T25" fmla="*/ 1126 h 1823"/>
                <a:gd name="T26" fmla="*/ 730 w 2903"/>
                <a:gd name="T27" fmla="*/ 1242 h 1823"/>
                <a:gd name="T28" fmla="*/ 653 w 2903"/>
                <a:gd name="T29" fmla="*/ 1369 h 1823"/>
                <a:gd name="T30" fmla="*/ 589 w 2903"/>
                <a:gd name="T31" fmla="*/ 1511 h 1823"/>
                <a:gd name="T32" fmla="*/ 545 w 2903"/>
                <a:gd name="T33" fmla="*/ 1662 h 1823"/>
                <a:gd name="T34" fmla="*/ 520 w 2903"/>
                <a:gd name="T35" fmla="*/ 1823 h 1823"/>
                <a:gd name="T36" fmla="*/ 0 w 2903"/>
                <a:gd name="T37" fmla="*/ 1790 h 1823"/>
                <a:gd name="T38" fmla="*/ 29 w 2903"/>
                <a:gd name="T39" fmla="*/ 1548 h 1823"/>
                <a:gd name="T40" fmla="*/ 89 w 2903"/>
                <a:gd name="T41" fmla="*/ 1316 h 1823"/>
                <a:gd name="T42" fmla="*/ 175 w 2903"/>
                <a:gd name="T43" fmla="*/ 1100 h 1823"/>
                <a:gd name="T44" fmla="*/ 285 w 2903"/>
                <a:gd name="T45" fmla="*/ 896 h 1823"/>
                <a:gd name="T46" fmla="*/ 417 w 2903"/>
                <a:gd name="T47" fmla="*/ 712 h 1823"/>
                <a:gd name="T48" fmla="*/ 571 w 2903"/>
                <a:gd name="T49" fmla="*/ 546 h 1823"/>
                <a:gd name="T50" fmla="*/ 741 w 2903"/>
                <a:gd name="T51" fmla="*/ 400 h 1823"/>
                <a:gd name="T52" fmla="*/ 930 w 2903"/>
                <a:gd name="T53" fmla="*/ 272 h 1823"/>
                <a:gd name="T54" fmla="*/ 1128 w 2903"/>
                <a:gd name="T55" fmla="*/ 170 h 1823"/>
                <a:gd name="T56" fmla="*/ 1340 w 2903"/>
                <a:gd name="T57" fmla="*/ 89 h 1823"/>
                <a:gd name="T58" fmla="*/ 1560 w 2903"/>
                <a:gd name="T59" fmla="*/ 34 h 1823"/>
                <a:gd name="T60" fmla="*/ 1787 w 2903"/>
                <a:gd name="T61" fmla="*/ 4 h 1823"/>
                <a:gd name="T62" fmla="*/ 1902 w 2903"/>
                <a:gd name="T63" fmla="*/ 0 h 1823"/>
                <a:gd name="T64" fmla="*/ 2018 w 2903"/>
                <a:gd name="T65" fmla="*/ 1 h 1823"/>
                <a:gd name="T66" fmla="*/ 2251 w 2903"/>
                <a:gd name="T67" fmla="*/ 28 h 1823"/>
                <a:gd name="T68" fmla="*/ 2484 w 2903"/>
                <a:gd name="T69" fmla="*/ 85 h 1823"/>
                <a:gd name="T70" fmla="*/ 2717 w 2903"/>
                <a:gd name="T71" fmla="*/ 174 h 1823"/>
                <a:gd name="T72" fmla="*/ 2774 w 2903"/>
                <a:gd name="T73" fmla="*/ 263 h 1823"/>
                <a:gd name="T74" fmla="*/ 2849 w 2903"/>
                <a:gd name="T75" fmla="*/ 430 h 1823"/>
                <a:gd name="T76" fmla="*/ 2899 w 2903"/>
                <a:gd name="T77" fmla="*/ 607 h 1823"/>
                <a:gd name="T78" fmla="*/ 2902 w 2903"/>
                <a:gd name="T79" fmla="*/ 645 h 1823"/>
                <a:gd name="T80" fmla="*/ 2902 w 2903"/>
                <a:gd name="T81" fmla="*/ 662 h 1823"/>
                <a:gd name="T82" fmla="*/ 2903 w 2903"/>
                <a:gd name="T83" fmla="*/ 680 h 1823"/>
                <a:gd name="T84" fmla="*/ 2883 w 2903"/>
                <a:gd name="T85" fmla="*/ 735 h 1823"/>
                <a:gd name="T86" fmla="*/ 2832 w 2903"/>
                <a:gd name="T87" fmla="*/ 794 h 1823"/>
                <a:gd name="T88" fmla="*/ 2762 w 2903"/>
                <a:gd name="T89" fmla="*/ 834 h 1823"/>
                <a:gd name="T90" fmla="*/ 2600 w 2903"/>
                <a:gd name="T91" fmla="*/ 870 h 1823"/>
                <a:gd name="T92" fmla="*/ 2451 w 2903"/>
                <a:gd name="T93" fmla="*/ 878 h 1823"/>
                <a:gd name="T94" fmla="*/ 2360 w 2903"/>
                <a:gd name="T95" fmla="*/ 899 h 182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903"/>
                <a:gd name="T145" fmla="*/ 0 h 1823"/>
                <a:gd name="T146" fmla="*/ 2903 w 2903"/>
                <a:gd name="T147" fmla="*/ 1823 h 182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903" h="1823">
                  <a:moveTo>
                    <a:pt x="2360" y="899"/>
                  </a:moveTo>
                  <a:lnTo>
                    <a:pt x="2214" y="827"/>
                  </a:lnTo>
                  <a:lnTo>
                    <a:pt x="2064" y="773"/>
                  </a:lnTo>
                  <a:lnTo>
                    <a:pt x="1912" y="741"/>
                  </a:lnTo>
                  <a:lnTo>
                    <a:pt x="1758" y="728"/>
                  </a:lnTo>
                  <a:lnTo>
                    <a:pt x="1685" y="728"/>
                  </a:lnTo>
                  <a:lnTo>
                    <a:pt x="1609" y="732"/>
                  </a:lnTo>
                  <a:lnTo>
                    <a:pt x="1459" y="758"/>
                  </a:lnTo>
                  <a:lnTo>
                    <a:pt x="1316" y="800"/>
                  </a:lnTo>
                  <a:lnTo>
                    <a:pt x="1178" y="860"/>
                  </a:lnTo>
                  <a:lnTo>
                    <a:pt x="1051" y="933"/>
                  </a:lnTo>
                  <a:lnTo>
                    <a:pt x="931" y="1023"/>
                  </a:lnTo>
                  <a:lnTo>
                    <a:pt x="825" y="1126"/>
                  </a:lnTo>
                  <a:lnTo>
                    <a:pt x="730" y="1242"/>
                  </a:lnTo>
                  <a:lnTo>
                    <a:pt x="653" y="1369"/>
                  </a:lnTo>
                  <a:lnTo>
                    <a:pt x="589" y="1511"/>
                  </a:lnTo>
                  <a:lnTo>
                    <a:pt x="545" y="1662"/>
                  </a:lnTo>
                  <a:lnTo>
                    <a:pt x="520" y="1823"/>
                  </a:lnTo>
                  <a:lnTo>
                    <a:pt x="0" y="1790"/>
                  </a:lnTo>
                  <a:lnTo>
                    <a:pt x="29" y="1548"/>
                  </a:lnTo>
                  <a:lnTo>
                    <a:pt x="89" y="1316"/>
                  </a:lnTo>
                  <a:lnTo>
                    <a:pt x="175" y="1100"/>
                  </a:lnTo>
                  <a:lnTo>
                    <a:pt x="285" y="896"/>
                  </a:lnTo>
                  <a:lnTo>
                    <a:pt x="417" y="712"/>
                  </a:lnTo>
                  <a:lnTo>
                    <a:pt x="571" y="546"/>
                  </a:lnTo>
                  <a:lnTo>
                    <a:pt x="741" y="400"/>
                  </a:lnTo>
                  <a:lnTo>
                    <a:pt x="930" y="272"/>
                  </a:lnTo>
                  <a:lnTo>
                    <a:pt x="1128" y="170"/>
                  </a:lnTo>
                  <a:lnTo>
                    <a:pt x="1340" y="89"/>
                  </a:lnTo>
                  <a:lnTo>
                    <a:pt x="1560" y="34"/>
                  </a:lnTo>
                  <a:lnTo>
                    <a:pt x="1787" y="4"/>
                  </a:lnTo>
                  <a:lnTo>
                    <a:pt x="1902" y="0"/>
                  </a:lnTo>
                  <a:lnTo>
                    <a:pt x="2018" y="1"/>
                  </a:lnTo>
                  <a:lnTo>
                    <a:pt x="2251" y="28"/>
                  </a:lnTo>
                  <a:lnTo>
                    <a:pt x="2484" y="85"/>
                  </a:lnTo>
                  <a:lnTo>
                    <a:pt x="2717" y="174"/>
                  </a:lnTo>
                  <a:lnTo>
                    <a:pt x="2774" y="263"/>
                  </a:lnTo>
                  <a:lnTo>
                    <a:pt x="2849" y="430"/>
                  </a:lnTo>
                  <a:lnTo>
                    <a:pt x="2899" y="607"/>
                  </a:lnTo>
                  <a:lnTo>
                    <a:pt x="2902" y="645"/>
                  </a:lnTo>
                  <a:lnTo>
                    <a:pt x="2902" y="662"/>
                  </a:lnTo>
                  <a:lnTo>
                    <a:pt x="2903" y="680"/>
                  </a:lnTo>
                  <a:lnTo>
                    <a:pt x="2883" y="735"/>
                  </a:lnTo>
                  <a:lnTo>
                    <a:pt x="2832" y="794"/>
                  </a:lnTo>
                  <a:lnTo>
                    <a:pt x="2762" y="834"/>
                  </a:lnTo>
                  <a:lnTo>
                    <a:pt x="2600" y="870"/>
                  </a:lnTo>
                  <a:lnTo>
                    <a:pt x="2451" y="878"/>
                  </a:lnTo>
                  <a:lnTo>
                    <a:pt x="2360" y="899"/>
                  </a:lnTo>
                  <a:close/>
                </a:path>
              </a:pathLst>
            </a:custGeom>
            <a:solidFill>
              <a:srgbClr val="FFED24"/>
            </a:solidFill>
            <a:ln w="9525">
              <a:no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sp>
          <p:nvSpPr>
            <p:cNvPr id="14" name="Freeform 11"/>
            <p:cNvSpPr>
              <a:spLocks/>
            </p:cNvSpPr>
            <p:nvPr/>
          </p:nvSpPr>
          <p:spPr bwMode="auto">
            <a:xfrm rot="-8774515">
              <a:off x="2954" y="778"/>
              <a:ext cx="534" cy="334"/>
            </a:xfrm>
            <a:custGeom>
              <a:avLst/>
              <a:gdLst>
                <a:gd name="T0" fmla="*/ 1926 w 2459"/>
                <a:gd name="T1" fmla="*/ 616 h 1540"/>
                <a:gd name="T2" fmla="*/ 1780 w 2459"/>
                <a:gd name="T3" fmla="*/ 544 h 1540"/>
                <a:gd name="T4" fmla="*/ 1630 w 2459"/>
                <a:gd name="T5" fmla="*/ 490 h 1540"/>
                <a:gd name="T6" fmla="*/ 1478 w 2459"/>
                <a:gd name="T7" fmla="*/ 458 h 1540"/>
                <a:gd name="T8" fmla="*/ 1324 w 2459"/>
                <a:gd name="T9" fmla="*/ 445 h 1540"/>
                <a:gd name="T10" fmla="*/ 1251 w 2459"/>
                <a:gd name="T11" fmla="*/ 445 h 1540"/>
                <a:gd name="T12" fmla="*/ 1175 w 2459"/>
                <a:gd name="T13" fmla="*/ 449 h 1540"/>
                <a:gd name="T14" fmla="*/ 1025 w 2459"/>
                <a:gd name="T15" fmla="*/ 475 h 1540"/>
                <a:gd name="T16" fmla="*/ 882 w 2459"/>
                <a:gd name="T17" fmla="*/ 517 h 1540"/>
                <a:gd name="T18" fmla="*/ 744 w 2459"/>
                <a:gd name="T19" fmla="*/ 577 h 1540"/>
                <a:gd name="T20" fmla="*/ 617 w 2459"/>
                <a:gd name="T21" fmla="*/ 650 h 1540"/>
                <a:gd name="T22" fmla="*/ 497 w 2459"/>
                <a:gd name="T23" fmla="*/ 740 h 1540"/>
                <a:gd name="T24" fmla="*/ 391 w 2459"/>
                <a:gd name="T25" fmla="*/ 843 h 1540"/>
                <a:gd name="T26" fmla="*/ 296 w 2459"/>
                <a:gd name="T27" fmla="*/ 959 h 1540"/>
                <a:gd name="T28" fmla="*/ 219 w 2459"/>
                <a:gd name="T29" fmla="*/ 1086 h 1540"/>
                <a:gd name="T30" fmla="*/ 155 w 2459"/>
                <a:gd name="T31" fmla="*/ 1228 h 1540"/>
                <a:gd name="T32" fmla="*/ 111 w 2459"/>
                <a:gd name="T33" fmla="*/ 1379 h 1540"/>
                <a:gd name="T34" fmla="*/ 86 w 2459"/>
                <a:gd name="T35" fmla="*/ 1540 h 1540"/>
                <a:gd name="T36" fmla="*/ 0 w 2459"/>
                <a:gd name="T37" fmla="*/ 1376 h 1540"/>
                <a:gd name="T38" fmla="*/ 22 w 2459"/>
                <a:gd name="T39" fmla="*/ 1138 h 1540"/>
                <a:gd name="T40" fmla="*/ 60 w 2459"/>
                <a:gd name="T41" fmla="*/ 922 h 1540"/>
                <a:gd name="T42" fmla="*/ 113 w 2459"/>
                <a:gd name="T43" fmla="*/ 731 h 1540"/>
                <a:gd name="T44" fmla="*/ 183 w 2459"/>
                <a:gd name="T45" fmla="*/ 559 h 1540"/>
                <a:gd name="T46" fmla="*/ 265 w 2459"/>
                <a:gd name="T47" fmla="*/ 413 h 1540"/>
                <a:gd name="T48" fmla="*/ 363 w 2459"/>
                <a:gd name="T49" fmla="*/ 288 h 1540"/>
                <a:gd name="T50" fmla="*/ 473 w 2459"/>
                <a:gd name="T51" fmla="*/ 187 h 1540"/>
                <a:gd name="T52" fmla="*/ 599 w 2459"/>
                <a:gd name="T53" fmla="*/ 105 h 1540"/>
                <a:gd name="T54" fmla="*/ 736 w 2459"/>
                <a:gd name="T55" fmla="*/ 50 h 1540"/>
                <a:gd name="T56" fmla="*/ 889 w 2459"/>
                <a:gd name="T57" fmla="*/ 13 h 1540"/>
                <a:gd name="T58" fmla="*/ 1052 w 2459"/>
                <a:gd name="T59" fmla="*/ 0 h 1540"/>
                <a:gd name="T60" fmla="*/ 1139 w 2459"/>
                <a:gd name="T61" fmla="*/ 0 h 1540"/>
                <a:gd name="T62" fmla="*/ 1230 w 2459"/>
                <a:gd name="T63" fmla="*/ 6 h 1540"/>
                <a:gd name="T64" fmla="*/ 1418 w 2459"/>
                <a:gd name="T65" fmla="*/ 35 h 1540"/>
                <a:gd name="T66" fmla="*/ 1620 w 2459"/>
                <a:gd name="T67" fmla="*/ 87 h 1540"/>
                <a:gd name="T68" fmla="*/ 1832 w 2459"/>
                <a:gd name="T69" fmla="*/ 160 h 1540"/>
                <a:gd name="T70" fmla="*/ 2059 w 2459"/>
                <a:gd name="T71" fmla="*/ 257 h 1540"/>
                <a:gd name="T72" fmla="*/ 2151 w 2459"/>
                <a:gd name="T73" fmla="*/ 290 h 1540"/>
                <a:gd name="T74" fmla="*/ 2303 w 2459"/>
                <a:gd name="T75" fmla="*/ 331 h 1540"/>
                <a:gd name="T76" fmla="*/ 2429 w 2459"/>
                <a:gd name="T77" fmla="*/ 382 h 1540"/>
                <a:gd name="T78" fmla="*/ 2458 w 2459"/>
                <a:gd name="T79" fmla="*/ 413 h 1540"/>
                <a:gd name="T80" fmla="*/ 2459 w 2459"/>
                <a:gd name="T81" fmla="*/ 432 h 1540"/>
                <a:gd name="T82" fmla="*/ 2449 w 2459"/>
                <a:gd name="T83" fmla="*/ 452 h 1540"/>
                <a:gd name="T84" fmla="*/ 2398 w 2459"/>
                <a:gd name="T85" fmla="*/ 511 h 1540"/>
                <a:gd name="T86" fmla="*/ 2328 w 2459"/>
                <a:gd name="T87" fmla="*/ 551 h 1540"/>
                <a:gd name="T88" fmla="*/ 2166 w 2459"/>
                <a:gd name="T89" fmla="*/ 587 h 1540"/>
                <a:gd name="T90" fmla="*/ 2017 w 2459"/>
                <a:gd name="T91" fmla="*/ 595 h 1540"/>
                <a:gd name="T92" fmla="*/ 1926 w 2459"/>
                <a:gd name="T93" fmla="*/ 616 h 154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59"/>
                <a:gd name="T142" fmla="*/ 0 h 1540"/>
                <a:gd name="T143" fmla="*/ 2459 w 2459"/>
                <a:gd name="T144" fmla="*/ 1540 h 154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59" h="1540">
                  <a:moveTo>
                    <a:pt x="1926" y="616"/>
                  </a:moveTo>
                  <a:lnTo>
                    <a:pt x="1780" y="544"/>
                  </a:lnTo>
                  <a:lnTo>
                    <a:pt x="1630" y="490"/>
                  </a:lnTo>
                  <a:lnTo>
                    <a:pt x="1478" y="458"/>
                  </a:lnTo>
                  <a:lnTo>
                    <a:pt x="1324" y="445"/>
                  </a:lnTo>
                  <a:lnTo>
                    <a:pt x="1251" y="445"/>
                  </a:lnTo>
                  <a:lnTo>
                    <a:pt x="1175" y="449"/>
                  </a:lnTo>
                  <a:lnTo>
                    <a:pt x="1025" y="475"/>
                  </a:lnTo>
                  <a:lnTo>
                    <a:pt x="882" y="517"/>
                  </a:lnTo>
                  <a:lnTo>
                    <a:pt x="744" y="577"/>
                  </a:lnTo>
                  <a:lnTo>
                    <a:pt x="617" y="650"/>
                  </a:lnTo>
                  <a:lnTo>
                    <a:pt x="497" y="740"/>
                  </a:lnTo>
                  <a:lnTo>
                    <a:pt x="391" y="843"/>
                  </a:lnTo>
                  <a:lnTo>
                    <a:pt x="296" y="959"/>
                  </a:lnTo>
                  <a:lnTo>
                    <a:pt x="219" y="1086"/>
                  </a:lnTo>
                  <a:lnTo>
                    <a:pt x="155" y="1228"/>
                  </a:lnTo>
                  <a:lnTo>
                    <a:pt x="111" y="1379"/>
                  </a:lnTo>
                  <a:lnTo>
                    <a:pt x="86" y="1540"/>
                  </a:lnTo>
                  <a:lnTo>
                    <a:pt x="0" y="1376"/>
                  </a:lnTo>
                  <a:lnTo>
                    <a:pt x="22" y="1138"/>
                  </a:lnTo>
                  <a:lnTo>
                    <a:pt x="60" y="922"/>
                  </a:lnTo>
                  <a:lnTo>
                    <a:pt x="113" y="731"/>
                  </a:lnTo>
                  <a:lnTo>
                    <a:pt x="183" y="559"/>
                  </a:lnTo>
                  <a:lnTo>
                    <a:pt x="265" y="413"/>
                  </a:lnTo>
                  <a:lnTo>
                    <a:pt x="363" y="288"/>
                  </a:lnTo>
                  <a:lnTo>
                    <a:pt x="473" y="187"/>
                  </a:lnTo>
                  <a:lnTo>
                    <a:pt x="599" y="105"/>
                  </a:lnTo>
                  <a:lnTo>
                    <a:pt x="736" y="50"/>
                  </a:lnTo>
                  <a:lnTo>
                    <a:pt x="889" y="13"/>
                  </a:lnTo>
                  <a:lnTo>
                    <a:pt x="1052" y="0"/>
                  </a:lnTo>
                  <a:lnTo>
                    <a:pt x="1139" y="0"/>
                  </a:lnTo>
                  <a:lnTo>
                    <a:pt x="1230" y="6"/>
                  </a:lnTo>
                  <a:lnTo>
                    <a:pt x="1418" y="35"/>
                  </a:lnTo>
                  <a:lnTo>
                    <a:pt x="1620" y="87"/>
                  </a:lnTo>
                  <a:lnTo>
                    <a:pt x="1832" y="160"/>
                  </a:lnTo>
                  <a:lnTo>
                    <a:pt x="2059" y="257"/>
                  </a:lnTo>
                  <a:lnTo>
                    <a:pt x="2151" y="290"/>
                  </a:lnTo>
                  <a:lnTo>
                    <a:pt x="2303" y="331"/>
                  </a:lnTo>
                  <a:lnTo>
                    <a:pt x="2429" y="382"/>
                  </a:lnTo>
                  <a:lnTo>
                    <a:pt x="2458" y="413"/>
                  </a:lnTo>
                  <a:lnTo>
                    <a:pt x="2459" y="432"/>
                  </a:lnTo>
                  <a:lnTo>
                    <a:pt x="2449" y="452"/>
                  </a:lnTo>
                  <a:lnTo>
                    <a:pt x="2398" y="511"/>
                  </a:lnTo>
                  <a:lnTo>
                    <a:pt x="2328" y="551"/>
                  </a:lnTo>
                  <a:lnTo>
                    <a:pt x="2166" y="587"/>
                  </a:lnTo>
                  <a:lnTo>
                    <a:pt x="2017" y="595"/>
                  </a:lnTo>
                  <a:lnTo>
                    <a:pt x="1926" y="616"/>
                  </a:lnTo>
                  <a:close/>
                </a:path>
              </a:pathLst>
            </a:custGeom>
            <a:solidFill>
              <a:srgbClr val="FFAD2C"/>
            </a:solidFill>
            <a:ln w="9525">
              <a:no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sp>
          <p:nvSpPr>
            <p:cNvPr id="15" name="Freeform 12"/>
            <p:cNvSpPr>
              <a:spLocks/>
            </p:cNvSpPr>
            <p:nvPr/>
          </p:nvSpPr>
          <p:spPr bwMode="auto">
            <a:xfrm rot="-8774515">
              <a:off x="2962" y="834"/>
              <a:ext cx="573" cy="355"/>
            </a:xfrm>
            <a:custGeom>
              <a:avLst/>
              <a:gdLst>
                <a:gd name="T0" fmla="*/ 2296 w 2639"/>
                <a:gd name="T1" fmla="*/ 773 h 1636"/>
                <a:gd name="T2" fmla="*/ 2153 w 2639"/>
                <a:gd name="T3" fmla="*/ 695 h 1636"/>
                <a:gd name="T4" fmla="*/ 2004 w 2639"/>
                <a:gd name="T5" fmla="*/ 637 h 1636"/>
                <a:gd name="T6" fmla="*/ 1852 w 2639"/>
                <a:gd name="T7" fmla="*/ 601 h 1636"/>
                <a:gd name="T8" fmla="*/ 1699 w 2639"/>
                <a:gd name="T9" fmla="*/ 581 h 1636"/>
                <a:gd name="T10" fmla="*/ 1624 w 2639"/>
                <a:gd name="T11" fmla="*/ 580 h 1636"/>
                <a:gd name="T12" fmla="*/ 1548 w 2639"/>
                <a:gd name="T13" fmla="*/ 581 h 1636"/>
                <a:gd name="T14" fmla="*/ 1397 w 2639"/>
                <a:gd name="T15" fmla="*/ 600 h 1636"/>
                <a:gd name="T16" fmla="*/ 1252 w 2639"/>
                <a:gd name="T17" fmla="*/ 636 h 1636"/>
                <a:gd name="T18" fmla="*/ 1110 w 2639"/>
                <a:gd name="T19" fmla="*/ 691 h 1636"/>
                <a:gd name="T20" fmla="*/ 978 w 2639"/>
                <a:gd name="T21" fmla="*/ 759 h 1636"/>
                <a:gd name="T22" fmla="*/ 853 w 2639"/>
                <a:gd name="T23" fmla="*/ 843 h 1636"/>
                <a:gd name="T24" fmla="*/ 740 w 2639"/>
                <a:gd name="T25" fmla="*/ 943 h 1636"/>
                <a:gd name="T26" fmla="*/ 637 w 2639"/>
                <a:gd name="T27" fmla="*/ 1058 h 1636"/>
                <a:gd name="T28" fmla="*/ 551 w 2639"/>
                <a:gd name="T29" fmla="*/ 1183 h 1636"/>
                <a:gd name="T30" fmla="*/ 479 w 2639"/>
                <a:gd name="T31" fmla="*/ 1323 h 1636"/>
                <a:gd name="T32" fmla="*/ 423 w 2639"/>
                <a:gd name="T33" fmla="*/ 1474 h 1636"/>
                <a:gd name="T34" fmla="*/ 385 w 2639"/>
                <a:gd name="T35" fmla="*/ 1636 h 1636"/>
                <a:gd name="T36" fmla="*/ 0 w 2639"/>
                <a:gd name="T37" fmla="*/ 1580 h 1636"/>
                <a:gd name="T38" fmla="*/ 43 w 2639"/>
                <a:gd name="T39" fmla="*/ 1356 h 1636"/>
                <a:gd name="T40" fmla="*/ 113 w 2639"/>
                <a:gd name="T41" fmla="*/ 1144 h 1636"/>
                <a:gd name="T42" fmla="*/ 205 w 2639"/>
                <a:gd name="T43" fmla="*/ 948 h 1636"/>
                <a:gd name="T44" fmla="*/ 321 w 2639"/>
                <a:gd name="T45" fmla="*/ 765 h 1636"/>
                <a:gd name="T46" fmla="*/ 454 w 2639"/>
                <a:gd name="T47" fmla="*/ 601 h 1636"/>
                <a:gd name="T48" fmla="*/ 607 w 2639"/>
                <a:gd name="T49" fmla="*/ 454 h 1636"/>
                <a:gd name="T50" fmla="*/ 774 w 2639"/>
                <a:gd name="T51" fmla="*/ 324 h 1636"/>
                <a:gd name="T52" fmla="*/ 955 w 2639"/>
                <a:gd name="T53" fmla="*/ 214 h 1636"/>
                <a:gd name="T54" fmla="*/ 1146 w 2639"/>
                <a:gd name="T55" fmla="*/ 128 h 1636"/>
                <a:gd name="T56" fmla="*/ 1347 w 2639"/>
                <a:gd name="T57" fmla="*/ 63 h 1636"/>
                <a:gd name="T58" fmla="*/ 1554 w 2639"/>
                <a:gd name="T59" fmla="*/ 21 h 1636"/>
                <a:gd name="T60" fmla="*/ 1769 w 2639"/>
                <a:gd name="T61" fmla="*/ 1 h 1636"/>
                <a:gd name="T62" fmla="*/ 1875 w 2639"/>
                <a:gd name="T63" fmla="*/ 0 h 1636"/>
                <a:gd name="T64" fmla="*/ 1984 w 2639"/>
                <a:gd name="T65" fmla="*/ 5 h 1636"/>
                <a:gd name="T66" fmla="*/ 2201 w 2639"/>
                <a:gd name="T67" fmla="*/ 38 h 1636"/>
                <a:gd name="T68" fmla="*/ 2416 w 2639"/>
                <a:gd name="T69" fmla="*/ 98 h 1636"/>
                <a:gd name="T70" fmla="*/ 2630 w 2639"/>
                <a:gd name="T71" fmla="*/ 189 h 1636"/>
                <a:gd name="T72" fmla="*/ 2637 w 2639"/>
                <a:gd name="T73" fmla="*/ 204 h 1636"/>
                <a:gd name="T74" fmla="*/ 2639 w 2639"/>
                <a:gd name="T75" fmla="*/ 228 h 1636"/>
                <a:gd name="T76" fmla="*/ 2624 w 2639"/>
                <a:gd name="T77" fmla="*/ 292 h 1636"/>
                <a:gd name="T78" fmla="*/ 2535 w 2639"/>
                <a:gd name="T79" fmla="*/ 462 h 1636"/>
                <a:gd name="T80" fmla="*/ 2412 w 2639"/>
                <a:gd name="T81" fmla="*/ 642 h 1636"/>
                <a:gd name="T82" fmla="*/ 2296 w 2639"/>
                <a:gd name="T83" fmla="*/ 773 h 16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639"/>
                <a:gd name="T127" fmla="*/ 0 h 1636"/>
                <a:gd name="T128" fmla="*/ 2639 w 2639"/>
                <a:gd name="T129" fmla="*/ 1636 h 16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639" h="1636">
                  <a:moveTo>
                    <a:pt x="2296" y="773"/>
                  </a:moveTo>
                  <a:lnTo>
                    <a:pt x="2153" y="695"/>
                  </a:lnTo>
                  <a:lnTo>
                    <a:pt x="2004" y="637"/>
                  </a:lnTo>
                  <a:lnTo>
                    <a:pt x="1852" y="601"/>
                  </a:lnTo>
                  <a:lnTo>
                    <a:pt x="1699" y="581"/>
                  </a:lnTo>
                  <a:lnTo>
                    <a:pt x="1624" y="580"/>
                  </a:lnTo>
                  <a:lnTo>
                    <a:pt x="1548" y="581"/>
                  </a:lnTo>
                  <a:lnTo>
                    <a:pt x="1397" y="600"/>
                  </a:lnTo>
                  <a:lnTo>
                    <a:pt x="1252" y="636"/>
                  </a:lnTo>
                  <a:lnTo>
                    <a:pt x="1110" y="691"/>
                  </a:lnTo>
                  <a:lnTo>
                    <a:pt x="978" y="759"/>
                  </a:lnTo>
                  <a:lnTo>
                    <a:pt x="853" y="843"/>
                  </a:lnTo>
                  <a:lnTo>
                    <a:pt x="740" y="943"/>
                  </a:lnTo>
                  <a:lnTo>
                    <a:pt x="637" y="1058"/>
                  </a:lnTo>
                  <a:lnTo>
                    <a:pt x="551" y="1183"/>
                  </a:lnTo>
                  <a:lnTo>
                    <a:pt x="479" y="1323"/>
                  </a:lnTo>
                  <a:lnTo>
                    <a:pt x="423" y="1474"/>
                  </a:lnTo>
                  <a:lnTo>
                    <a:pt x="385" y="1636"/>
                  </a:lnTo>
                  <a:lnTo>
                    <a:pt x="0" y="1580"/>
                  </a:lnTo>
                  <a:lnTo>
                    <a:pt x="43" y="1356"/>
                  </a:lnTo>
                  <a:lnTo>
                    <a:pt x="113" y="1144"/>
                  </a:lnTo>
                  <a:lnTo>
                    <a:pt x="205" y="948"/>
                  </a:lnTo>
                  <a:lnTo>
                    <a:pt x="321" y="765"/>
                  </a:lnTo>
                  <a:lnTo>
                    <a:pt x="454" y="601"/>
                  </a:lnTo>
                  <a:lnTo>
                    <a:pt x="607" y="454"/>
                  </a:lnTo>
                  <a:lnTo>
                    <a:pt x="774" y="324"/>
                  </a:lnTo>
                  <a:lnTo>
                    <a:pt x="955" y="214"/>
                  </a:lnTo>
                  <a:lnTo>
                    <a:pt x="1146" y="128"/>
                  </a:lnTo>
                  <a:lnTo>
                    <a:pt x="1347" y="63"/>
                  </a:lnTo>
                  <a:lnTo>
                    <a:pt x="1554" y="21"/>
                  </a:lnTo>
                  <a:lnTo>
                    <a:pt x="1769" y="1"/>
                  </a:lnTo>
                  <a:lnTo>
                    <a:pt x="1875" y="0"/>
                  </a:lnTo>
                  <a:lnTo>
                    <a:pt x="1984" y="5"/>
                  </a:lnTo>
                  <a:lnTo>
                    <a:pt x="2201" y="38"/>
                  </a:lnTo>
                  <a:lnTo>
                    <a:pt x="2416" y="98"/>
                  </a:lnTo>
                  <a:lnTo>
                    <a:pt x="2630" y="189"/>
                  </a:lnTo>
                  <a:lnTo>
                    <a:pt x="2637" y="204"/>
                  </a:lnTo>
                  <a:lnTo>
                    <a:pt x="2639" y="228"/>
                  </a:lnTo>
                  <a:lnTo>
                    <a:pt x="2624" y="292"/>
                  </a:lnTo>
                  <a:lnTo>
                    <a:pt x="2535" y="462"/>
                  </a:lnTo>
                  <a:lnTo>
                    <a:pt x="2412" y="642"/>
                  </a:lnTo>
                  <a:lnTo>
                    <a:pt x="2296" y="773"/>
                  </a:lnTo>
                  <a:close/>
                </a:path>
              </a:pathLst>
            </a:custGeom>
            <a:gradFill rotWithShape="1">
              <a:gsLst>
                <a:gs pos="0">
                  <a:srgbClr val="746113"/>
                </a:gs>
                <a:gs pos="100000">
                  <a:srgbClr val="FBD128"/>
                </a:gs>
              </a:gsLst>
              <a:path path="rect">
                <a:fillToRect l="50000" t="50000" r="50000" b="50000"/>
              </a:path>
            </a:gradFill>
            <a:ln w="9525">
              <a:no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grpSp>
          <p:nvGrpSpPr>
            <p:cNvPr id="3" name="Group 13"/>
            <p:cNvGrpSpPr>
              <a:grpSpLocks/>
            </p:cNvGrpSpPr>
            <p:nvPr/>
          </p:nvGrpSpPr>
          <p:grpSpPr bwMode="auto">
            <a:xfrm rot="2871783">
              <a:off x="2816" y="755"/>
              <a:ext cx="294" cy="339"/>
              <a:chOff x="2005" y="2786"/>
              <a:chExt cx="672" cy="781"/>
            </a:xfrm>
          </p:grpSpPr>
          <p:sp>
            <p:nvSpPr>
              <p:cNvPr id="17" name="Freeform 14"/>
              <p:cNvSpPr>
                <a:spLocks/>
              </p:cNvSpPr>
              <p:nvPr/>
            </p:nvSpPr>
            <p:spPr bwMode="auto">
              <a:xfrm rot="9953702">
                <a:off x="2370" y="3196"/>
                <a:ext cx="78" cy="330"/>
              </a:xfrm>
              <a:custGeom>
                <a:avLst/>
                <a:gdLst>
                  <a:gd name="T0" fmla="*/ 21 w 156"/>
                  <a:gd name="T1" fmla="*/ 389 h 660"/>
                  <a:gd name="T2" fmla="*/ 0 w 156"/>
                  <a:gd name="T3" fmla="*/ 0 h 660"/>
                  <a:gd name="T4" fmla="*/ 91 w 156"/>
                  <a:gd name="T5" fmla="*/ 283 h 660"/>
                  <a:gd name="T6" fmla="*/ 156 w 156"/>
                  <a:gd name="T7" fmla="*/ 660 h 660"/>
                  <a:gd name="T8" fmla="*/ 21 w 156"/>
                  <a:gd name="T9" fmla="*/ 389 h 660"/>
                  <a:gd name="T10" fmla="*/ 0 60000 65536"/>
                  <a:gd name="T11" fmla="*/ 0 60000 65536"/>
                  <a:gd name="T12" fmla="*/ 0 60000 65536"/>
                  <a:gd name="T13" fmla="*/ 0 60000 65536"/>
                  <a:gd name="T14" fmla="*/ 0 60000 65536"/>
                  <a:gd name="T15" fmla="*/ 0 w 156"/>
                  <a:gd name="T16" fmla="*/ 0 h 660"/>
                  <a:gd name="T17" fmla="*/ 156 w 156"/>
                  <a:gd name="T18" fmla="*/ 660 h 660"/>
                </a:gdLst>
                <a:ahLst/>
                <a:cxnLst>
                  <a:cxn ang="T10">
                    <a:pos x="T0" y="T1"/>
                  </a:cxn>
                  <a:cxn ang="T11">
                    <a:pos x="T2" y="T3"/>
                  </a:cxn>
                  <a:cxn ang="T12">
                    <a:pos x="T4" y="T5"/>
                  </a:cxn>
                  <a:cxn ang="T13">
                    <a:pos x="T6" y="T7"/>
                  </a:cxn>
                  <a:cxn ang="T14">
                    <a:pos x="T8" y="T9"/>
                  </a:cxn>
                </a:cxnLst>
                <a:rect l="T15" t="T16" r="T17" b="T18"/>
                <a:pathLst>
                  <a:path w="156" h="660">
                    <a:moveTo>
                      <a:pt x="21" y="389"/>
                    </a:moveTo>
                    <a:lnTo>
                      <a:pt x="0" y="0"/>
                    </a:lnTo>
                    <a:lnTo>
                      <a:pt x="91" y="283"/>
                    </a:lnTo>
                    <a:lnTo>
                      <a:pt x="156" y="660"/>
                    </a:lnTo>
                    <a:lnTo>
                      <a:pt x="21" y="389"/>
                    </a:lnTo>
                    <a:close/>
                  </a:path>
                </a:pathLst>
              </a:custGeom>
              <a:solidFill>
                <a:srgbClr val="FFED24"/>
              </a:solidFill>
              <a:ln w="9525">
                <a:no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sp>
            <p:nvSpPr>
              <p:cNvPr id="18" name="Freeform 15"/>
              <p:cNvSpPr>
                <a:spLocks/>
              </p:cNvSpPr>
              <p:nvPr/>
            </p:nvSpPr>
            <p:spPr bwMode="auto">
              <a:xfrm rot="9953702">
                <a:off x="2385" y="2786"/>
                <a:ext cx="290" cy="155"/>
              </a:xfrm>
              <a:custGeom>
                <a:avLst/>
                <a:gdLst>
                  <a:gd name="T0" fmla="*/ 335 w 582"/>
                  <a:gd name="T1" fmla="*/ 22 h 310"/>
                  <a:gd name="T2" fmla="*/ 0 w 582"/>
                  <a:gd name="T3" fmla="*/ 310 h 310"/>
                  <a:gd name="T4" fmla="*/ 258 w 582"/>
                  <a:gd name="T5" fmla="*/ 189 h 310"/>
                  <a:gd name="T6" fmla="*/ 582 w 582"/>
                  <a:gd name="T7" fmla="*/ 0 h 310"/>
                  <a:gd name="T8" fmla="*/ 335 w 582"/>
                  <a:gd name="T9" fmla="*/ 22 h 310"/>
                  <a:gd name="T10" fmla="*/ 0 60000 65536"/>
                  <a:gd name="T11" fmla="*/ 0 60000 65536"/>
                  <a:gd name="T12" fmla="*/ 0 60000 65536"/>
                  <a:gd name="T13" fmla="*/ 0 60000 65536"/>
                  <a:gd name="T14" fmla="*/ 0 60000 65536"/>
                  <a:gd name="T15" fmla="*/ 0 w 582"/>
                  <a:gd name="T16" fmla="*/ 0 h 310"/>
                  <a:gd name="T17" fmla="*/ 582 w 582"/>
                  <a:gd name="T18" fmla="*/ 310 h 310"/>
                </a:gdLst>
                <a:ahLst/>
                <a:cxnLst>
                  <a:cxn ang="T10">
                    <a:pos x="T0" y="T1"/>
                  </a:cxn>
                  <a:cxn ang="T11">
                    <a:pos x="T2" y="T3"/>
                  </a:cxn>
                  <a:cxn ang="T12">
                    <a:pos x="T4" y="T5"/>
                  </a:cxn>
                  <a:cxn ang="T13">
                    <a:pos x="T6" y="T7"/>
                  </a:cxn>
                  <a:cxn ang="T14">
                    <a:pos x="T8" y="T9"/>
                  </a:cxn>
                </a:cxnLst>
                <a:rect l="T15" t="T16" r="T17" b="T18"/>
                <a:pathLst>
                  <a:path w="582" h="310">
                    <a:moveTo>
                      <a:pt x="335" y="22"/>
                    </a:moveTo>
                    <a:lnTo>
                      <a:pt x="0" y="310"/>
                    </a:lnTo>
                    <a:lnTo>
                      <a:pt x="258" y="189"/>
                    </a:lnTo>
                    <a:lnTo>
                      <a:pt x="582" y="0"/>
                    </a:lnTo>
                    <a:lnTo>
                      <a:pt x="335" y="22"/>
                    </a:lnTo>
                    <a:close/>
                  </a:path>
                </a:pathLst>
              </a:custGeom>
              <a:solidFill>
                <a:srgbClr val="FFED24"/>
              </a:solidFill>
              <a:ln w="9525">
                <a:no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sp>
            <p:nvSpPr>
              <p:cNvPr id="19" name="Freeform 16"/>
              <p:cNvSpPr>
                <a:spLocks/>
              </p:cNvSpPr>
              <p:nvPr/>
            </p:nvSpPr>
            <p:spPr bwMode="auto">
              <a:xfrm rot="9953702">
                <a:off x="2082" y="2977"/>
                <a:ext cx="342" cy="590"/>
              </a:xfrm>
              <a:custGeom>
                <a:avLst/>
                <a:gdLst>
                  <a:gd name="T0" fmla="*/ 684 w 684"/>
                  <a:gd name="T1" fmla="*/ 1179 h 1179"/>
                  <a:gd name="T2" fmla="*/ 404 w 684"/>
                  <a:gd name="T3" fmla="*/ 1023 h 1179"/>
                  <a:gd name="T4" fmla="*/ 99 w 684"/>
                  <a:gd name="T5" fmla="*/ 313 h 1179"/>
                  <a:gd name="T6" fmla="*/ 0 w 684"/>
                  <a:gd name="T7" fmla="*/ 0 h 1179"/>
                  <a:gd name="T8" fmla="*/ 684 w 684"/>
                  <a:gd name="T9" fmla="*/ 1179 h 1179"/>
                  <a:gd name="T10" fmla="*/ 0 60000 65536"/>
                  <a:gd name="T11" fmla="*/ 0 60000 65536"/>
                  <a:gd name="T12" fmla="*/ 0 60000 65536"/>
                  <a:gd name="T13" fmla="*/ 0 60000 65536"/>
                  <a:gd name="T14" fmla="*/ 0 60000 65536"/>
                  <a:gd name="T15" fmla="*/ 0 w 684"/>
                  <a:gd name="T16" fmla="*/ 0 h 1179"/>
                  <a:gd name="T17" fmla="*/ 684 w 684"/>
                  <a:gd name="T18" fmla="*/ 1179 h 1179"/>
                </a:gdLst>
                <a:ahLst/>
                <a:cxnLst>
                  <a:cxn ang="T10">
                    <a:pos x="T0" y="T1"/>
                  </a:cxn>
                  <a:cxn ang="T11">
                    <a:pos x="T2" y="T3"/>
                  </a:cxn>
                  <a:cxn ang="T12">
                    <a:pos x="T4" y="T5"/>
                  </a:cxn>
                  <a:cxn ang="T13">
                    <a:pos x="T6" y="T7"/>
                  </a:cxn>
                  <a:cxn ang="T14">
                    <a:pos x="T8" y="T9"/>
                  </a:cxn>
                </a:cxnLst>
                <a:rect l="T15" t="T16" r="T17" b="T18"/>
                <a:pathLst>
                  <a:path w="684" h="1179">
                    <a:moveTo>
                      <a:pt x="684" y="1179"/>
                    </a:moveTo>
                    <a:lnTo>
                      <a:pt x="404" y="1023"/>
                    </a:lnTo>
                    <a:lnTo>
                      <a:pt x="99" y="313"/>
                    </a:lnTo>
                    <a:lnTo>
                      <a:pt x="0" y="0"/>
                    </a:lnTo>
                    <a:lnTo>
                      <a:pt x="684" y="1179"/>
                    </a:lnTo>
                    <a:close/>
                  </a:path>
                </a:pathLst>
              </a:custGeom>
              <a:solidFill>
                <a:srgbClr val="FFAD2C"/>
              </a:solidFill>
              <a:ln w="9525">
                <a:no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sp>
            <p:nvSpPr>
              <p:cNvPr id="20" name="Freeform 17"/>
              <p:cNvSpPr>
                <a:spLocks/>
              </p:cNvSpPr>
              <p:nvPr/>
            </p:nvSpPr>
            <p:spPr bwMode="auto">
              <a:xfrm rot="9953702">
                <a:off x="2005" y="2848"/>
                <a:ext cx="672" cy="176"/>
              </a:xfrm>
              <a:custGeom>
                <a:avLst/>
                <a:gdLst>
                  <a:gd name="T0" fmla="*/ 1345 w 1345"/>
                  <a:gd name="T1" fmla="*/ 154 h 352"/>
                  <a:gd name="T2" fmla="*/ 0 w 1345"/>
                  <a:gd name="T3" fmla="*/ 352 h 352"/>
                  <a:gd name="T4" fmla="*/ 240 w 1345"/>
                  <a:gd name="T5" fmla="*/ 229 h 352"/>
                  <a:gd name="T6" fmla="*/ 889 w 1345"/>
                  <a:gd name="T7" fmla="*/ 0 h 352"/>
                  <a:gd name="T8" fmla="*/ 1244 w 1345"/>
                  <a:gd name="T9" fmla="*/ 98 h 352"/>
                  <a:gd name="T10" fmla="*/ 1345 w 1345"/>
                  <a:gd name="T11" fmla="*/ 154 h 352"/>
                  <a:gd name="T12" fmla="*/ 0 60000 65536"/>
                  <a:gd name="T13" fmla="*/ 0 60000 65536"/>
                  <a:gd name="T14" fmla="*/ 0 60000 65536"/>
                  <a:gd name="T15" fmla="*/ 0 60000 65536"/>
                  <a:gd name="T16" fmla="*/ 0 60000 65536"/>
                  <a:gd name="T17" fmla="*/ 0 60000 65536"/>
                  <a:gd name="T18" fmla="*/ 0 w 1345"/>
                  <a:gd name="T19" fmla="*/ 0 h 352"/>
                  <a:gd name="T20" fmla="*/ 1345 w 1345"/>
                  <a:gd name="T21" fmla="*/ 352 h 352"/>
                </a:gdLst>
                <a:ahLst/>
                <a:cxnLst>
                  <a:cxn ang="T12">
                    <a:pos x="T0" y="T1"/>
                  </a:cxn>
                  <a:cxn ang="T13">
                    <a:pos x="T2" y="T3"/>
                  </a:cxn>
                  <a:cxn ang="T14">
                    <a:pos x="T4" y="T5"/>
                  </a:cxn>
                  <a:cxn ang="T15">
                    <a:pos x="T6" y="T7"/>
                  </a:cxn>
                  <a:cxn ang="T16">
                    <a:pos x="T8" y="T9"/>
                  </a:cxn>
                  <a:cxn ang="T17">
                    <a:pos x="T10" y="T11"/>
                  </a:cxn>
                </a:cxnLst>
                <a:rect l="T18" t="T19" r="T20" b="T21"/>
                <a:pathLst>
                  <a:path w="1345" h="352">
                    <a:moveTo>
                      <a:pt x="1345" y="154"/>
                    </a:moveTo>
                    <a:lnTo>
                      <a:pt x="0" y="352"/>
                    </a:lnTo>
                    <a:lnTo>
                      <a:pt x="240" y="229"/>
                    </a:lnTo>
                    <a:lnTo>
                      <a:pt x="889" y="0"/>
                    </a:lnTo>
                    <a:lnTo>
                      <a:pt x="1244" y="98"/>
                    </a:lnTo>
                    <a:lnTo>
                      <a:pt x="1345" y="154"/>
                    </a:lnTo>
                    <a:close/>
                  </a:path>
                </a:pathLst>
              </a:custGeom>
              <a:solidFill>
                <a:srgbClr val="FB9214"/>
              </a:solidFill>
              <a:ln w="11113">
                <a:solidFill>
                  <a:srgbClr val="FB9214"/>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sp>
            <p:nvSpPr>
              <p:cNvPr id="21" name="Freeform 18"/>
              <p:cNvSpPr>
                <a:spLocks/>
              </p:cNvSpPr>
              <p:nvPr/>
            </p:nvSpPr>
            <p:spPr bwMode="auto">
              <a:xfrm rot="9953702">
                <a:off x="2111" y="2890"/>
                <a:ext cx="513" cy="502"/>
              </a:xfrm>
              <a:custGeom>
                <a:avLst/>
                <a:gdLst>
                  <a:gd name="T0" fmla="*/ 546 w 1025"/>
                  <a:gd name="T1" fmla="*/ 0 h 1004"/>
                  <a:gd name="T2" fmla="*/ 1025 w 1025"/>
                  <a:gd name="T3" fmla="*/ 831 h 1004"/>
                  <a:gd name="T4" fmla="*/ 0 w 1025"/>
                  <a:gd name="T5" fmla="*/ 1004 h 1004"/>
                  <a:gd name="T6" fmla="*/ 221 w 1025"/>
                  <a:gd name="T7" fmla="*/ 816 h 1004"/>
                  <a:gd name="T8" fmla="*/ 555 w 1025"/>
                  <a:gd name="T9" fmla="*/ 229 h 1004"/>
                  <a:gd name="T10" fmla="*/ 546 w 1025"/>
                  <a:gd name="T11" fmla="*/ 0 h 1004"/>
                  <a:gd name="T12" fmla="*/ 0 60000 65536"/>
                  <a:gd name="T13" fmla="*/ 0 60000 65536"/>
                  <a:gd name="T14" fmla="*/ 0 60000 65536"/>
                  <a:gd name="T15" fmla="*/ 0 60000 65536"/>
                  <a:gd name="T16" fmla="*/ 0 60000 65536"/>
                  <a:gd name="T17" fmla="*/ 0 60000 65536"/>
                  <a:gd name="T18" fmla="*/ 0 w 1025"/>
                  <a:gd name="T19" fmla="*/ 0 h 1004"/>
                  <a:gd name="T20" fmla="*/ 1025 w 1025"/>
                  <a:gd name="T21" fmla="*/ 1004 h 1004"/>
                </a:gdLst>
                <a:ahLst/>
                <a:cxnLst>
                  <a:cxn ang="T12">
                    <a:pos x="T0" y="T1"/>
                  </a:cxn>
                  <a:cxn ang="T13">
                    <a:pos x="T2" y="T3"/>
                  </a:cxn>
                  <a:cxn ang="T14">
                    <a:pos x="T4" y="T5"/>
                  </a:cxn>
                  <a:cxn ang="T15">
                    <a:pos x="T6" y="T7"/>
                  </a:cxn>
                  <a:cxn ang="T16">
                    <a:pos x="T8" y="T9"/>
                  </a:cxn>
                  <a:cxn ang="T17">
                    <a:pos x="T10" y="T11"/>
                  </a:cxn>
                </a:cxnLst>
                <a:rect l="T18" t="T19" r="T20" b="T21"/>
                <a:pathLst>
                  <a:path w="1025" h="1004">
                    <a:moveTo>
                      <a:pt x="546" y="0"/>
                    </a:moveTo>
                    <a:lnTo>
                      <a:pt x="1025" y="831"/>
                    </a:lnTo>
                    <a:lnTo>
                      <a:pt x="0" y="1004"/>
                    </a:lnTo>
                    <a:lnTo>
                      <a:pt x="221" y="816"/>
                    </a:lnTo>
                    <a:lnTo>
                      <a:pt x="555" y="229"/>
                    </a:lnTo>
                    <a:lnTo>
                      <a:pt x="546" y="0"/>
                    </a:lnTo>
                    <a:close/>
                  </a:path>
                </a:pathLst>
              </a:custGeom>
              <a:solidFill>
                <a:srgbClr val="FBD128"/>
              </a:solidFill>
              <a:ln w="9525">
                <a:no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grpSp>
      </p:grpSp>
      <p:grpSp>
        <p:nvGrpSpPr>
          <p:cNvPr id="4" name="Group 19"/>
          <p:cNvGrpSpPr>
            <a:grpSpLocks/>
          </p:cNvGrpSpPr>
          <p:nvPr/>
        </p:nvGrpSpPr>
        <p:grpSpPr bwMode="auto">
          <a:xfrm rot="1832337">
            <a:off x="1841667" y="4992463"/>
            <a:ext cx="1406525" cy="776288"/>
            <a:chOff x="2789" y="770"/>
            <a:chExt cx="768" cy="424"/>
          </a:xfrm>
        </p:grpSpPr>
        <p:sp>
          <p:nvSpPr>
            <p:cNvPr id="23" name="Freeform 20"/>
            <p:cNvSpPr>
              <a:spLocks/>
            </p:cNvSpPr>
            <p:nvPr/>
          </p:nvSpPr>
          <p:spPr bwMode="auto">
            <a:xfrm rot="-8774515">
              <a:off x="2927" y="798"/>
              <a:ext cx="630" cy="396"/>
            </a:xfrm>
            <a:custGeom>
              <a:avLst/>
              <a:gdLst>
                <a:gd name="T0" fmla="*/ 2360 w 2903"/>
                <a:gd name="T1" fmla="*/ 899 h 1823"/>
                <a:gd name="T2" fmla="*/ 2214 w 2903"/>
                <a:gd name="T3" fmla="*/ 827 h 1823"/>
                <a:gd name="T4" fmla="*/ 2064 w 2903"/>
                <a:gd name="T5" fmla="*/ 773 h 1823"/>
                <a:gd name="T6" fmla="*/ 1912 w 2903"/>
                <a:gd name="T7" fmla="*/ 741 h 1823"/>
                <a:gd name="T8" fmla="*/ 1758 w 2903"/>
                <a:gd name="T9" fmla="*/ 728 h 1823"/>
                <a:gd name="T10" fmla="*/ 1685 w 2903"/>
                <a:gd name="T11" fmla="*/ 728 h 1823"/>
                <a:gd name="T12" fmla="*/ 1609 w 2903"/>
                <a:gd name="T13" fmla="*/ 732 h 1823"/>
                <a:gd name="T14" fmla="*/ 1459 w 2903"/>
                <a:gd name="T15" fmla="*/ 758 h 1823"/>
                <a:gd name="T16" fmla="*/ 1316 w 2903"/>
                <a:gd name="T17" fmla="*/ 800 h 1823"/>
                <a:gd name="T18" fmla="*/ 1178 w 2903"/>
                <a:gd name="T19" fmla="*/ 860 h 1823"/>
                <a:gd name="T20" fmla="*/ 1051 w 2903"/>
                <a:gd name="T21" fmla="*/ 933 h 1823"/>
                <a:gd name="T22" fmla="*/ 931 w 2903"/>
                <a:gd name="T23" fmla="*/ 1023 h 1823"/>
                <a:gd name="T24" fmla="*/ 825 w 2903"/>
                <a:gd name="T25" fmla="*/ 1126 h 1823"/>
                <a:gd name="T26" fmla="*/ 730 w 2903"/>
                <a:gd name="T27" fmla="*/ 1242 h 1823"/>
                <a:gd name="T28" fmla="*/ 653 w 2903"/>
                <a:gd name="T29" fmla="*/ 1369 h 1823"/>
                <a:gd name="T30" fmla="*/ 589 w 2903"/>
                <a:gd name="T31" fmla="*/ 1511 h 1823"/>
                <a:gd name="T32" fmla="*/ 545 w 2903"/>
                <a:gd name="T33" fmla="*/ 1662 h 1823"/>
                <a:gd name="T34" fmla="*/ 520 w 2903"/>
                <a:gd name="T35" fmla="*/ 1823 h 1823"/>
                <a:gd name="T36" fmla="*/ 0 w 2903"/>
                <a:gd name="T37" fmla="*/ 1790 h 1823"/>
                <a:gd name="T38" fmla="*/ 29 w 2903"/>
                <a:gd name="T39" fmla="*/ 1548 h 1823"/>
                <a:gd name="T40" fmla="*/ 89 w 2903"/>
                <a:gd name="T41" fmla="*/ 1316 h 1823"/>
                <a:gd name="T42" fmla="*/ 175 w 2903"/>
                <a:gd name="T43" fmla="*/ 1100 h 1823"/>
                <a:gd name="T44" fmla="*/ 285 w 2903"/>
                <a:gd name="T45" fmla="*/ 896 h 1823"/>
                <a:gd name="T46" fmla="*/ 417 w 2903"/>
                <a:gd name="T47" fmla="*/ 712 h 1823"/>
                <a:gd name="T48" fmla="*/ 571 w 2903"/>
                <a:gd name="T49" fmla="*/ 546 h 1823"/>
                <a:gd name="T50" fmla="*/ 741 w 2903"/>
                <a:gd name="T51" fmla="*/ 400 h 1823"/>
                <a:gd name="T52" fmla="*/ 930 w 2903"/>
                <a:gd name="T53" fmla="*/ 272 h 1823"/>
                <a:gd name="T54" fmla="*/ 1128 w 2903"/>
                <a:gd name="T55" fmla="*/ 170 h 1823"/>
                <a:gd name="T56" fmla="*/ 1340 w 2903"/>
                <a:gd name="T57" fmla="*/ 89 h 1823"/>
                <a:gd name="T58" fmla="*/ 1560 w 2903"/>
                <a:gd name="T59" fmla="*/ 34 h 1823"/>
                <a:gd name="T60" fmla="*/ 1787 w 2903"/>
                <a:gd name="T61" fmla="*/ 4 h 1823"/>
                <a:gd name="T62" fmla="*/ 1902 w 2903"/>
                <a:gd name="T63" fmla="*/ 0 h 1823"/>
                <a:gd name="T64" fmla="*/ 2018 w 2903"/>
                <a:gd name="T65" fmla="*/ 1 h 1823"/>
                <a:gd name="T66" fmla="*/ 2251 w 2903"/>
                <a:gd name="T67" fmla="*/ 28 h 1823"/>
                <a:gd name="T68" fmla="*/ 2484 w 2903"/>
                <a:gd name="T69" fmla="*/ 85 h 1823"/>
                <a:gd name="T70" fmla="*/ 2717 w 2903"/>
                <a:gd name="T71" fmla="*/ 174 h 1823"/>
                <a:gd name="T72" fmla="*/ 2774 w 2903"/>
                <a:gd name="T73" fmla="*/ 263 h 1823"/>
                <a:gd name="T74" fmla="*/ 2849 w 2903"/>
                <a:gd name="T75" fmla="*/ 430 h 1823"/>
                <a:gd name="T76" fmla="*/ 2899 w 2903"/>
                <a:gd name="T77" fmla="*/ 607 h 1823"/>
                <a:gd name="T78" fmla="*/ 2902 w 2903"/>
                <a:gd name="T79" fmla="*/ 645 h 1823"/>
                <a:gd name="T80" fmla="*/ 2902 w 2903"/>
                <a:gd name="T81" fmla="*/ 662 h 1823"/>
                <a:gd name="T82" fmla="*/ 2903 w 2903"/>
                <a:gd name="T83" fmla="*/ 680 h 1823"/>
                <a:gd name="T84" fmla="*/ 2883 w 2903"/>
                <a:gd name="T85" fmla="*/ 735 h 1823"/>
                <a:gd name="T86" fmla="*/ 2832 w 2903"/>
                <a:gd name="T87" fmla="*/ 794 h 1823"/>
                <a:gd name="T88" fmla="*/ 2762 w 2903"/>
                <a:gd name="T89" fmla="*/ 834 h 1823"/>
                <a:gd name="T90" fmla="*/ 2600 w 2903"/>
                <a:gd name="T91" fmla="*/ 870 h 1823"/>
                <a:gd name="T92" fmla="*/ 2451 w 2903"/>
                <a:gd name="T93" fmla="*/ 878 h 1823"/>
                <a:gd name="T94" fmla="*/ 2360 w 2903"/>
                <a:gd name="T95" fmla="*/ 899 h 182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903"/>
                <a:gd name="T145" fmla="*/ 0 h 1823"/>
                <a:gd name="T146" fmla="*/ 2903 w 2903"/>
                <a:gd name="T147" fmla="*/ 1823 h 182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903" h="1823">
                  <a:moveTo>
                    <a:pt x="2360" y="899"/>
                  </a:moveTo>
                  <a:lnTo>
                    <a:pt x="2214" y="827"/>
                  </a:lnTo>
                  <a:lnTo>
                    <a:pt x="2064" y="773"/>
                  </a:lnTo>
                  <a:lnTo>
                    <a:pt x="1912" y="741"/>
                  </a:lnTo>
                  <a:lnTo>
                    <a:pt x="1758" y="728"/>
                  </a:lnTo>
                  <a:lnTo>
                    <a:pt x="1685" y="728"/>
                  </a:lnTo>
                  <a:lnTo>
                    <a:pt x="1609" y="732"/>
                  </a:lnTo>
                  <a:lnTo>
                    <a:pt x="1459" y="758"/>
                  </a:lnTo>
                  <a:lnTo>
                    <a:pt x="1316" y="800"/>
                  </a:lnTo>
                  <a:lnTo>
                    <a:pt x="1178" y="860"/>
                  </a:lnTo>
                  <a:lnTo>
                    <a:pt x="1051" y="933"/>
                  </a:lnTo>
                  <a:lnTo>
                    <a:pt x="931" y="1023"/>
                  </a:lnTo>
                  <a:lnTo>
                    <a:pt x="825" y="1126"/>
                  </a:lnTo>
                  <a:lnTo>
                    <a:pt x="730" y="1242"/>
                  </a:lnTo>
                  <a:lnTo>
                    <a:pt x="653" y="1369"/>
                  </a:lnTo>
                  <a:lnTo>
                    <a:pt x="589" y="1511"/>
                  </a:lnTo>
                  <a:lnTo>
                    <a:pt x="545" y="1662"/>
                  </a:lnTo>
                  <a:lnTo>
                    <a:pt x="520" y="1823"/>
                  </a:lnTo>
                  <a:lnTo>
                    <a:pt x="0" y="1790"/>
                  </a:lnTo>
                  <a:lnTo>
                    <a:pt x="29" y="1548"/>
                  </a:lnTo>
                  <a:lnTo>
                    <a:pt x="89" y="1316"/>
                  </a:lnTo>
                  <a:lnTo>
                    <a:pt x="175" y="1100"/>
                  </a:lnTo>
                  <a:lnTo>
                    <a:pt x="285" y="896"/>
                  </a:lnTo>
                  <a:lnTo>
                    <a:pt x="417" y="712"/>
                  </a:lnTo>
                  <a:lnTo>
                    <a:pt x="571" y="546"/>
                  </a:lnTo>
                  <a:lnTo>
                    <a:pt x="741" y="400"/>
                  </a:lnTo>
                  <a:lnTo>
                    <a:pt x="930" y="272"/>
                  </a:lnTo>
                  <a:lnTo>
                    <a:pt x="1128" y="170"/>
                  </a:lnTo>
                  <a:lnTo>
                    <a:pt x="1340" y="89"/>
                  </a:lnTo>
                  <a:lnTo>
                    <a:pt x="1560" y="34"/>
                  </a:lnTo>
                  <a:lnTo>
                    <a:pt x="1787" y="4"/>
                  </a:lnTo>
                  <a:lnTo>
                    <a:pt x="1902" y="0"/>
                  </a:lnTo>
                  <a:lnTo>
                    <a:pt x="2018" y="1"/>
                  </a:lnTo>
                  <a:lnTo>
                    <a:pt x="2251" y="28"/>
                  </a:lnTo>
                  <a:lnTo>
                    <a:pt x="2484" y="85"/>
                  </a:lnTo>
                  <a:lnTo>
                    <a:pt x="2717" y="174"/>
                  </a:lnTo>
                  <a:lnTo>
                    <a:pt x="2774" y="263"/>
                  </a:lnTo>
                  <a:lnTo>
                    <a:pt x="2849" y="430"/>
                  </a:lnTo>
                  <a:lnTo>
                    <a:pt x="2899" y="607"/>
                  </a:lnTo>
                  <a:lnTo>
                    <a:pt x="2902" y="645"/>
                  </a:lnTo>
                  <a:lnTo>
                    <a:pt x="2902" y="662"/>
                  </a:lnTo>
                  <a:lnTo>
                    <a:pt x="2903" y="680"/>
                  </a:lnTo>
                  <a:lnTo>
                    <a:pt x="2883" y="735"/>
                  </a:lnTo>
                  <a:lnTo>
                    <a:pt x="2832" y="794"/>
                  </a:lnTo>
                  <a:lnTo>
                    <a:pt x="2762" y="834"/>
                  </a:lnTo>
                  <a:lnTo>
                    <a:pt x="2600" y="870"/>
                  </a:lnTo>
                  <a:lnTo>
                    <a:pt x="2451" y="878"/>
                  </a:lnTo>
                  <a:lnTo>
                    <a:pt x="2360" y="899"/>
                  </a:lnTo>
                  <a:close/>
                </a:path>
              </a:pathLst>
            </a:custGeom>
            <a:solidFill>
              <a:srgbClr val="FFED24"/>
            </a:solidFill>
            <a:ln w="9525">
              <a:no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sp>
          <p:nvSpPr>
            <p:cNvPr id="24" name="Freeform 21"/>
            <p:cNvSpPr>
              <a:spLocks/>
            </p:cNvSpPr>
            <p:nvPr/>
          </p:nvSpPr>
          <p:spPr bwMode="auto">
            <a:xfrm rot="-8774515">
              <a:off x="2954" y="778"/>
              <a:ext cx="534" cy="334"/>
            </a:xfrm>
            <a:custGeom>
              <a:avLst/>
              <a:gdLst>
                <a:gd name="T0" fmla="*/ 1926 w 2459"/>
                <a:gd name="T1" fmla="*/ 616 h 1540"/>
                <a:gd name="T2" fmla="*/ 1780 w 2459"/>
                <a:gd name="T3" fmla="*/ 544 h 1540"/>
                <a:gd name="T4" fmla="*/ 1630 w 2459"/>
                <a:gd name="T5" fmla="*/ 490 h 1540"/>
                <a:gd name="T6" fmla="*/ 1478 w 2459"/>
                <a:gd name="T7" fmla="*/ 458 h 1540"/>
                <a:gd name="T8" fmla="*/ 1324 w 2459"/>
                <a:gd name="T9" fmla="*/ 445 h 1540"/>
                <a:gd name="T10" fmla="*/ 1251 w 2459"/>
                <a:gd name="T11" fmla="*/ 445 h 1540"/>
                <a:gd name="T12" fmla="*/ 1175 w 2459"/>
                <a:gd name="T13" fmla="*/ 449 h 1540"/>
                <a:gd name="T14" fmla="*/ 1025 w 2459"/>
                <a:gd name="T15" fmla="*/ 475 h 1540"/>
                <a:gd name="T16" fmla="*/ 882 w 2459"/>
                <a:gd name="T17" fmla="*/ 517 h 1540"/>
                <a:gd name="T18" fmla="*/ 744 w 2459"/>
                <a:gd name="T19" fmla="*/ 577 h 1540"/>
                <a:gd name="T20" fmla="*/ 617 w 2459"/>
                <a:gd name="T21" fmla="*/ 650 h 1540"/>
                <a:gd name="T22" fmla="*/ 497 w 2459"/>
                <a:gd name="T23" fmla="*/ 740 h 1540"/>
                <a:gd name="T24" fmla="*/ 391 w 2459"/>
                <a:gd name="T25" fmla="*/ 843 h 1540"/>
                <a:gd name="T26" fmla="*/ 296 w 2459"/>
                <a:gd name="T27" fmla="*/ 959 h 1540"/>
                <a:gd name="T28" fmla="*/ 219 w 2459"/>
                <a:gd name="T29" fmla="*/ 1086 h 1540"/>
                <a:gd name="T30" fmla="*/ 155 w 2459"/>
                <a:gd name="T31" fmla="*/ 1228 h 1540"/>
                <a:gd name="T32" fmla="*/ 111 w 2459"/>
                <a:gd name="T33" fmla="*/ 1379 h 1540"/>
                <a:gd name="T34" fmla="*/ 86 w 2459"/>
                <a:gd name="T35" fmla="*/ 1540 h 1540"/>
                <a:gd name="T36" fmla="*/ 0 w 2459"/>
                <a:gd name="T37" fmla="*/ 1376 h 1540"/>
                <a:gd name="T38" fmla="*/ 22 w 2459"/>
                <a:gd name="T39" fmla="*/ 1138 h 1540"/>
                <a:gd name="T40" fmla="*/ 60 w 2459"/>
                <a:gd name="T41" fmla="*/ 922 h 1540"/>
                <a:gd name="T42" fmla="*/ 113 w 2459"/>
                <a:gd name="T43" fmla="*/ 731 h 1540"/>
                <a:gd name="T44" fmla="*/ 183 w 2459"/>
                <a:gd name="T45" fmla="*/ 559 h 1540"/>
                <a:gd name="T46" fmla="*/ 265 w 2459"/>
                <a:gd name="T47" fmla="*/ 413 h 1540"/>
                <a:gd name="T48" fmla="*/ 363 w 2459"/>
                <a:gd name="T49" fmla="*/ 288 h 1540"/>
                <a:gd name="T50" fmla="*/ 473 w 2459"/>
                <a:gd name="T51" fmla="*/ 187 h 1540"/>
                <a:gd name="T52" fmla="*/ 599 w 2459"/>
                <a:gd name="T53" fmla="*/ 105 h 1540"/>
                <a:gd name="T54" fmla="*/ 736 w 2459"/>
                <a:gd name="T55" fmla="*/ 50 h 1540"/>
                <a:gd name="T56" fmla="*/ 889 w 2459"/>
                <a:gd name="T57" fmla="*/ 13 h 1540"/>
                <a:gd name="T58" fmla="*/ 1052 w 2459"/>
                <a:gd name="T59" fmla="*/ 0 h 1540"/>
                <a:gd name="T60" fmla="*/ 1139 w 2459"/>
                <a:gd name="T61" fmla="*/ 0 h 1540"/>
                <a:gd name="T62" fmla="*/ 1230 w 2459"/>
                <a:gd name="T63" fmla="*/ 6 h 1540"/>
                <a:gd name="T64" fmla="*/ 1418 w 2459"/>
                <a:gd name="T65" fmla="*/ 35 h 1540"/>
                <a:gd name="T66" fmla="*/ 1620 w 2459"/>
                <a:gd name="T67" fmla="*/ 87 h 1540"/>
                <a:gd name="T68" fmla="*/ 1832 w 2459"/>
                <a:gd name="T69" fmla="*/ 160 h 1540"/>
                <a:gd name="T70" fmla="*/ 2059 w 2459"/>
                <a:gd name="T71" fmla="*/ 257 h 1540"/>
                <a:gd name="T72" fmla="*/ 2151 w 2459"/>
                <a:gd name="T73" fmla="*/ 290 h 1540"/>
                <a:gd name="T74" fmla="*/ 2303 w 2459"/>
                <a:gd name="T75" fmla="*/ 331 h 1540"/>
                <a:gd name="T76" fmla="*/ 2429 w 2459"/>
                <a:gd name="T77" fmla="*/ 382 h 1540"/>
                <a:gd name="T78" fmla="*/ 2458 w 2459"/>
                <a:gd name="T79" fmla="*/ 413 h 1540"/>
                <a:gd name="T80" fmla="*/ 2459 w 2459"/>
                <a:gd name="T81" fmla="*/ 432 h 1540"/>
                <a:gd name="T82" fmla="*/ 2449 w 2459"/>
                <a:gd name="T83" fmla="*/ 452 h 1540"/>
                <a:gd name="T84" fmla="*/ 2398 w 2459"/>
                <a:gd name="T85" fmla="*/ 511 h 1540"/>
                <a:gd name="T86" fmla="*/ 2328 w 2459"/>
                <a:gd name="T87" fmla="*/ 551 h 1540"/>
                <a:gd name="T88" fmla="*/ 2166 w 2459"/>
                <a:gd name="T89" fmla="*/ 587 h 1540"/>
                <a:gd name="T90" fmla="*/ 2017 w 2459"/>
                <a:gd name="T91" fmla="*/ 595 h 1540"/>
                <a:gd name="T92" fmla="*/ 1926 w 2459"/>
                <a:gd name="T93" fmla="*/ 616 h 154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59"/>
                <a:gd name="T142" fmla="*/ 0 h 1540"/>
                <a:gd name="T143" fmla="*/ 2459 w 2459"/>
                <a:gd name="T144" fmla="*/ 1540 h 154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59" h="1540">
                  <a:moveTo>
                    <a:pt x="1926" y="616"/>
                  </a:moveTo>
                  <a:lnTo>
                    <a:pt x="1780" y="544"/>
                  </a:lnTo>
                  <a:lnTo>
                    <a:pt x="1630" y="490"/>
                  </a:lnTo>
                  <a:lnTo>
                    <a:pt x="1478" y="458"/>
                  </a:lnTo>
                  <a:lnTo>
                    <a:pt x="1324" y="445"/>
                  </a:lnTo>
                  <a:lnTo>
                    <a:pt x="1251" y="445"/>
                  </a:lnTo>
                  <a:lnTo>
                    <a:pt x="1175" y="449"/>
                  </a:lnTo>
                  <a:lnTo>
                    <a:pt x="1025" y="475"/>
                  </a:lnTo>
                  <a:lnTo>
                    <a:pt x="882" y="517"/>
                  </a:lnTo>
                  <a:lnTo>
                    <a:pt x="744" y="577"/>
                  </a:lnTo>
                  <a:lnTo>
                    <a:pt x="617" y="650"/>
                  </a:lnTo>
                  <a:lnTo>
                    <a:pt x="497" y="740"/>
                  </a:lnTo>
                  <a:lnTo>
                    <a:pt x="391" y="843"/>
                  </a:lnTo>
                  <a:lnTo>
                    <a:pt x="296" y="959"/>
                  </a:lnTo>
                  <a:lnTo>
                    <a:pt x="219" y="1086"/>
                  </a:lnTo>
                  <a:lnTo>
                    <a:pt x="155" y="1228"/>
                  </a:lnTo>
                  <a:lnTo>
                    <a:pt x="111" y="1379"/>
                  </a:lnTo>
                  <a:lnTo>
                    <a:pt x="86" y="1540"/>
                  </a:lnTo>
                  <a:lnTo>
                    <a:pt x="0" y="1376"/>
                  </a:lnTo>
                  <a:lnTo>
                    <a:pt x="22" y="1138"/>
                  </a:lnTo>
                  <a:lnTo>
                    <a:pt x="60" y="922"/>
                  </a:lnTo>
                  <a:lnTo>
                    <a:pt x="113" y="731"/>
                  </a:lnTo>
                  <a:lnTo>
                    <a:pt x="183" y="559"/>
                  </a:lnTo>
                  <a:lnTo>
                    <a:pt x="265" y="413"/>
                  </a:lnTo>
                  <a:lnTo>
                    <a:pt x="363" y="288"/>
                  </a:lnTo>
                  <a:lnTo>
                    <a:pt x="473" y="187"/>
                  </a:lnTo>
                  <a:lnTo>
                    <a:pt x="599" y="105"/>
                  </a:lnTo>
                  <a:lnTo>
                    <a:pt x="736" y="50"/>
                  </a:lnTo>
                  <a:lnTo>
                    <a:pt x="889" y="13"/>
                  </a:lnTo>
                  <a:lnTo>
                    <a:pt x="1052" y="0"/>
                  </a:lnTo>
                  <a:lnTo>
                    <a:pt x="1139" y="0"/>
                  </a:lnTo>
                  <a:lnTo>
                    <a:pt x="1230" y="6"/>
                  </a:lnTo>
                  <a:lnTo>
                    <a:pt x="1418" y="35"/>
                  </a:lnTo>
                  <a:lnTo>
                    <a:pt x="1620" y="87"/>
                  </a:lnTo>
                  <a:lnTo>
                    <a:pt x="1832" y="160"/>
                  </a:lnTo>
                  <a:lnTo>
                    <a:pt x="2059" y="257"/>
                  </a:lnTo>
                  <a:lnTo>
                    <a:pt x="2151" y="290"/>
                  </a:lnTo>
                  <a:lnTo>
                    <a:pt x="2303" y="331"/>
                  </a:lnTo>
                  <a:lnTo>
                    <a:pt x="2429" y="382"/>
                  </a:lnTo>
                  <a:lnTo>
                    <a:pt x="2458" y="413"/>
                  </a:lnTo>
                  <a:lnTo>
                    <a:pt x="2459" y="432"/>
                  </a:lnTo>
                  <a:lnTo>
                    <a:pt x="2449" y="452"/>
                  </a:lnTo>
                  <a:lnTo>
                    <a:pt x="2398" y="511"/>
                  </a:lnTo>
                  <a:lnTo>
                    <a:pt x="2328" y="551"/>
                  </a:lnTo>
                  <a:lnTo>
                    <a:pt x="2166" y="587"/>
                  </a:lnTo>
                  <a:lnTo>
                    <a:pt x="2017" y="595"/>
                  </a:lnTo>
                  <a:lnTo>
                    <a:pt x="1926" y="616"/>
                  </a:lnTo>
                  <a:close/>
                </a:path>
              </a:pathLst>
            </a:custGeom>
            <a:solidFill>
              <a:srgbClr val="FFAD2C"/>
            </a:solidFill>
            <a:ln w="9525">
              <a:no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sp>
          <p:nvSpPr>
            <p:cNvPr id="25" name="Freeform 22"/>
            <p:cNvSpPr>
              <a:spLocks/>
            </p:cNvSpPr>
            <p:nvPr/>
          </p:nvSpPr>
          <p:spPr bwMode="auto">
            <a:xfrm rot="-8774515">
              <a:off x="2962" y="834"/>
              <a:ext cx="573" cy="355"/>
            </a:xfrm>
            <a:custGeom>
              <a:avLst/>
              <a:gdLst>
                <a:gd name="T0" fmla="*/ 2296 w 2639"/>
                <a:gd name="T1" fmla="*/ 773 h 1636"/>
                <a:gd name="T2" fmla="*/ 2153 w 2639"/>
                <a:gd name="T3" fmla="*/ 695 h 1636"/>
                <a:gd name="T4" fmla="*/ 2004 w 2639"/>
                <a:gd name="T5" fmla="*/ 637 h 1636"/>
                <a:gd name="T6" fmla="*/ 1852 w 2639"/>
                <a:gd name="T7" fmla="*/ 601 h 1636"/>
                <a:gd name="T8" fmla="*/ 1699 w 2639"/>
                <a:gd name="T9" fmla="*/ 581 h 1636"/>
                <a:gd name="T10" fmla="*/ 1624 w 2639"/>
                <a:gd name="T11" fmla="*/ 580 h 1636"/>
                <a:gd name="T12" fmla="*/ 1548 w 2639"/>
                <a:gd name="T13" fmla="*/ 581 h 1636"/>
                <a:gd name="T14" fmla="*/ 1397 w 2639"/>
                <a:gd name="T15" fmla="*/ 600 h 1636"/>
                <a:gd name="T16" fmla="*/ 1252 w 2639"/>
                <a:gd name="T17" fmla="*/ 636 h 1636"/>
                <a:gd name="T18" fmla="*/ 1110 w 2639"/>
                <a:gd name="T19" fmla="*/ 691 h 1636"/>
                <a:gd name="T20" fmla="*/ 978 w 2639"/>
                <a:gd name="T21" fmla="*/ 759 h 1636"/>
                <a:gd name="T22" fmla="*/ 853 w 2639"/>
                <a:gd name="T23" fmla="*/ 843 h 1636"/>
                <a:gd name="T24" fmla="*/ 740 w 2639"/>
                <a:gd name="T25" fmla="*/ 943 h 1636"/>
                <a:gd name="T26" fmla="*/ 637 w 2639"/>
                <a:gd name="T27" fmla="*/ 1058 h 1636"/>
                <a:gd name="T28" fmla="*/ 551 w 2639"/>
                <a:gd name="T29" fmla="*/ 1183 h 1636"/>
                <a:gd name="T30" fmla="*/ 479 w 2639"/>
                <a:gd name="T31" fmla="*/ 1323 h 1636"/>
                <a:gd name="T32" fmla="*/ 423 w 2639"/>
                <a:gd name="T33" fmla="*/ 1474 h 1636"/>
                <a:gd name="T34" fmla="*/ 385 w 2639"/>
                <a:gd name="T35" fmla="*/ 1636 h 1636"/>
                <a:gd name="T36" fmla="*/ 0 w 2639"/>
                <a:gd name="T37" fmla="*/ 1580 h 1636"/>
                <a:gd name="T38" fmla="*/ 43 w 2639"/>
                <a:gd name="T39" fmla="*/ 1356 h 1636"/>
                <a:gd name="T40" fmla="*/ 113 w 2639"/>
                <a:gd name="T41" fmla="*/ 1144 h 1636"/>
                <a:gd name="T42" fmla="*/ 205 w 2639"/>
                <a:gd name="T43" fmla="*/ 948 h 1636"/>
                <a:gd name="T44" fmla="*/ 321 w 2639"/>
                <a:gd name="T45" fmla="*/ 765 h 1636"/>
                <a:gd name="T46" fmla="*/ 454 w 2639"/>
                <a:gd name="T47" fmla="*/ 601 h 1636"/>
                <a:gd name="T48" fmla="*/ 607 w 2639"/>
                <a:gd name="T49" fmla="*/ 454 h 1636"/>
                <a:gd name="T50" fmla="*/ 774 w 2639"/>
                <a:gd name="T51" fmla="*/ 324 h 1636"/>
                <a:gd name="T52" fmla="*/ 955 w 2639"/>
                <a:gd name="T53" fmla="*/ 214 h 1636"/>
                <a:gd name="T54" fmla="*/ 1146 w 2639"/>
                <a:gd name="T55" fmla="*/ 128 h 1636"/>
                <a:gd name="T56" fmla="*/ 1347 w 2639"/>
                <a:gd name="T57" fmla="*/ 63 h 1636"/>
                <a:gd name="T58" fmla="*/ 1554 w 2639"/>
                <a:gd name="T59" fmla="*/ 21 h 1636"/>
                <a:gd name="T60" fmla="*/ 1769 w 2639"/>
                <a:gd name="T61" fmla="*/ 1 h 1636"/>
                <a:gd name="T62" fmla="*/ 1875 w 2639"/>
                <a:gd name="T63" fmla="*/ 0 h 1636"/>
                <a:gd name="T64" fmla="*/ 1984 w 2639"/>
                <a:gd name="T65" fmla="*/ 5 h 1636"/>
                <a:gd name="T66" fmla="*/ 2201 w 2639"/>
                <a:gd name="T67" fmla="*/ 38 h 1636"/>
                <a:gd name="T68" fmla="*/ 2416 w 2639"/>
                <a:gd name="T69" fmla="*/ 98 h 1636"/>
                <a:gd name="T70" fmla="*/ 2630 w 2639"/>
                <a:gd name="T71" fmla="*/ 189 h 1636"/>
                <a:gd name="T72" fmla="*/ 2637 w 2639"/>
                <a:gd name="T73" fmla="*/ 204 h 1636"/>
                <a:gd name="T74" fmla="*/ 2639 w 2639"/>
                <a:gd name="T75" fmla="*/ 228 h 1636"/>
                <a:gd name="T76" fmla="*/ 2624 w 2639"/>
                <a:gd name="T77" fmla="*/ 292 h 1636"/>
                <a:gd name="T78" fmla="*/ 2535 w 2639"/>
                <a:gd name="T79" fmla="*/ 462 h 1636"/>
                <a:gd name="T80" fmla="*/ 2412 w 2639"/>
                <a:gd name="T81" fmla="*/ 642 h 1636"/>
                <a:gd name="T82" fmla="*/ 2296 w 2639"/>
                <a:gd name="T83" fmla="*/ 773 h 16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639"/>
                <a:gd name="T127" fmla="*/ 0 h 1636"/>
                <a:gd name="T128" fmla="*/ 2639 w 2639"/>
                <a:gd name="T129" fmla="*/ 1636 h 16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639" h="1636">
                  <a:moveTo>
                    <a:pt x="2296" y="773"/>
                  </a:moveTo>
                  <a:lnTo>
                    <a:pt x="2153" y="695"/>
                  </a:lnTo>
                  <a:lnTo>
                    <a:pt x="2004" y="637"/>
                  </a:lnTo>
                  <a:lnTo>
                    <a:pt x="1852" y="601"/>
                  </a:lnTo>
                  <a:lnTo>
                    <a:pt x="1699" y="581"/>
                  </a:lnTo>
                  <a:lnTo>
                    <a:pt x="1624" y="580"/>
                  </a:lnTo>
                  <a:lnTo>
                    <a:pt x="1548" y="581"/>
                  </a:lnTo>
                  <a:lnTo>
                    <a:pt x="1397" y="600"/>
                  </a:lnTo>
                  <a:lnTo>
                    <a:pt x="1252" y="636"/>
                  </a:lnTo>
                  <a:lnTo>
                    <a:pt x="1110" y="691"/>
                  </a:lnTo>
                  <a:lnTo>
                    <a:pt x="978" y="759"/>
                  </a:lnTo>
                  <a:lnTo>
                    <a:pt x="853" y="843"/>
                  </a:lnTo>
                  <a:lnTo>
                    <a:pt x="740" y="943"/>
                  </a:lnTo>
                  <a:lnTo>
                    <a:pt x="637" y="1058"/>
                  </a:lnTo>
                  <a:lnTo>
                    <a:pt x="551" y="1183"/>
                  </a:lnTo>
                  <a:lnTo>
                    <a:pt x="479" y="1323"/>
                  </a:lnTo>
                  <a:lnTo>
                    <a:pt x="423" y="1474"/>
                  </a:lnTo>
                  <a:lnTo>
                    <a:pt x="385" y="1636"/>
                  </a:lnTo>
                  <a:lnTo>
                    <a:pt x="0" y="1580"/>
                  </a:lnTo>
                  <a:lnTo>
                    <a:pt x="43" y="1356"/>
                  </a:lnTo>
                  <a:lnTo>
                    <a:pt x="113" y="1144"/>
                  </a:lnTo>
                  <a:lnTo>
                    <a:pt x="205" y="948"/>
                  </a:lnTo>
                  <a:lnTo>
                    <a:pt x="321" y="765"/>
                  </a:lnTo>
                  <a:lnTo>
                    <a:pt x="454" y="601"/>
                  </a:lnTo>
                  <a:lnTo>
                    <a:pt x="607" y="454"/>
                  </a:lnTo>
                  <a:lnTo>
                    <a:pt x="774" y="324"/>
                  </a:lnTo>
                  <a:lnTo>
                    <a:pt x="955" y="214"/>
                  </a:lnTo>
                  <a:lnTo>
                    <a:pt x="1146" y="128"/>
                  </a:lnTo>
                  <a:lnTo>
                    <a:pt x="1347" y="63"/>
                  </a:lnTo>
                  <a:lnTo>
                    <a:pt x="1554" y="21"/>
                  </a:lnTo>
                  <a:lnTo>
                    <a:pt x="1769" y="1"/>
                  </a:lnTo>
                  <a:lnTo>
                    <a:pt x="1875" y="0"/>
                  </a:lnTo>
                  <a:lnTo>
                    <a:pt x="1984" y="5"/>
                  </a:lnTo>
                  <a:lnTo>
                    <a:pt x="2201" y="38"/>
                  </a:lnTo>
                  <a:lnTo>
                    <a:pt x="2416" y="98"/>
                  </a:lnTo>
                  <a:lnTo>
                    <a:pt x="2630" y="189"/>
                  </a:lnTo>
                  <a:lnTo>
                    <a:pt x="2637" y="204"/>
                  </a:lnTo>
                  <a:lnTo>
                    <a:pt x="2639" y="228"/>
                  </a:lnTo>
                  <a:lnTo>
                    <a:pt x="2624" y="292"/>
                  </a:lnTo>
                  <a:lnTo>
                    <a:pt x="2535" y="462"/>
                  </a:lnTo>
                  <a:lnTo>
                    <a:pt x="2412" y="642"/>
                  </a:lnTo>
                  <a:lnTo>
                    <a:pt x="2296" y="773"/>
                  </a:lnTo>
                  <a:close/>
                </a:path>
              </a:pathLst>
            </a:custGeom>
            <a:gradFill rotWithShape="1">
              <a:gsLst>
                <a:gs pos="0">
                  <a:srgbClr val="746113"/>
                </a:gs>
                <a:gs pos="100000">
                  <a:srgbClr val="FBD128"/>
                </a:gs>
              </a:gsLst>
              <a:path path="rect">
                <a:fillToRect l="50000" t="50000" r="50000" b="50000"/>
              </a:path>
            </a:gradFill>
            <a:ln w="9525">
              <a:no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grpSp>
          <p:nvGrpSpPr>
            <p:cNvPr id="5" name="Group 23"/>
            <p:cNvGrpSpPr>
              <a:grpSpLocks/>
            </p:cNvGrpSpPr>
            <p:nvPr/>
          </p:nvGrpSpPr>
          <p:grpSpPr bwMode="auto">
            <a:xfrm rot="2871783">
              <a:off x="2816" y="755"/>
              <a:ext cx="294" cy="339"/>
              <a:chOff x="2005" y="2786"/>
              <a:chExt cx="672" cy="781"/>
            </a:xfrm>
          </p:grpSpPr>
          <p:sp>
            <p:nvSpPr>
              <p:cNvPr id="27" name="Freeform 24"/>
              <p:cNvSpPr>
                <a:spLocks/>
              </p:cNvSpPr>
              <p:nvPr/>
            </p:nvSpPr>
            <p:spPr bwMode="auto">
              <a:xfrm rot="9953702">
                <a:off x="2370" y="3196"/>
                <a:ext cx="78" cy="330"/>
              </a:xfrm>
              <a:custGeom>
                <a:avLst/>
                <a:gdLst>
                  <a:gd name="T0" fmla="*/ 21 w 156"/>
                  <a:gd name="T1" fmla="*/ 389 h 660"/>
                  <a:gd name="T2" fmla="*/ 0 w 156"/>
                  <a:gd name="T3" fmla="*/ 0 h 660"/>
                  <a:gd name="T4" fmla="*/ 91 w 156"/>
                  <a:gd name="T5" fmla="*/ 283 h 660"/>
                  <a:gd name="T6" fmla="*/ 156 w 156"/>
                  <a:gd name="T7" fmla="*/ 660 h 660"/>
                  <a:gd name="T8" fmla="*/ 21 w 156"/>
                  <a:gd name="T9" fmla="*/ 389 h 660"/>
                  <a:gd name="T10" fmla="*/ 0 60000 65536"/>
                  <a:gd name="T11" fmla="*/ 0 60000 65536"/>
                  <a:gd name="T12" fmla="*/ 0 60000 65536"/>
                  <a:gd name="T13" fmla="*/ 0 60000 65536"/>
                  <a:gd name="T14" fmla="*/ 0 60000 65536"/>
                  <a:gd name="T15" fmla="*/ 0 w 156"/>
                  <a:gd name="T16" fmla="*/ 0 h 660"/>
                  <a:gd name="T17" fmla="*/ 156 w 156"/>
                  <a:gd name="T18" fmla="*/ 660 h 660"/>
                </a:gdLst>
                <a:ahLst/>
                <a:cxnLst>
                  <a:cxn ang="T10">
                    <a:pos x="T0" y="T1"/>
                  </a:cxn>
                  <a:cxn ang="T11">
                    <a:pos x="T2" y="T3"/>
                  </a:cxn>
                  <a:cxn ang="T12">
                    <a:pos x="T4" y="T5"/>
                  </a:cxn>
                  <a:cxn ang="T13">
                    <a:pos x="T6" y="T7"/>
                  </a:cxn>
                  <a:cxn ang="T14">
                    <a:pos x="T8" y="T9"/>
                  </a:cxn>
                </a:cxnLst>
                <a:rect l="T15" t="T16" r="T17" b="T18"/>
                <a:pathLst>
                  <a:path w="156" h="660">
                    <a:moveTo>
                      <a:pt x="21" y="389"/>
                    </a:moveTo>
                    <a:lnTo>
                      <a:pt x="0" y="0"/>
                    </a:lnTo>
                    <a:lnTo>
                      <a:pt x="91" y="283"/>
                    </a:lnTo>
                    <a:lnTo>
                      <a:pt x="156" y="660"/>
                    </a:lnTo>
                    <a:lnTo>
                      <a:pt x="21" y="389"/>
                    </a:lnTo>
                    <a:close/>
                  </a:path>
                </a:pathLst>
              </a:custGeom>
              <a:solidFill>
                <a:srgbClr val="FFED24"/>
              </a:solidFill>
              <a:ln w="9525">
                <a:no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sp>
            <p:nvSpPr>
              <p:cNvPr id="28" name="Freeform 25"/>
              <p:cNvSpPr>
                <a:spLocks/>
              </p:cNvSpPr>
              <p:nvPr/>
            </p:nvSpPr>
            <p:spPr bwMode="auto">
              <a:xfrm rot="9953702">
                <a:off x="2385" y="2786"/>
                <a:ext cx="290" cy="155"/>
              </a:xfrm>
              <a:custGeom>
                <a:avLst/>
                <a:gdLst>
                  <a:gd name="T0" fmla="*/ 335 w 582"/>
                  <a:gd name="T1" fmla="*/ 22 h 310"/>
                  <a:gd name="T2" fmla="*/ 0 w 582"/>
                  <a:gd name="T3" fmla="*/ 310 h 310"/>
                  <a:gd name="T4" fmla="*/ 258 w 582"/>
                  <a:gd name="T5" fmla="*/ 189 h 310"/>
                  <a:gd name="T6" fmla="*/ 582 w 582"/>
                  <a:gd name="T7" fmla="*/ 0 h 310"/>
                  <a:gd name="T8" fmla="*/ 335 w 582"/>
                  <a:gd name="T9" fmla="*/ 22 h 310"/>
                  <a:gd name="T10" fmla="*/ 0 60000 65536"/>
                  <a:gd name="T11" fmla="*/ 0 60000 65536"/>
                  <a:gd name="T12" fmla="*/ 0 60000 65536"/>
                  <a:gd name="T13" fmla="*/ 0 60000 65536"/>
                  <a:gd name="T14" fmla="*/ 0 60000 65536"/>
                  <a:gd name="T15" fmla="*/ 0 w 582"/>
                  <a:gd name="T16" fmla="*/ 0 h 310"/>
                  <a:gd name="T17" fmla="*/ 582 w 582"/>
                  <a:gd name="T18" fmla="*/ 310 h 310"/>
                </a:gdLst>
                <a:ahLst/>
                <a:cxnLst>
                  <a:cxn ang="T10">
                    <a:pos x="T0" y="T1"/>
                  </a:cxn>
                  <a:cxn ang="T11">
                    <a:pos x="T2" y="T3"/>
                  </a:cxn>
                  <a:cxn ang="T12">
                    <a:pos x="T4" y="T5"/>
                  </a:cxn>
                  <a:cxn ang="T13">
                    <a:pos x="T6" y="T7"/>
                  </a:cxn>
                  <a:cxn ang="T14">
                    <a:pos x="T8" y="T9"/>
                  </a:cxn>
                </a:cxnLst>
                <a:rect l="T15" t="T16" r="T17" b="T18"/>
                <a:pathLst>
                  <a:path w="582" h="310">
                    <a:moveTo>
                      <a:pt x="335" y="22"/>
                    </a:moveTo>
                    <a:lnTo>
                      <a:pt x="0" y="310"/>
                    </a:lnTo>
                    <a:lnTo>
                      <a:pt x="258" y="189"/>
                    </a:lnTo>
                    <a:lnTo>
                      <a:pt x="582" y="0"/>
                    </a:lnTo>
                    <a:lnTo>
                      <a:pt x="335" y="22"/>
                    </a:lnTo>
                    <a:close/>
                  </a:path>
                </a:pathLst>
              </a:custGeom>
              <a:solidFill>
                <a:srgbClr val="FFED24"/>
              </a:solidFill>
              <a:ln w="9525">
                <a:no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sp>
            <p:nvSpPr>
              <p:cNvPr id="29" name="Freeform 26"/>
              <p:cNvSpPr>
                <a:spLocks/>
              </p:cNvSpPr>
              <p:nvPr/>
            </p:nvSpPr>
            <p:spPr bwMode="auto">
              <a:xfrm rot="9953702">
                <a:off x="2082" y="2977"/>
                <a:ext cx="342" cy="590"/>
              </a:xfrm>
              <a:custGeom>
                <a:avLst/>
                <a:gdLst>
                  <a:gd name="T0" fmla="*/ 684 w 684"/>
                  <a:gd name="T1" fmla="*/ 1179 h 1179"/>
                  <a:gd name="T2" fmla="*/ 404 w 684"/>
                  <a:gd name="T3" fmla="*/ 1023 h 1179"/>
                  <a:gd name="T4" fmla="*/ 99 w 684"/>
                  <a:gd name="T5" fmla="*/ 313 h 1179"/>
                  <a:gd name="T6" fmla="*/ 0 w 684"/>
                  <a:gd name="T7" fmla="*/ 0 h 1179"/>
                  <a:gd name="T8" fmla="*/ 684 w 684"/>
                  <a:gd name="T9" fmla="*/ 1179 h 1179"/>
                  <a:gd name="T10" fmla="*/ 0 60000 65536"/>
                  <a:gd name="T11" fmla="*/ 0 60000 65536"/>
                  <a:gd name="T12" fmla="*/ 0 60000 65536"/>
                  <a:gd name="T13" fmla="*/ 0 60000 65536"/>
                  <a:gd name="T14" fmla="*/ 0 60000 65536"/>
                  <a:gd name="T15" fmla="*/ 0 w 684"/>
                  <a:gd name="T16" fmla="*/ 0 h 1179"/>
                  <a:gd name="T17" fmla="*/ 684 w 684"/>
                  <a:gd name="T18" fmla="*/ 1179 h 1179"/>
                </a:gdLst>
                <a:ahLst/>
                <a:cxnLst>
                  <a:cxn ang="T10">
                    <a:pos x="T0" y="T1"/>
                  </a:cxn>
                  <a:cxn ang="T11">
                    <a:pos x="T2" y="T3"/>
                  </a:cxn>
                  <a:cxn ang="T12">
                    <a:pos x="T4" y="T5"/>
                  </a:cxn>
                  <a:cxn ang="T13">
                    <a:pos x="T6" y="T7"/>
                  </a:cxn>
                  <a:cxn ang="T14">
                    <a:pos x="T8" y="T9"/>
                  </a:cxn>
                </a:cxnLst>
                <a:rect l="T15" t="T16" r="T17" b="T18"/>
                <a:pathLst>
                  <a:path w="684" h="1179">
                    <a:moveTo>
                      <a:pt x="684" y="1179"/>
                    </a:moveTo>
                    <a:lnTo>
                      <a:pt x="404" y="1023"/>
                    </a:lnTo>
                    <a:lnTo>
                      <a:pt x="99" y="313"/>
                    </a:lnTo>
                    <a:lnTo>
                      <a:pt x="0" y="0"/>
                    </a:lnTo>
                    <a:lnTo>
                      <a:pt x="684" y="1179"/>
                    </a:lnTo>
                    <a:close/>
                  </a:path>
                </a:pathLst>
              </a:custGeom>
              <a:solidFill>
                <a:srgbClr val="FFAD2C"/>
              </a:solidFill>
              <a:ln w="9525">
                <a:no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sp>
            <p:nvSpPr>
              <p:cNvPr id="30" name="Freeform 27"/>
              <p:cNvSpPr>
                <a:spLocks/>
              </p:cNvSpPr>
              <p:nvPr/>
            </p:nvSpPr>
            <p:spPr bwMode="auto">
              <a:xfrm rot="9953702">
                <a:off x="2005" y="2848"/>
                <a:ext cx="672" cy="176"/>
              </a:xfrm>
              <a:custGeom>
                <a:avLst/>
                <a:gdLst>
                  <a:gd name="T0" fmla="*/ 1345 w 1345"/>
                  <a:gd name="T1" fmla="*/ 154 h 352"/>
                  <a:gd name="T2" fmla="*/ 0 w 1345"/>
                  <a:gd name="T3" fmla="*/ 352 h 352"/>
                  <a:gd name="T4" fmla="*/ 240 w 1345"/>
                  <a:gd name="T5" fmla="*/ 229 h 352"/>
                  <a:gd name="T6" fmla="*/ 889 w 1345"/>
                  <a:gd name="T7" fmla="*/ 0 h 352"/>
                  <a:gd name="T8" fmla="*/ 1244 w 1345"/>
                  <a:gd name="T9" fmla="*/ 98 h 352"/>
                  <a:gd name="T10" fmla="*/ 1345 w 1345"/>
                  <a:gd name="T11" fmla="*/ 154 h 352"/>
                  <a:gd name="T12" fmla="*/ 0 60000 65536"/>
                  <a:gd name="T13" fmla="*/ 0 60000 65536"/>
                  <a:gd name="T14" fmla="*/ 0 60000 65536"/>
                  <a:gd name="T15" fmla="*/ 0 60000 65536"/>
                  <a:gd name="T16" fmla="*/ 0 60000 65536"/>
                  <a:gd name="T17" fmla="*/ 0 60000 65536"/>
                  <a:gd name="T18" fmla="*/ 0 w 1345"/>
                  <a:gd name="T19" fmla="*/ 0 h 352"/>
                  <a:gd name="T20" fmla="*/ 1345 w 1345"/>
                  <a:gd name="T21" fmla="*/ 352 h 352"/>
                </a:gdLst>
                <a:ahLst/>
                <a:cxnLst>
                  <a:cxn ang="T12">
                    <a:pos x="T0" y="T1"/>
                  </a:cxn>
                  <a:cxn ang="T13">
                    <a:pos x="T2" y="T3"/>
                  </a:cxn>
                  <a:cxn ang="T14">
                    <a:pos x="T4" y="T5"/>
                  </a:cxn>
                  <a:cxn ang="T15">
                    <a:pos x="T6" y="T7"/>
                  </a:cxn>
                  <a:cxn ang="T16">
                    <a:pos x="T8" y="T9"/>
                  </a:cxn>
                  <a:cxn ang="T17">
                    <a:pos x="T10" y="T11"/>
                  </a:cxn>
                </a:cxnLst>
                <a:rect l="T18" t="T19" r="T20" b="T21"/>
                <a:pathLst>
                  <a:path w="1345" h="352">
                    <a:moveTo>
                      <a:pt x="1345" y="154"/>
                    </a:moveTo>
                    <a:lnTo>
                      <a:pt x="0" y="352"/>
                    </a:lnTo>
                    <a:lnTo>
                      <a:pt x="240" y="229"/>
                    </a:lnTo>
                    <a:lnTo>
                      <a:pt x="889" y="0"/>
                    </a:lnTo>
                    <a:lnTo>
                      <a:pt x="1244" y="98"/>
                    </a:lnTo>
                    <a:lnTo>
                      <a:pt x="1345" y="154"/>
                    </a:lnTo>
                    <a:close/>
                  </a:path>
                </a:pathLst>
              </a:custGeom>
              <a:solidFill>
                <a:srgbClr val="FB9214"/>
              </a:solidFill>
              <a:ln w="11113">
                <a:solidFill>
                  <a:srgbClr val="FB9214"/>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sp>
            <p:nvSpPr>
              <p:cNvPr id="31" name="Freeform 28"/>
              <p:cNvSpPr>
                <a:spLocks/>
              </p:cNvSpPr>
              <p:nvPr/>
            </p:nvSpPr>
            <p:spPr bwMode="auto">
              <a:xfrm rot="9953702">
                <a:off x="2111" y="2890"/>
                <a:ext cx="513" cy="502"/>
              </a:xfrm>
              <a:custGeom>
                <a:avLst/>
                <a:gdLst>
                  <a:gd name="T0" fmla="*/ 546 w 1025"/>
                  <a:gd name="T1" fmla="*/ 0 h 1004"/>
                  <a:gd name="T2" fmla="*/ 1025 w 1025"/>
                  <a:gd name="T3" fmla="*/ 831 h 1004"/>
                  <a:gd name="T4" fmla="*/ 0 w 1025"/>
                  <a:gd name="T5" fmla="*/ 1004 h 1004"/>
                  <a:gd name="T6" fmla="*/ 221 w 1025"/>
                  <a:gd name="T7" fmla="*/ 816 h 1004"/>
                  <a:gd name="T8" fmla="*/ 555 w 1025"/>
                  <a:gd name="T9" fmla="*/ 229 h 1004"/>
                  <a:gd name="T10" fmla="*/ 546 w 1025"/>
                  <a:gd name="T11" fmla="*/ 0 h 1004"/>
                  <a:gd name="T12" fmla="*/ 0 60000 65536"/>
                  <a:gd name="T13" fmla="*/ 0 60000 65536"/>
                  <a:gd name="T14" fmla="*/ 0 60000 65536"/>
                  <a:gd name="T15" fmla="*/ 0 60000 65536"/>
                  <a:gd name="T16" fmla="*/ 0 60000 65536"/>
                  <a:gd name="T17" fmla="*/ 0 60000 65536"/>
                  <a:gd name="T18" fmla="*/ 0 w 1025"/>
                  <a:gd name="T19" fmla="*/ 0 h 1004"/>
                  <a:gd name="T20" fmla="*/ 1025 w 1025"/>
                  <a:gd name="T21" fmla="*/ 1004 h 1004"/>
                </a:gdLst>
                <a:ahLst/>
                <a:cxnLst>
                  <a:cxn ang="T12">
                    <a:pos x="T0" y="T1"/>
                  </a:cxn>
                  <a:cxn ang="T13">
                    <a:pos x="T2" y="T3"/>
                  </a:cxn>
                  <a:cxn ang="T14">
                    <a:pos x="T4" y="T5"/>
                  </a:cxn>
                  <a:cxn ang="T15">
                    <a:pos x="T6" y="T7"/>
                  </a:cxn>
                  <a:cxn ang="T16">
                    <a:pos x="T8" y="T9"/>
                  </a:cxn>
                  <a:cxn ang="T17">
                    <a:pos x="T10" y="T11"/>
                  </a:cxn>
                </a:cxnLst>
                <a:rect l="T18" t="T19" r="T20" b="T21"/>
                <a:pathLst>
                  <a:path w="1025" h="1004">
                    <a:moveTo>
                      <a:pt x="546" y="0"/>
                    </a:moveTo>
                    <a:lnTo>
                      <a:pt x="1025" y="831"/>
                    </a:lnTo>
                    <a:lnTo>
                      <a:pt x="0" y="1004"/>
                    </a:lnTo>
                    <a:lnTo>
                      <a:pt x="221" y="816"/>
                    </a:lnTo>
                    <a:lnTo>
                      <a:pt x="555" y="229"/>
                    </a:lnTo>
                    <a:lnTo>
                      <a:pt x="546" y="0"/>
                    </a:lnTo>
                    <a:close/>
                  </a:path>
                </a:pathLst>
              </a:custGeom>
              <a:solidFill>
                <a:srgbClr val="FBD128"/>
              </a:solidFill>
              <a:ln w="9525">
                <a:no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grpSp>
      </p:grpSp>
      <p:grpSp>
        <p:nvGrpSpPr>
          <p:cNvPr id="12" name="Group 29"/>
          <p:cNvGrpSpPr>
            <a:grpSpLocks/>
          </p:cNvGrpSpPr>
          <p:nvPr/>
        </p:nvGrpSpPr>
        <p:grpSpPr bwMode="auto">
          <a:xfrm rot="18148132">
            <a:off x="5972039" y="5191482"/>
            <a:ext cx="1406525" cy="776287"/>
            <a:chOff x="2789" y="770"/>
            <a:chExt cx="768" cy="424"/>
          </a:xfrm>
        </p:grpSpPr>
        <p:sp>
          <p:nvSpPr>
            <p:cNvPr id="33" name="Freeform 30"/>
            <p:cNvSpPr>
              <a:spLocks/>
            </p:cNvSpPr>
            <p:nvPr/>
          </p:nvSpPr>
          <p:spPr bwMode="auto">
            <a:xfrm rot="-8774515">
              <a:off x="2927" y="798"/>
              <a:ext cx="630" cy="396"/>
            </a:xfrm>
            <a:custGeom>
              <a:avLst/>
              <a:gdLst>
                <a:gd name="T0" fmla="*/ 2360 w 2903"/>
                <a:gd name="T1" fmla="*/ 899 h 1823"/>
                <a:gd name="T2" fmla="*/ 2214 w 2903"/>
                <a:gd name="T3" fmla="*/ 827 h 1823"/>
                <a:gd name="T4" fmla="*/ 2064 w 2903"/>
                <a:gd name="T5" fmla="*/ 773 h 1823"/>
                <a:gd name="T6" fmla="*/ 1912 w 2903"/>
                <a:gd name="T7" fmla="*/ 741 h 1823"/>
                <a:gd name="T8" fmla="*/ 1758 w 2903"/>
                <a:gd name="T9" fmla="*/ 728 h 1823"/>
                <a:gd name="T10" fmla="*/ 1685 w 2903"/>
                <a:gd name="T11" fmla="*/ 728 h 1823"/>
                <a:gd name="T12" fmla="*/ 1609 w 2903"/>
                <a:gd name="T13" fmla="*/ 732 h 1823"/>
                <a:gd name="T14" fmla="*/ 1459 w 2903"/>
                <a:gd name="T15" fmla="*/ 758 h 1823"/>
                <a:gd name="T16" fmla="*/ 1316 w 2903"/>
                <a:gd name="T17" fmla="*/ 800 h 1823"/>
                <a:gd name="T18" fmla="*/ 1178 w 2903"/>
                <a:gd name="T19" fmla="*/ 860 h 1823"/>
                <a:gd name="T20" fmla="*/ 1051 w 2903"/>
                <a:gd name="T21" fmla="*/ 933 h 1823"/>
                <a:gd name="T22" fmla="*/ 931 w 2903"/>
                <a:gd name="T23" fmla="*/ 1023 h 1823"/>
                <a:gd name="T24" fmla="*/ 825 w 2903"/>
                <a:gd name="T25" fmla="*/ 1126 h 1823"/>
                <a:gd name="T26" fmla="*/ 730 w 2903"/>
                <a:gd name="T27" fmla="*/ 1242 h 1823"/>
                <a:gd name="T28" fmla="*/ 653 w 2903"/>
                <a:gd name="T29" fmla="*/ 1369 h 1823"/>
                <a:gd name="T30" fmla="*/ 589 w 2903"/>
                <a:gd name="T31" fmla="*/ 1511 h 1823"/>
                <a:gd name="T32" fmla="*/ 545 w 2903"/>
                <a:gd name="T33" fmla="*/ 1662 h 1823"/>
                <a:gd name="T34" fmla="*/ 520 w 2903"/>
                <a:gd name="T35" fmla="*/ 1823 h 1823"/>
                <a:gd name="T36" fmla="*/ 0 w 2903"/>
                <a:gd name="T37" fmla="*/ 1790 h 1823"/>
                <a:gd name="T38" fmla="*/ 29 w 2903"/>
                <a:gd name="T39" fmla="*/ 1548 h 1823"/>
                <a:gd name="T40" fmla="*/ 89 w 2903"/>
                <a:gd name="T41" fmla="*/ 1316 h 1823"/>
                <a:gd name="T42" fmla="*/ 175 w 2903"/>
                <a:gd name="T43" fmla="*/ 1100 h 1823"/>
                <a:gd name="T44" fmla="*/ 285 w 2903"/>
                <a:gd name="T45" fmla="*/ 896 h 1823"/>
                <a:gd name="T46" fmla="*/ 417 w 2903"/>
                <a:gd name="T47" fmla="*/ 712 h 1823"/>
                <a:gd name="T48" fmla="*/ 571 w 2903"/>
                <a:gd name="T49" fmla="*/ 546 h 1823"/>
                <a:gd name="T50" fmla="*/ 741 w 2903"/>
                <a:gd name="T51" fmla="*/ 400 h 1823"/>
                <a:gd name="T52" fmla="*/ 930 w 2903"/>
                <a:gd name="T53" fmla="*/ 272 h 1823"/>
                <a:gd name="T54" fmla="*/ 1128 w 2903"/>
                <a:gd name="T55" fmla="*/ 170 h 1823"/>
                <a:gd name="T56" fmla="*/ 1340 w 2903"/>
                <a:gd name="T57" fmla="*/ 89 h 1823"/>
                <a:gd name="T58" fmla="*/ 1560 w 2903"/>
                <a:gd name="T59" fmla="*/ 34 h 1823"/>
                <a:gd name="T60" fmla="*/ 1787 w 2903"/>
                <a:gd name="T61" fmla="*/ 4 h 1823"/>
                <a:gd name="T62" fmla="*/ 1902 w 2903"/>
                <a:gd name="T63" fmla="*/ 0 h 1823"/>
                <a:gd name="T64" fmla="*/ 2018 w 2903"/>
                <a:gd name="T65" fmla="*/ 1 h 1823"/>
                <a:gd name="T66" fmla="*/ 2251 w 2903"/>
                <a:gd name="T67" fmla="*/ 28 h 1823"/>
                <a:gd name="T68" fmla="*/ 2484 w 2903"/>
                <a:gd name="T69" fmla="*/ 85 h 1823"/>
                <a:gd name="T70" fmla="*/ 2717 w 2903"/>
                <a:gd name="T71" fmla="*/ 174 h 1823"/>
                <a:gd name="T72" fmla="*/ 2774 w 2903"/>
                <a:gd name="T73" fmla="*/ 263 h 1823"/>
                <a:gd name="T74" fmla="*/ 2849 w 2903"/>
                <a:gd name="T75" fmla="*/ 430 h 1823"/>
                <a:gd name="T76" fmla="*/ 2899 w 2903"/>
                <a:gd name="T77" fmla="*/ 607 h 1823"/>
                <a:gd name="T78" fmla="*/ 2902 w 2903"/>
                <a:gd name="T79" fmla="*/ 645 h 1823"/>
                <a:gd name="T80" fmla="*/ 2902 w 2903"/>
                <a:gd name="T81" fmla="*/ 662 h 1823"/>
                <a:gd name="T82" fmla="*/ 2903 w 2903"/>
                <a:gd name="T83" fmla="*/ 680 h 1823"/>
                <a:gd name="T84" fmla="*/ 2883 w 2903"/>
                <a:gd name="T85" fmla="*/ 735 h 1823"/>
                <a:gd name="T86" fmla="*/ 2832 w 2903"/>
                <a:gd name="T87" fmla="*/ 794 h 1823"/>
                <a:gd name="T88" fmla="*/ 2762 w 2903"/>
                <a:gd name="T89" fmla="*/ 834 h 1823"/>
                <a:gd name="T90" fmla="*/ 2600 w 2903"/>
                <a:gd name="T91" fmla="*/ 870 h 1823"/>
                <a:gd name="T92" fmla="*/ 2451 w 2903"/>
                <a:gd name="T93" fmla="*/ 878 h 1823"/>
                <a:gd name="T94" fmla="*/ 2360 w 2903"/>
                <a:gd name="T95" fmla="*/ 899 h 182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903"/>
                <a:gd name="T145" fmla="*/ 0 h 1823"/>
                <a:gd name="T146" fmla="*/ 2903 w 2903"/>
                <a:gd name="T147" fmla="*/ 1823 h 182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903" h="1823">
                  <a:moveTo>
                    <a:pt x="2360" y="899"/>
                  </a:moveTo>
                  <a:lnTo>
                    <a:pt x="2214" y="827"/>
                  </a:lnTo>
                  <a:lnTo>
                    <a:pt x="2064" y="773"/>
                  </a:lnTo>
                  <a:lnTo>
                    <a:pt x="1912" y="741"/>
                  </a:lnTo>
                  <a:lnTo>
                    <a:pt x="1758" y="728"/>
                  </a:lnTo>
                  <a:lnTo>
                    <a:pt x="1685" y="728"/>
                  </a:lnTo>
                  <a:lnTo>
                    <a:pt x="1609" y="732"/>
                  </a:lnTo>
                  <a:lnTo>
                    <a:pt x="1459" y="758"/>
                  </a:lnTo>
                  <a:lnTo>
                    <a:pt x="1316" y="800"/>
                  </a:lnTo>
                  <a:lnTo>
                    <a:pt x="1178" y="860"/>
                  </a:lnTo>
                  <a:lnTo>
                    <a:pt x="1051" y="933"/>
                  </a:lnTo>
                  <a:lnTo>
                    <a:pt x="931" y="1023"/>
                  </a:lnTo>
                  <a:lnTo>
                    <a:pt x="825" y="1126"/>
                  </a:lnTo>
                  <a:lnTo>
                    <a:pt x="730" y="1242"/>
                  </a:lnTo>
                  <a:lnTo>
                    <a:pt x="653" y="1369"/>
                  </a:lnTo>
                  <a:lnTo>
                    <a:pt x="589" y="1511"/>
                  </a:lnTo>
                  <a:lnTo>
                    <a:pt x="545" y="1662"/>
                  </a:lnTo>
                  <a:lnTo>
                    <a:pt x="520" y="1823"/>
                  </a:lnTo>
                  <a:lnTo>
                    <a:pt x="0" y="1790"/>
                  </a:lnTo>
                  <a:lnTo>
                    <a:pt x="29" y="1548"/>
                  </a:lnTo>
                  <a:lnTo>
                    <a:pt x="89" y="1316"/>
                  </a:lnTo>
                  <a:lnTo>
                    <a:pt x="175" y="1100"/>
                  </a:lnTo>
                  <a:lnTo>
                    <a:pt x="285" y="896"/>
                  </a:lnTo>
                  <a:lnTo>
                    <a:pt x="417" y="712"/>
                  </a:lnTo>
                  <a:lnTo>
                    <a:pt x="571" y="546"/>
                  </a:lnTo>
                  <a:lnTo>
                    <a:pt x="741" y="400"/>
                  </a:lnTo>
                  <a:lnTo>
                    <a:pt x="930" y="272"/>
                  </a:lnTo>
                  <a:lnTo>
                    <a:pt x="1128" y="170"/>
                  </a:lnTo>
                  <a:lnTo>
                    <a:pt x="1340" y="89"/>
                  </a:lnTo>
                  <a:lnTo>
                    <a:pt x="1560" y="34"/>
                  </a:lnTo>
                  <a:lnTo>
                    <a:pt x="1787" y="4"/>
                  </a:lnTo>
                  <a:lnTo>
                    <a:pt x="1902" y="0"/>
                  </a:lnTo>
                  <a:lnTo>
                    <a:pt x="2018" y="1"/>
                  </a:lnTo>
                  <a:lnTo>
                    <a:pt x="2251" y="28"/>
                  </a:lnTo>
                  <a:lnTo>
                    <a:pt x="2484" y="85"/>
                  </a:lnTo>
                  <a:lnTo>
                    <a:pt x="2717" y="174"/>
                  </a:lnTo>
                  <a:lnTo>
                    <a:pt x="2774" y="263"/>
                  </a:lnTo>
                  <a:lnTo>
                    <a:pt x="2849" y="430"/>
                  </a:lnTo>
                  <a:lnTo>
                    <a:pt x="2899" y="607"/>
                  </a:lnTo>
                  <a:lnTo>
                    <a:pt x="2902" y="645"/>
                  </a:lnTo>
                  <a:lnTo>
                    <a:pt x="2902" y="662"/>
                  </a:lnTo>
                  <a:lnTo>
                    <a:pt x="2903" y="680"/>
                  </a:lnTo>
                  <a:lnTo>
                    <a:pt x="2883" y="735"/>
                  </a:lnTo>
                  <a:lnTo>
                    <a:pt x="2832" y="794"/>
                  </a:lnTo>
                  <a:lnTo>
                    <a:pt x="2762" y="834"/>
                  </a:lnTo>
                  <a:lnTo>
                    <a:pt x="2600" y="870"/>
                  </a:lnTo>
                  <a:lnTo>
                    <a:pt x="2451" y="878"/>
                  </a:lnTo>
                  <a:lnTo>
                    <a:pt x="2360" y="899"/>
                  </a:lnTo>
                  <a:close/>
                </a:path>
              </a:pathLst>
            </a:custGeom>
            <a:solidFill>
              <a:srgbClr val="FFED24"/>
            </a:solidFill>
            <a:ln w="9525">
              <a:no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sp>
          <p:nvSpPr>
            <p:cNvPr id="34" name="Freeform 31"/>
            <p:cNvSpPr>
              <a:spLocks/>
            </p:cNvSpPr>
            <p:nvPr/>
          </p:nvSpPr>
          <p:spPr bwMode="auto">
            <a:xfrm rot="-8774515">
              <a:off x="2954" y="778"/>
              <a:ext cx="534" cy="334"/>
            </a:xfrm>
            <a:custGeom>
              <a:avLst/>
              <a:gdLst>
                <a:gd name="T0" fmla="*/ 1926 w 2459"/>
                <a:gd name="T1" fmla="*/ 616 h 1540"/>
                <a:gd name="T2" fmla="*/ 1780 w 2459"/>
                <a:gd name="T3" fmla="*/ 544 h 1540"/>
                <a:gd name="T4" fmla="*/ 1630 w 2459"/>
                <a:gd name="T5" fmla="*/ 490 h 1540"/>
                <a:gd name="T6" fmla="*/ 1478 w 2459"/>
                <a:gd name="T7" fmla="*/ 458 h 1540"/>
                <a:gd name="T8" fmla="*/ 1324 w 2459"/>
                <a:gd name="T9" fmla="*/ 445 h 1540"/>
                <a:gd name="T10" fmla="*/ 1251 w 2459"/>
                <a:gd name="T11" fmla="*/ 445 h 1540"/>
                <a:gd name="T12" fmla="*/ 1175 w 2459"/>
                <a:gd name="T13" fmla="*/ 449 h 1540"/>
                <a:gd name="T14" fmla="*/ 1025 w 2459"/>
                <a:gd name="T15" fmla="*/ 475 h 1540"/>
                <a:gd name="T16" fmla="*/ 882 w 2459"/>
                <a:gd name="T17" fmla="*/ 517 h 1540"/>
                <a:gd name="T18" fmla="*/ 744 w 2459"/>
                <a:gd name="T19" fmla="*/ 577 h 1540"/>
                <a:gd name="T20" fmla="*/ 617 w 2459"/>
                <a:gd name="T21" fmla="*/ 650 h 1540"/>
                <a:gd name="T22" fmla="*/ 497 w 2459"/>
                <a:gd name="T23" fmla="*/ 740 h 1540"/>
                <a:gd name="T24" fmla="*/ 391 w 2459"/>
                <a:gd name="T25" fmla="*/ 843 h 1540"/>
                <a:gd name="T26" fmla="*/ 296 w 2459"/>
                <a:gd name="T27" fmla="*/ 959 h 1540"/>
                <a:gd name="T28" fmla="*/ 219 w 2459"/>
                <a:gd name="T29" fmla="*/ 1086 h 1540"/>
                <a:gd name="T30" fmla="*/ 155 w 2459"/>
                <a:gd name="T31" fmla="*/ 1228 h 1540"/>
                <a:gd name="T32" fmla="*/ 111 w 2459"/>
                <a:gd name="T33" fmla="*/ 1379 h 1540"/>
                <a:gd name="T34" fmla="*/ 86 w 2459"/>
                <a:gd name="T35" fmla="*/ 1540 h 1540"/>
                <a:gd name="T36" fmla="*/ 0 w 2459"/>
                <a:gd name="T37" fmla="*/ 1376 h 1540"/>
                <a:gd name="T38" fmla="*/ 22 w 2459"/>
                <a:gd name="T39" fmla="*/ 1138 h 1540"/>
                <a:gd name="T40" fmla="*/ 60 w 2459"/>
                <a:gd name="T41" fmla="*/ 922 h 1540"/>
                <a:gd name="T42" fmla="*/ 113 w 2459"/>
                <a:gd name="T43" fmla="*/ 731 h 1540"/>
                <a:gd name="T44" fmla="*/ 183 w 2459"/>
                <a:gd name="T45" fmla="*/ 559 h 1540"/>
                <a:gd name="T46" fmla="*/ 265 w 2459"/>
                <a:gd name="T47" fmla="*/ 413 h 1540"/>
                <a:gd name="T48" fmla="*/ 363 w 2459"/>
                <a:gd name="T49" fmla="*/ 288 h 1540"/>
                <a:gd name="T50" fmla="*/ 473 w 2459"/>
                <a:gd name="T51" fmla="*/ 187 h 1540"/>
                <a:gd name="T52" fmla="*/ 599 w 2459"/>
                <a:gd name="T53" fmla="*/ 105 h 1540"/>
                <a:gd name="T54" fmla="*/ 736 w 2459"/>
                <a:gd name="T55" fmla="*/ 50 h 1540"/>
                <a:gd name="T56" fmla="*/ 889 w 2459"/>
                <a:gd name="T57" fmla="*/ 13 h 1540"/>
                <a:gd name="T58" fmla="*/ 1052 w 2459"/>
                <a:gd name="T59" fmla="*/ 0 h 1540"/>
                <a:gd name="T60" fmla="*/ 1139 w 2459"/>
                <a:gd name="T61" fmla="*/ 0 h 1540"/>
                <a:gd name="T62" fmla="*/ 1230 w 2459"/>
                <a:gd name="T63" fmla="*/ 6 h 1540"/>
                <a:gd name="T64" fmla="*/ 1418 w 2459"/>
                <a:gd name="T65" fmla="*/ 35 h 1540"/>
                <a:gd name="T66" fmla="*/ 1620 w 2459"/>
                <a:gd name="T67" fmla="*/ 87 h 1540"/>
                <a:gd name="T68" fmla="*/ 1832 w 2459"/>
                <a:gd name="T69" fmla="*/ 160 h 1540"/>
                <a:gd name="T70" fmla="*/ 2059 w 2459"/>
                <a:gd name="T71" fmla="*/ 257 h 1540"/>
                <a:gd name="T72" fmla="*/ 2151 w 2459"/>
                <a:gd name="T73" fmla="*/ 290 h 1540"/>
                <a:gd name="T74" fmla="*/ 2303 w 2459"/>
                <a:gd name="T75" fmla="*/ 331 h 1540"/>
                <a:gd name="T76" fmla="*/ 2429 w 2459"/>
                <a:gd name="T77" fmla="*/ 382 h 1540"/>
                <a:gd name="T78" fmla="*/ 2458 w 2459"/>
                <a:gd name="T79" fmla="*/ 413 h 1540"/>
                <a:gd name="T80" fmla="*/ 2459 w 2459"/>
                <a:gd name="T81" fmla="*/ 432 h 1540"/>
                <a:gd name="T82" fmla="*/ 2449 w 2459"/>
                <a:gd name="T83" fmla="*/ 452 h 1540"/>
                <a:gd name="T84" fmla="*/ 2398 w 2459"/>
                <a:gd name="T85" fmla="*/ 511 h 1540"/>
                <a:gd name="T86" fmla="*/ 2328 w 2459"/>
                <a:gd name="T87" fmla="*/ 551 h 1540"/>
                <a:gd name="T88" fmla="*/ 2166 w 2459"/>
                <a:gd name="T89" fmla="*/ 587 h 1540"/>
                <a:gd name="T90" fmla="*/ 2017 w 2459"/>
                <a:gd name="T91" fmla="*/ 595 h 1540"/>
                <a:gd name="T92" fmla="*/ 1926 w 2459"/>
                <a:gd name="T93" fmla="*/ 616 h 154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59"/>
                <a:gd name="T142" fmla="*/ 0 h 1540"/>
                <a:gd name="T143" fmla="*/ 2459 w 2459"/>
                <a:gd name="T144" fmla="*/ 1540 h 154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59" h="1540">
                  <a:moveTo>
                    <a:pt x="1926" y="616"/>
                  </a:moveTo>
                  <a:lnTo>
                    <a:pt x="1780" y="544"/>
                  </a:lnTo>
                  <a:lnTo>
                    <a:pt x="1630" y="490"/>
                  </a:lnTo>
                  <a:lnTo>
                    <a:pt x="1478" y="458"/>
                  </a:lnTo>
                  <a:lnTo>
                    <a:pt x="1324" y="445"/>
                  </a:lnTo>
                  <a:lnTo>
                    <a:pt x="1251" y="445"/>
                  </a:lnTo>
                  <a:lnTo>
                    <a:pt x="1175" y="449"/>
                  </a:lnTo>
                  <a:lnTo>
                    <a:pt x="1025" y="475"/>
                  </a:lnTo>
                  <a:lnTo>
                    <a:pt x="882" y="517"/>
                  </a:lnTo>
                  <a:lnTo>
                    <a:pt x="744" y="577"/>
                  </a:lnTo>
                  <a:lnTo>
                    <a:pt x="617" y="650"/>
                  </a:lnTo>
                  <a:lnTo>
                    <a:pt x="497" y="740"/>
                  </a:lnTo>
                  <a:lnTo>
                    <a:pt x="391" y="843"/>
                  </a:lnTo>
                  <a:lnTo>
                    <a:pt x="296" y="959"/>
                  </a:lnTo>
                  <a:lnTo>
                    <a:pt x="219" y="1086"/>
                  </a:lnTo>
                  <a:lnTo>
                    <a:pt x="155" y="1228"/>
                  </a:lnTo>
                  <a:lnTo>
                    <a:pt x="111" y="1379"/>
                  </a:lnTo>
                  <a:lnTo>
                    <a:pt x="86" y="1540"/>
                  </a:lnTo>
                  <a:lnTo>
                    <a:pt x="0" y="1376"/>
                  </a:lnTo>
                  <a:lnTo>
                    <a:pt x="22" y="1138"/>
                  </a:lnTo>
                  <a:lnTo>
                    <a:pt x="60" y="922"/>
                  </a:lnTo>
                  <a:lnTo>
                    <a:pt x="113" y="731"/>
                  </a:lnTo>
                  <a:lnTo>
                    <a:pt x="183" y="559"/>
                  </a:lnTo>
                  <a:lnTo>
                    <a:pt x="265" y="413"/>
                  </a:lnTo>
                  <a:lnTo>
                    <a:pt x="363" y="288"/>
                  </a:lnTo>
                  <a:lnTo>
                    <a:pt x="473" y="187"/>
                  </a:lnTo>
                  <a:lnTo>
                    <a:pt x="599" y="105"/>
                  </a:lnTo>
                  <a:lnTo>
                    <a:pt x="736" y="50"/>
                  </a:lnTo>
                  <a:lnTo>
                    <a:pt x="889" y="13"/>
                  </a:lnTo>
                  <a:lnTo>
                    <a:pt x="1052" y="0"/>
                  </a:lnTo>
                  <a:lnTo>
                    <a:pt x="1139" y="0"/>
                  </a:lnTo>
                  <a:lnTo>
                    <a:pt x="1230" y="6"/>
                  </a:lnTo>
                  <a:lnTo>
                    <a:pt x="1418" y="35"/>
                  </a:lnTo>
                  <a:lnTo>
                    <a:pt x="1620" y="87"/>
                  </a:lnTo>
                  <a:lnTo>
                    <a:pt x="1832" y="160"/>
                  </a:lnTo>
                  <a:lnTo>
                    <a:pt x="2059" y="257"/>
                  </a:lnTo>
                  <a:lnTo>
                    <a:pt x="2151" y="290"/>
                  </a:lnTo>
                  <a:lnTo>
                    <a:pt x="2303" y="331"/>
                  </a:lnTo>
                  <a:lnTo>
                    <a:pt x="2429" y="382"/>
                  </a:lnTo>
                  <a:lnTo>
                    <a:pt x="2458" y="413"/>
                  </a:lnTo>
                  <a:lnTo>
                    <a:pt x="2459" y="432"/>
                  </a:lnTo>
                  <a:lnTo>
                    <a:pt x="2449" y="452"/>
                  </a:lnTo>
                  <a:lnTo>
                    <a:pt x="2398" y="511"/>
                  </a:lnTo>
                  <a:lnTo>
                    <a:pt x="2328" y="551"/>
                  </a:lnTo>
                  <a:lnTo>
                    <a:pt x="2166" y="587"/>
                  </a:lnTo>
                  <a:lnTo>
                    <a:pt x="2017" y="595"/>
                  </a:lnTo>
                  <a:lnTo>
                    <a:pt x="1926" y="616"/>
                  </a:lnTo>
                  <a:close/>
                </a:path>
              </a:pathLst>
            </a:custGeom>
            <a:solidFill>
              <a:srgbClr val="FFAD2C"/>
            </a:solidFill>
            <a:ln w="9525">
              <a:no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sp>
          <p:nvSpPr>
            <p:cNvPr id="35" name="Freeform 32"/>
            <p:cNvSpPr>
              <a:spLocks/>
            </p:cNvSpPr>
            <p:nvPr/>
          </p:nvSpPr>
          <p:spPr bwMode="auto">
            <a:xfrm rot="-8774515">
              <a:off x="2962" y="834"/>
              <a:ext cx="573" cy="355"/>
            </a:xfrm>
            <a:custGeom>
              <a:avLst/>
              <a:gdLst>
                <a:gd name="T0" fmla="*/ 2296 w 2639"/>
                <a:gd name="T1" fmla="*/ 773 h 1636"/>
                <a:gd name="T2" fmla="*/ 2153 w 2639"/>
                <a:gd name="T3" fmla="*/ 695 h 1636"/>
                <a:gd name="T4" fmla="*/ 2004 w 2639"/>
                <a:gd name="T5" fmla="*/ 637 h 1636"/>
                <a:gd name="T6" fmla="*/ 1852 w 2639"/>
                <a:gd name="T7" fmla="*/ 601 h 1636"/>
                <a:gd name="T8" fmla="*/ 1699 w 2639"/>
                <a:gd name="T9" fmla="*/ 581 h 1636"/>
                <a:gd name="T10" fmla="*/ 1624 w 2639"/>
                <a:gd name="T11" fmla="*/ 580 h 1636"/>
                <a:gd name="T12" fmla="*/ 1548 w 2639"/>
                <a:gd name="T13" fmla="*/ 581 h 1636"/>
                <a:gd name="T14" fmla="*/ 1397 w 2639"/>
                <a:gd name="T15" fmla="*/ 600 h 1636"/>
                <a:gd name="T16" fmla="*/ 1252 w 2639"/>
                <a:gd name="T17" fmla="*/ 636 h 1636"/>
                <a:gd name="T18" fmla="*/ 1110 w 2639"/>
                <a:gd name="T19" fmla="*/ 691 h 1636"/>
                <a:gd name="T20" fmla="*/ 978 w 2639"/>
                <a:gd name="T21" fmla="*/ 759 h 1636"/>
                <a:gd name="T22" fmla="*/ 853 w 2639"/>
                <a:gd name="T23" fmla="*/ 843 h 1636"/>
                <a:gd name="T24" fmla="*/ 740 w 2639"/>
                <a:gd name="T25" fmla="*/ 943 h 1636"/>
                <a:gd name="T26" fmla="*/ 637 w 2639"/>
                <a:gd name="T27" fmla="*/ 1058 h 1636"/>
                <a:gd name="T28" fmla="*/ 551 w 2639"/>
                <a:gd name="T29" fmla="*/ 1183 h 1636"/>
                <a:gd name="T30" fmla="*/ 479 w 2639"/>
                <a:gd name="T31" fmla="*/ 1323 h 1636"/>
                <a:gd name="T32" fmla="*/ 423 w 2639"/>
                <a:gd name="T33" fmla="*/ 1474 h 1636"/>
                <a:gd name="T34" fmla="*/ 385 w 2639"/>
                <a:gd name="T35" fmla="*/ 1636 h 1636"/>
                <a:gd name="T36" fmla="*/ 0 w 2639"/>
                <a:gd name="T37" fmla="*/ 1580 h 1636"/>
                <a:gd name="T38" fmla="*/ 43 w 2639"/>
                <a:gd name="T39" fmla="*/ 1356 h 1636"/>
                <a:gd name="T40" fmla="*/ 113 w 2639"/>
                <a:gd name="T41" fmla="*/ 1144 h 1636"/>
                <a:gd name="T42" fmla="*/ 205 w 2639"/>
                <a:gd name="T43" fmla="*/ 948 h 1636"/>
                <a:gd name="T44" fmla="*/ 321 w 2639"/>
                <a:gd name="T45" fmla="*/ 765 h 1636"/>
                <a:gd name="T46" fmla="*/ 454 w 2639"/>
                <a:gd name="T47" fmla="*/ 601 h 1636"/>
                <a:gd name="T48" fmla="*/ 607 w 2639"/>
                <a:gd name="T49" fmla="*/ 454 h 1636"/>
                <a:gd name="T50" fmla="*/ 774 w 2639"/>
                <a:gd name="T51" fmla="*/ 324 h 1636"/>
                <a:gd name="T52" fmla="*/ 955 w 2639"/>
                <a:gd name="T53" fmla="*/ 214 h 1636"/>
                <a:gd name="T54" fmla="*/ 1146 w 2639"/>
                <a:gd name="T55" fmla="*/ 128 h 1636"/>
                <a:gd name="T56" fmla="*/ 1347 w 2639"/>
                <a:gd name="T57" fmla="*/ 63 h 1636"/>
                <a:gd name="T58" fmla="*/ 1554 w 2639"/>
                <a:gd name="T59" fmla="*/ 21 h 1636"/>
                <a:gd name="T60" fmla="*/ 1769 w 2639"/>
                <a:gd name="T61" fmla="*/ 1 h 1636"/>
                <a:gd name="T62" fmla="*/ 1875 w 2639"/>
                <a:gd name="T63" fmla="*/ 0 h 1636"/>
                <a:gd name="T64" fmla="*/ 1984 w 2639"/>
                <a:gd name="T65" fmla="*/ 5 h 1636"/>
                <a:gd name="T66" fmla="*/ 2201 w 2639"/>
                <a:gd name="T67" fmla="*/ 38 h 1636"/>
                <a:gd name="T68" fmla="*/ 2416 w 2639"/>
                <a:gd name="T69" fmla="*/ 98 h 1636"/>
                <a:gd name="T70" fmla="*/ 2630 w 2639"/>
                <a:gd name="T71" fmla="*/ 189 h 1636"/>
                <a:gd name="T72" fmla="*/ 2637 w 2639"/>
                <a:gd name="T73" fmla="*/ 204 h 1636"/>
                <a:gd name="T74" fmla="*/ 2639 w 2639"/>
                <a:gd name="T75" fmla="*/ 228 h 1636"/>
                <a:gd name="T76" fmla="*/ 2624 w 2639"/>
                <a:gd name="T77" fmla="*/ 292 h 1636"/>
                <a:gd name="T78" fmla="*/ 2535 w 2639"/>
                <a:gd name="T79" fmla="*/ 462 h 1636"/>
                <a:gd name="T80" fmla="*/ 2412 w 2639"/>
                <a:gd name="T81" fmla="*/ 642 h 1636"/>
                <a:gd name="T82" fmla="*/ 2296 w 2639"/>
                <a:gd name="T83" fmla="*/ 773 h 16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639"/>
                <a:gd name="T127" fmla="*/ 0 h 1636"/>
                <a:gd name="T128" fmla="*/ 2639 w 2639"/>
                <a:gd name="T129" fmla="*/ 1636 h 16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639" h="1636">
                  <a:moveTo>
                    <a:pt x="2296" y="773"/>
                  </a:moveTo>
                  <a:lnTo>
                    <a:pt x="2153" y="695"/>
                  </a:lnTo>
                  <a:lnTo>
                    <a:pt x="2004" y="637"/>
                  </a:lnTo>
                  <a:lnTo>
                    <a:pt x="1852" y="601"/>
                  </a:lnTo>
                  <a:lnTo>
                    <a:pt x="1699" y="581"/>
                  </a:lnTo>
                  <a:lnTo>
                    <a:pt x="1624" y="580"/>
                  </a:lnTo>
                  <a:lnTo>
                    <a:pt x="1548" y="581"/>
                  </a:lnTo>
                  <a:lnTo>
                    <a:pt x="1397" y="600"/>
                  </a:lnTo>
                  <a:lnTo>
                    <a:pt x="1252" y="636"/>
                  </a:lnTo>
                  <a:lnTo>
                    <a:pt x="1110" y="691"/>
                  </a:lnTo>
                  <a:lnTo>
                    <a:pt x="978" y="759"/>
                  </a:lnTo>
                  <a:lnTo>
                    <a:pt x="853" y="843"/>
                  </a:lnTo>
                  <a:lnTo>
                    <a:pt x="740" y="943"/>
                  </a:lnTo>
                  <a:lnTo>
                    <a:pt x="637" y="1058"/>
                  </a:lnTo>
                  <a:lnTo>
                    <a:pt x="551" y="1183"/>
                  </a:lnTo>
                  <a:lnTo>
                    <a:pt x="479" y="1323"/>
                  </a:lnTo>
                  <a:lnTo>
                    <a:pt x="423" y="1474"/>
                  </a:lnTo>
                  <a:lnTo>
                    <a:pt x="385" y="1636"/>
                  </a:lnTo>
                  <a:lnTo>
                    <a:pt x="0" y="1580"/>
                  </a:lnTo>
                  <a:lnTo>
                    <a:pt x="43" y="1356"/>
                  </a:lnTo>
                  <a:lnTo>
                    <a:pt x="113" y="1144"/>
                  </a:lnTo>
                  <a:lnTo>
                    <a:pt x="205" y="948"/>
                  </a:lnTo>
                  <a:lnTo>
                    <a:pt x="321" y="765"/>
                  </a:lnTo>
                  <a:lnTo>
                    <a:pt x="454" y="601"/>
                  </a:lnTo>
                  <a:lnTo>
                    <a:pt x="607" y="454"/>
                  </a:lnTo>
                  <a:lnTo>
                    <a:pt x="774" y="324"/>
                  </a:lnTo>
                  <a:lnTo>
                    <a:pt x="955" y="214"/>
                  </a:lnTo>
                  <a:lnTo>
                    <a:pt x="1146" y="128"/>
                  </a:lnTo>
                  <a:lnTo>
                    <a:pt x="1347" y="63"/>
                  </a:lnTo>
                  <a:lnTo>
                    <a:pt x="1554" y="21"/>
                  </a:lnTo>
                  <a:lnTo>
                    <a:pt x="1769" y="1"/>
                  </a:lnTo>
                  <a:lnTo>
                    <a:pt x="1875" y="0"/>
                  </a:lnTo>
                  <a:lnTo>
                    <a:pt x="1984" y="5"/>
                  </a:lnTo>
                  <a:lnTo>
                    <a:pt x="2201" y="38"/>
                  </a:lnTo>
                  <a:lnTo>
                    <a:pt x="2416" y="98"/>
                  </a:lnTo>
                  <a:lnTo>
                    <a:pt x="2630" y="189"/>
                  </a:lnTo>
                  <a:lnTo>
                    <a:pt x="2637" y="204"/>
                  </a:lnTo>
                  <a:lnTo>
                    <a:pt x="2639" y="228"/>
                  </a:lnTo>
                  <a:lnTo>
                    <a:pt x="2624" y="292"/>
                  </a:lnTo>
                  <a:lnTo>
                    <a:pt x="2535" y="462"/>
                  </a:lnTo>
                  <a:lnTo>
                    <a:pt x="2412" y="642"/>
                  </a:lnTo>
                  <a:lnTo>
                    <a:pt x="2296" y="773"/>
                  </a:lnTo>
                  <a:close/>
                </a:path>
              </a:pathLst>
            </a:custGeom>
            <a:gradFill rotWithShape="1">
              <a:gsLst>
                <a:gs pos="0">
                  <a:srgbClr val="746113"/>
                </a:gs>
                <a:gs pos="100000">
                  <a:srgbClr val="FBD128"/>
                </a:gs>
              </a:gsLst>
              <a:path path="rect">
                <a:fillToRect l="50000" t="50000" r="50000" b="50000"/>
              </a:path>
            </a:gradFill>
            <a:ln w="9525">
              <a:no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grpSp>
          <p:nvGrpSpPr>
            <p:cNvPr id="16" name="Group 33"/>
            <p:cNvGrpSpPr>
              <a:grpSpLocks/>
            </p:cNvGrpSpPr>
            <p:nvPr/>
          </p:nvGrpSpPr>
          <p:grpSpPr bwMode="auto">
            <a:xfrm rot="2871783">
              <a:off x="2816" y="755"/>
              <a:ext cx="294" cy="339"/>
              <a:chOff x="2005" y="2786"/>
              <a:chExt cx="672" cy="781"/>
            </a:xfrm>
          </p:grpSpPr>
          <p:sp>
            <p:nvSpPr>
              <p:cNvPr id="37" name="Freeform 34"/>
              <p:cNvSpPr>
                <a:spLocks/>
              </p:cNvSpPr>
              <p:nvPr/>
            </p:nvSpPr>
            <p:spPr bwMode="auto">
              <a:xfrm rot="9953702">
                <a:off x="2370" y="3196"/>
                <a:ext cx="78" cy="330"/>
              </a:xfrm>
              <a:custGeom>
                <a:avLst/>
                <a:gdLst>
                  <a:gd name="T0" fmla="*/ 21 w 156"/>
                  <a:gd name="T1" fmla="*/ 389 h 660"/>
                  <a:gd name="T2" fmla="*/ 0 w 156"/>
                  <a:gd name="T3" fmla="*/ 0 h 660"/>
                  <a:gd name="T4" fmla="*/ 91 w 156"/>
                  <a:gd name="T5" fmla="*/ 283 h 660"/>
                  <a:gd name="T6" fmla="*/ 156 w 156"/>
                  <a:gd name="T7" fmla="*/ 660 h 660"/>
                  <a:gd name="T8" fmla="*/ 21 w 156"/>
                  <a:gd name="T9" fmla="*/ 389 h 660"/>
                  <a:gd name="T10" fmla="*/ 0 60000 65536"/>
                  <a:gd name="T11" fmla="*/ 0 60000 65536"/>
                  <a:gd name="T12" fmla="*/ 0 60000 65536"/>
                  <a:gd name="T13" fmla="*/ 0 60000 65536"/>
                  <a:gd name="T14" fmla="*/ 0 60000 65536"/>
                  <a:gd name="T15" fmla="*/ 0 w 156"/>
                  <a:gd name="T16" fmla="*/ 0 h 660"/>
                  <a:gd name="T17" fmla="*/ 156 w 156"/>
                  <a:gd name="T18" fmla="*/ 660 h 660"/>
                </a:gdLst>
                <a:ahLst/>
                <a:cxnLst>
                  <a:cxn ang="T10">
                    <a:pos x="T0" y="T1"/>
                  </a:cxn>
                  <a:cxn ang="T11">
                    <a:pos x="T2" y="T3"/>
                  </a:cxn>
                  <a:cxn ang="T12">
                    <a:pos x="T4" y="T5"/>
                  </a:cxn>
                  <a:cxn ang="T13">
                    <a:pos x="T6" y="T7"/>
                  </a:cxn>
                  <a:cxn ang="T14">
                    <a:pos x="T8" y="T9"/>
                  </a:cxn>
                </a:cxnLst>
                <a:rect l="T15" t="T16" r="T17" b="T18"/>
                <a:pathLst>
                  <a:path w="156" h="660">
                    <a:moveTo>
                      <a:pt x="21" y="389"/>
                    </a:moveTo>
                    <a:lnTo>
                      <a:pt x="0" y="0"/>
                    </a:lnTo>
                    <a:lnTo>
                      <a:pt x="91" y="283"/>
                    </a:lnTo>
                    <a:lnTo>
                      <a:pt x="156" y="660"/>
                    </a:lnTo>
                    <a:lnTo>
                      <a:pt x="21" y="389"/>
                    </a:lnTo>
                    <a:close/>
                  </a:path>
                </a:pathLst>
              </a:custGeom>
              <a:solidFill>
                <a:srgbClr val="FFED24"/>
              </a:solidFill>
              <a:ln w="9525">
                <a:no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sp>
            <p:nvSpPr>
              <p:cNvPr id="38" name="Freeform 35"/>
              <p:cNvSpPr>
                <a:spLocks/>
              </p:cNvSpPr>
              <p:nvPr/>
            </p:nvSpPr>
            <p:spPr bwMode="auto">
              <a:xfrm rot="9953702">
                <a:off x="2385" y="2786"/>
                <a:ext cx="290" cy="155"/>
              </a:xfrm>
              <a:custGeom>
                <a:avLst/>
                <a:gdLst>
                  <a:gd name="T0" fmla="*/ 335 w 582"/>
                  <a:gd name="T1" fmla="*/ 22 h 310"/>
                  <a:gd name="T2" fmla="*/ 0 w 582"/>
                  <a:gd name="T3" fmla="*/ 310 h 310"/>
                  <a:gd name="T4" fmla="*/ 258 w 582"/>
                  <a:gd name="T5" fmla="*/ 189 h 310"/>
                  <a:gd name="T6" fmla="*/ 582 w 582"/>
                  <a:gd name="T7" fmla="*/ 0 h 310"/>
                  <a:gd name="T8" fmla="*/ 335 w 582"/>
                  <a:gd name="T9" fmla="*/ 22 h 310"/>
                  <a:gd name="T10" fmla="*/ 0 60000 65536"/>
                  <a:gd name="T11" fmla="*/ 0 60000 65536"/>
                  <a:gd name="T12" fmla="*/ 0 60000 65536"/>
                  <a:gd name="T13" fmla="*/ 0 60000 65536"/>
                  <a:gd name="T14" fmla="*/ 0 60000 65536"/>
                  <a:gd name="T15" fmla="*/ 0 w 582"/>
                  <a:gd name="T16" fmla="*/ 0 h 310"/>
                  <a:gd name="T17" fmla="*/ 582 w 582"/>
                  <a:gd name="T18" fmla="*/ 310 h 310"/>
                </a:gdLst>
                <a:ahLst/>
                <a:cxnLst>
                  <a:cxn ang="T10">
                    <a:pos x="T0" y="T1"/>
                  </a:cxn>
                  <a:cxn ang="T11">
                    <a:pos x="T2" y="T3"/>
                  </a:cxn>
                  <a:cxn ang="T12">
                    <a:pos x="T4" y="T5"/>
                  </a:cxn>
                  <a:cxn ang="T13">
                    <a:pos x="T6" y="T7"/>
                  </a:cxn>
                  <a:cxn ang="T14">
                    <a:pos x="T8" y="T9"/>
                  </a:cxn>
                </a:cxnLst>
                <a:rect l="T15" t="T16" r="T17" b="T18"/>
                <a:pathLst>
                  <a:path w="582" h="310">
                    <a:moveTo>
                      <a:pt x="335" y="22"/>
                    </a:moveTo>
                    <a:lnTo>
                      <a:pt x="0" y="310"/>
                    </a:lnTo>
                    <a:lnTo>
                      <a:pt x="258" y="189"/>
                    </a:lnTo>
                    <a:lnTo>
                      <a:pt x="582" y="0"/>
                    </a:lnTo>
                    <a:lnTo>
                      <a:pt x="335" y="22"/>
                    </a:lnTo>
                    <a:close/>
                  </a:path>
                </a:pathLst>
              </a:custGeom>
              <a:solidFill>
                <a:srgbClr val="FFED24"/>
              </a:solidFill>
              <a:ln w="9525">
                <a:no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sp>
            <p:nvSpPr>
              <p:cNvPr id="39" name="Freeform 36"/>
              <p:cNvSpPr>
                <a:spLocks/>
              </p:cNvSpPr>
              <p:nvPr/>
            </p:nvSpPr>
            <p:spPr bwMode="auto">
              <a:xfrm rot="9953702">
                <a:off x="2082" y="2977"/>
                <a:ext cx="342" cy="590"/>
              </a:xfrm>
              <a:custGeom>
                <a:avLst/>
                <a:gdLst>
                  <a:gd name="T0" fmla="*/ 684 w 684"/>
                  <a:gd name="T1" fmla="*/ 1179 h 1179"/>
                  <a:gd name="T2" fmla="*/ 404 w 684"/>
                  <a:gd name="T3" fmla="*/ 1023 h 1179"/>
                  <a:gd name="T4" fmla="*/ 99 w 684"/>
                  <a:gd name="T5" fmla="*/ 313 h 1179"/>
                  <a:gd name="T6" fmla="*/ 0 w 684"/>
                  <a:gd name="T7" fmla="*/ 0 h 1179"/>
                  <a:gd name="T8" fmla="*/ 684 w 684"/>
                  <a:gd name="T9" fmla="*/ 1179 h 1179"/>
                  <a:gd name="T10" fmla="*/ 0 60000 65536"/>
                  <a:gd name="T11" fmla="*/ 0 60000 65536"/>
                  <a:gd name="T12" fmla="*/ 0 60000 65536"/>
                  <a:gd name="T13" fmla="*/ 0 60000 65536"/>
                  <a:gd name="T14" fmla="*/ 0 60000 65536"/>
                  <a:gd name="T15" fmla="*/ 0 w 684"/>
                  <a:gd name="T16" fmla="*/ 0 h 1179"/>
                  <a:gd name="T17" fmla="*/ 684 w 684"/>
                  <a:gd name="T18" fmla="*/ 1179 h 1179"/>
                </a:gdLst>
                <a:ahLst/>
                <a:cxnLst>
                  <a:cxn ang="T10">
                    <a:pos x="T0" y="T1"/>
                  </a:cxn>
                  <a:cxn ang="T11">
                    <a:pos x="T2" y="T3"/>
                  </a:cxn>
                  <a:cxn ang="T12">
                    <a:pos x="T4" y="T5"/>
                  </a:cxn>
                  <a:cxn ang="T13">
                    <a:pos x="T6" y="T7"/>
                  </a:cxn>
                  <a:cxn ang="T14">
                    <a:pos x="T8" y="T9"/>
                  </a:cxn>
                </a:cxnLst>
                <a:rect l="T15" t="T16" r="T17" b="T18"/>
                <a:pathLst>
                  <a:path w="684" h="1179">
                    <a:moveTo>
                      <a:pt x="684" y="1179"/>
                    </a:moveTo>
                    <a:lnTo>
                      <a:pt x="404" y="1023"/>
                    </a:lnTo>
                    <a:lnTo>
                      <a:pt x="99" y="313"/>
                    </a:lnTo>
                    <a:lnTo>
                      <a:pt x="0" y="0"/>
                    </a:lnTo>
                    <a:lnTo>
                      <a:pt x="684" y="1179"/>
                    </a:lnTo>
                    <a:close/>
                  </a:path>
                </a:pathLst>
              </a:custGeom>
              <a:solidFill>
                <a:srgbClr val="FFAD2C"/>
              </a:solidFill>
              <a:ln w="9525">
                <a:no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sp>
            <p:nvSpPr>
              <p:cNvPr id="40" name="Freeform 37"/>
              <p:cNvSpPr>
                <a:spLocks/>
              </p:cNvSpPr>
              <p:nvPr/>
            </p:nvSpPr>
            <p:spPr bwMode="auto">
              <a:xfrm rot="9953702">
                <a:off x="2005" y="2848"/>
                <a:ext cx="672" cy="176"/>
              </a:xfrm>
              <a:custGeom>
                <a:avLst/>
                <a:gdLst>
                  <a:gd name="T0" fmla="*/ 1345 w 1345"/>
                  <a:gd name="T1" fmla="*/ 154 h 352"/>
                  <a:gd name="T2" fmla="*/ 0 w 1345"/>
                  <a:gd name="T3" fmla="*/ 352 h 352"/>
                  <a:gd name="T4" fmla="*/ 240 w 1345"/>
                  <a:gd name="T5" fmla="*/ 229 h 352"/>
                  <a:gd name="T6" fmla="*/ 889 w 1345"/>
                  <a:gd name="T7" fmla="*/ 0 h 352"/>
                  <a:gd name="T8" fmla="*/ 1244 w 1345"/>
                  <a:gd name="T9" fmla="*/ 98 h 352"/>
                  <a:gd name="T10" fmla="*/ 1345 w 1345"/>
                  <a:gd name="T11" fmla="*/ 154 h 352"/>
                  <a:gd name="T12" fmla="*/ 0 60000 65536"/>
                  <a:gd name="T13" fmla="*/ 0 60000 65536"/>
                  <a:gd name="T14" fmla="*/ 0 60000 65536"/>
                  <a:gd name="T15" fmla="*/ 0 60000 65536"/>
                  <a:gd name="T16" fmla="*/ 0 60000 65536"/>
                  <a:gd name="T17" fmla="*/ 0 60000 65536"/>
                  <a:gd name="T18" fmla="*/ 0 w 1345"/>
                  <a:gd name="T19" fmla="*/ 0 h 352"/>
                  <a:gd name="T20" fmla="*/ 1345 w 1345"/>
                  <a:gd name="T21" fmla="*/ 352 h 352"/>
                </a:gdLst>
                <a:ahLst/>
                <a:cxnLst>
                  <a:cxn ang="T12">
                    <a:pos x="T0" y="T1"/>
                  </a:cxn>
                  <a:cxn ang="T13">
                    <a:pos x="T2" y="T3"/>
                  </a:cxn>
                  <a:cxn ang="T14">
                    <a:pos x="T4" y="T5"/>
                  </a:cxn>
                  <a:cxn ang="T15">
                    <a:pos x="T6" y="T7"/>
                  </a:cxn>
                  <a:cxn ang="T16">
                    <a:pos x="T8" y="T9"/>
                  </a:cxn>
                  <a:cxn ang="T17">
                    <a:pos x="T10" y="T11"/>
                  </a:cxn>
                </a:cxnLst>
                <a:rect l="T18" t="T19" r="T20" b="T21"/>
                <a:pathLst>
                  <a:path w="1345" h="352">
                    <a:moveTo>
                      <a:pt x="1345" y="154"/>
                    </a:moveTo>
                    <a:lnTo>
                      <a:pt x="0" y="352"/>
                    </a:lnTo>
                    <a:lnTo>
                      <a:pt x="240" y="229"/>
                    </a:lnTo>
                    <a:lnTo>
                      <a:pt x="889" y="0"/>
                    </a:lnTo>
                    <a:lnTo>
                      <a:pt x="1244" y="98"/>
                    </a:lnTo>
                    <a:lnTo>
                      <a:pt x="1345" y="154"/>
                    </a:lnTo>
                    <a:close/>
                  </a:path>
                </a:pathLst>
              </a:custGeom>
              <a:solidFill>
                <a:srgbClr val="FB9214"/>
              </a:solidFill>
              <a:ln w="11113">
                <a:solidFill>
                  <a:srgbClr val="FB9214"/>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sp>
            <p:nvSpPr>
              <p:cNvPr id="41" name="Freeform 38"/>
              <p:cNvSpPr>
                <a:spLocks/>
              </p:cNvSpPr>
              <p:nvPr/>
            </p:nvSpPr>
            <p:spPr bwMode="auto">
              <a:xfrm rot="9953702">
                <a:off x="2111" y="2890"/>
                <a:ext cx="513" cy="502"/>
              </a:xfrm>
              <a:custGeom>
                <a:avLst/>
                <a:gdLst>
                  <a:gd name="T0" fmla="*/ 546 w 1025"/>
                  <a:gd name="T1" fmla="*/ 0 h 1004"/>
                  <a:gd name="T2" fmla="*/ 1025 w 1025"/>
                  <a:gd name="T3" fmla="*/ 831 h 1004"/>
                  <a:gd name="T4" fmla="*/ 0 w 1025"/>
                  <a:gd name="T5" fmla="*/ 1004 h 1004"/>
                  <a:gd name="T6" fmla="*/ 221 w 1025"/>
                  <a:gd name="T7" fmla="*/ 816 h 1004"/>
                  <a:gd name="T8" fmla="*/ 555 w 1025"/>
                  <a:gd name="T9" fmla="*/ 229 h 1004"/>
                  <a:gd name="T10" fmla="*/ 546 w 1025"/>
                  <a:gd name="T11" fmla="*/ 0 h 1004"/>
                  <a:gd name="T12" fmla="*/ 0 60000 65536"/>
                  <a:gd name="T13" fmla="*/ 0 60000 65536"/>
                  <a:gd name="T14" fmla="*/ 0 60000 65536"/>
                  <a:gd name="T15" fmla="*/ 0 60000 65536"/>
                  <a:gd name="T16" fmla="*/ 0 60000 65536"/>
                  <a:gd name="T17" fmla="*/ 0 60000 65536"/>
                  <a:gd name="T18" fmla="*/ 0 w 1025"/>
                  <a:gd name="T19" fmla="*/ 0 h 1004"/>
                  <a:gd name="T20" fmla="*/ 1025 w 1025"/>
                  <a:gd name="T21" fmla="*/ 1004 h 1004"/>
                </a:gdLst>
                <a:ahLst/>
                <a:cxnLst>
                  <a:cxn ang="T12">
                    <a:pos x="T0" y="T1"/>
                  </a:cxn>
                  <a:cxn ang="T13">
                    <a:pos x="T2" y="T3"/>
                  </a:cxn>
                  <a:cxn ang="T14">
                    <a:pos x="T4" y="T5"/>
                  </a:cxn>
                  <a:cxn ang="T15">
                    <a:pos x="T6" y="T7"/>
                  </a:cxn>
                  <a:cxn ang="T16">
                    <a:pos x="T8" y="T9"/>
                  </a:cxn>
                  <a:cxn ang="T17">
                    <a:pos x="T10" y="T11"/>
                  </a:cxn>
                </a:cxnLst>
                <a:rect l="T18" t="T19" r="T20" b="T21"/>
                <a:pathLst>
                  <a:path w="1025" h="1004">
                    <a:moveTo>
                      <a:pt x="546" y="0"/>
                    </a:moveTo>
                    <a:lnTo>
                      <a:pt x="1025" y="831"/>
                    </a:lnTo>
                    <a:lnTo>
                      <a:pt x="0" y="1004"/>
                    </a:lnTo>
                    <a:lnTo>
                      <a:pt x="221" y="816"/>
                    </a:lnTo>
                    <a:lnTo>
                      <a:pt x="555" y="229"/>
                    </a:lnTo>
                    <a:lnTo>
                      <a:pt x="546" y="0"/>
                    </a:lnTo>
                    <a:close/>
                  </a:path>
                </a:pathLst>
              </a:custGeom>
              <a:solidFill>
                <a:srgbClr val="FBD128"/>
              </a:solidFill>
              <a:ln w="9525">
                <a:no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grpSp>
      </p:grpSp>
      <p:grpSp>
        <p:nvGrpSpPr>
          <p:cNvPr id="22" name="Group 39"/>
          <p:cNvGrpSpPr>
            <a:grpSpLocks/>
          </p:cNvGrpSpPr>
          <p:nvPr/>
        </p:nvGrpSpPr>
        <p:grpSpPr bwMode="auto">
          <a:xfrm rot="13615009">
            <a:off x="6475451" y="2183217"/>
            <a:ext cx="1406525" cy="776288"/>
            <a:chOff x="2789" y="770"/>
            <a:chExt cx="768" cy="424"/>
          </a:xfrm>
        </p:grpSpPr>
        <p:sp>
          <p:nvSpPr>
            <p:cNvPr id="43" name="Freeform 40"/>
            <p:cNvSpPr>
              <a:spLocks/>
            </p:cNvSpPr>
            <p:nvPr/>
          </p:nvSpPr>
          <p:spPr bwMode="auto">
            <a:xfrm rot="-8774515">
              <a:off x="2927" y="798"/>
              <a:ext cx="630" cy="396"/>
            </a:xfrm>
            <a:custGeom>
              <a:avLst/>
              <a:gdLst>
                <a:gd name="T0" fmla="*/ 2360 w 2903"/>
                <a:gd name="T1" fmla="*/ 899 h 1823"/>
                <a:gd name="T2" fmla="*/ 2214 w 2903"/>
                <a:gd name="T3" fmla="*/ 827 h 1823"/>
                <a:gd name="T4" fmla="*/ 2064 w 2903"/>
                <a:gd name="T5" fmla="*/ 773 h 1823"/>
                <a:gd name="T6" fmla="*/ 1912 w 2903"/>
                <a:gd name="T7" fmla="*/ 741 h 1823"/>
                <a:gd name="T8" fmla="*/ 1758 w 2903"/>
                <a:gd name="T9" fmla="*/ 728 h 1823"/>
                <a:gd name="T10" fmla="*/ 1685 w 2903"/>
                <a:gd name="T11" fmla="*/ 728 h 1823"/>
                <a:gd name="T12" fmla="*/ 1609 w 2903"/>
                <a:gd name="T13" fmla="*/ 732 h 1823"/>
                <a:gd name="T14" fmla="*/ 1459 w 2903"/>
                <a:gd name="T15" fmla="*/ 758 h 1823"/>
                <a:gd name="T16" fmla="*/ 1316 w 2903"/>
                <a:gd name="T17" fmla="*/ 800 h 1823"/>
                <a:gd name="T18" fmla="*/ 1178 w 2903"/>
                <a:gd name="T19" fmla="*/ 860 h 1823"/>
                <a:gd name="T20" fmla="*/ 1051 w 2903"/>
                <a:gd name="T21" fmla="*/ 933 h 1823"/>
                <a:gd name="T22" fmla="*/ 931 w 2903"/>
                <a:gd name="T23" fmla="*/ 1023 h 1823"/>
                <a:gd name="T24" fmla="*/ 825 w 2903"/>
                <a:gd name="T25" fmla="*/ 1126 h 1823"/>
                <a:gd name="T26" fmla="*/ 730 w 2903"/>
                <a:gd name="T27" fmla="*/ 1242 h 1823"/>
                <a:gd name="T28" fmla="*/ 653 w 2903"/>
                <a:gd name="T29" fmla="*/ 1369 h 1823"/>
                <a:gd name="T30" fmla="*/ 589 w 2903"/>
                <a:gd name="T31" fmla="*/ 1511 h 1823"/>
                <a:gd name="T32" fmla="*/ 545 w 2903"/>
                <a:gd name="T33" fmla="*/ 1662 h 1823"/>
                <a:gd name="T34" fmla="*/ 520 w 2903"/>
                <a:gd name="T35" fmla="*/ 1823 h 1823"/>
                <a:gd name="T36" fmla="*/ 0 w 2903"/>
                <a:gd name="T37" fmla="*/ 1790 h 1823"/>
                <a:gd name="T38" fmla="*/ 29 w 2903"/>
                <a:gd name="T39" fmla="*/ 1548 h 1823"/>
                <a:gd name="T40" fmla="*/ 89 w 2903"/>
                <a:gd name="T41" fmla="*/ 1316 h 1823"/>
                <a:gd name="T42" fmla="*/ 175 w 2903"/>
                <a:gd name="T43" fmla="*/ 1100 h 1823"/>
                <a:gd name="T44" fmla="*/ 285 w 2903"/>
                <a:gd name="T45" fmla="*/ 896 h 1823"/>
                <a:gd name="T46" fmla="*/ 417 w 2903"/>
                <a:gd name="T47" fmla="*/ 712 h 1823"/>
                <a:gd name="T48" fmla="*/ 571 w 2903"/>
                <a:gd name="T49" fmla="*/ 546 h 1823"/>
                <a:gd name="T50" fmla="*/ 741 w 2903"/>
                <a:gd name="T51" fmla="*/ 400 h 1823"/>
                <a:gd name="T52" fmla="*/ 930 w 2903"/>
                <a:gd name="T53" fmla="*/ 272 h 1823"/>
                <a:gd name="T54" fmla="*/ 1128 w 2903"/>
                <a:gd name="T55" fmla="*/ 170 h 1823"/>
                <a:gd name="T56" fmla="*/ 1340 w 2903"/>
                <a:gd name="T57" fmla="*/ 89 h 1823"/>
                <a:gd name="T58" fmla="*/ 1560 w 2903"/>
                <a:gd name="T59" fmla="*/ 34 h 1823"/>
                <a:gd name="T60" fmla="*/ 1787 w 2903"/>
                <a:gd name="T61" fmla="*/ 4 h 1823"/>
                <a:gd name="T62" fmla="*/ 1902 w 2903"/>
                <a:gd name="T63" fmla="*/ 0 h 1823"/>
                <a:gd name="T64" fmla="*/ 2018 w 2903"/>
                <a:gd name="T65" fmla="*/ 1 h 1823"/>
                <a:gd name="T66" fmla="*/ 2251 w 2903"/>
                <a:gd name="T67" fmla="*/ 28 h 1823"/>
                <a:gd name="T68" fmla="*/ 2484 w 2903"/>
                <a:gd name="T69" fmla="*/ 85 h 1823"/>
                <a:gd name="T70" fmla="*/ 2717 w 2903"/>
                <a:gd name="T71" fmla="*/ 174 h 1823"/>
                <a:gd name="T72" fmla="*/ 2774 w 2903"/>
                <a:gd name="T73" fmla="*/ 263 h 1823"/>
                <a:gd name="T74" fmla="*/ 2849 w 2903"/>
                <a:gd name="T75" fmla="*/ 430 h 1823"/>
                <a:gd name="T76" fmla="*/ 2899 w 2903"/>
                <a:gd name="T77" fmla="*/ 607 h 1823"/>
                <a:gd name="T78" fmla="*/ 2902 w 2903"/>
                <a:gd name="T79" fmla="*/ 645 h 1823"/>
                <a:gd name="T80" fmla="*/ 2902 w 2903"/>
                <a:gd name="T81" fmla="*/ 662 h 1823"/>
                <a:gd name="T82" fmla="*/ 2903 w 2903"/>
                <a:gd name="T83" fmla="*/ 680 h 1823"/>
                <a:gd name="T84" fmla="*/ 2883 w 2903"/>
                <a:gd name="T85" fmla="*/ 735 h 1823"/>
                <a:gd name="T86" fmla="*/ 2832 w 2903"/>
                <a:gd name="T87" fmla="*/ 794 h 1823"/>
                <a:gd name="T88" fmla="*/ 2762 w 2903"/>
                <a:gd name="T89" fmla="*/ 834 h 1823"/>
                <a:gd name="T90" fmla="*/ 2600 w 2903"/>
                <a:gd name="T91" fmla="*/ 870 h 1823"/>
                <a:gd name="T92" fmla="*/ 2451 w 2903"/>
                <a:gd name="T93" fmla="*/ 878 h 1823"/>
                <a:gd name="T94" fmla="*/ 2360 w 2903"/>
                <a:gd name="T95" fmla="*/ 899 h 182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903"/>
                <a:gd name="T145" fmla="*/ 0 h 1823"/>
                <a:gd name="T146" fmla="*/ 2903 w 2903"/>
                <a:gd name="T147" fmla="*/ 1823 h 182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903" h="1823">
                  <a:moveTo>
                    <a:pt x="2360" y="899"/>
                  </a:moveTo>
                  <a:lnTo>
                    <a:pt x="2214" y="827"/>
                  </a:lnTo>
                  <a:lnTo>
                    <a:pt x="2064" y="773"/>
                  </a:lnTo>
                  <a:lnTo>
                    <a:pt x="1912" y="741"/>
                  </a:lnTo>
                  <a:lnTo>
                    <a:pt x="1758" y="728"/>
                  </a:lnTo>
                  <a:lnTo>
                    <a:pt x="1685" y="728"/>
                  </a:lnTo>
                  <a:lnTo>
                    <a:pt x="1609" y="732"/>
                  </a:lnTo>
                  <a:lnTo>
                    <a:pt x="1459" y="758"/>
                  </a:lnTo>
                  <a:lnTo>
                    <a:pt x="1316" y="800"/>
                  </a:lnTo>
                  <a:lnTo>
                    <a:pt x="1178" y="860"/>
                  </a:lnTo>
                  <a:lnTo>
                    <a:pt x="1051" y="933"/>
                  </a:lnTo>
                  <a:lnTo>
                    <a:pt x="931" y="1023"/>
                  </a:lnTo>
                  <a:lnTo>
                    <a:pt x="825" y="1126"/>
                  </a:lnTo>
                  <a:lnTo>
                    <a:pt x="730" y="1242"/>
                  </a:lnTo>
                  <a:lnTo>
                    <a:pt x="653" y="1369"/>
                  </a:lnTo>
                  <a:lnTo>
                    <a:pt x="589" y="1511"/>
                  </a:lnTo>
                  <a:lnTo>
                    <a:pt x="545" y="1662"/>
                  </a:lnTo>
                  <a:lnTo>
                    <a:pt x="520" y="1823"/>
                  </a:lnTo>
                  <a:lnTo>
                    <a:pt x="0" y="1790"/>
                  </a:lnTo>
                  <a:lnTo>
                    <a:pt x="29" y="1548"/>
                  </a:lnTo>
                  <a:lnTo>
                    <a:pt x="89" y="1316"/>
                  </a:lnTo>
                  <a:lnTo>
                    <a:pt x="175" y="1100"/>
                  </a:lnTo>
                  <a:lnTo>
                    <a:pt x="285" y="896"/>
                  </a:lnTo>
                  <a:lnTo>
                    <a:pt x="417" y="712"/>
                  </a:lnTo>
                  <a:lnTo>
                    <a:pt x="571" y="546"/>
                  </a:lnTo>
                  <a:lnTo>
                    <a:pt x="741" y="400"/>
                  </a:lnTo>
                  <a:lnTo>
                    <a:pt x="930" y="272"/>
                  </a:lnTo>
                  <a:lnTo>
                    <a:pt x="1128" y="170"/>
                  </a:lnTo>
                  <a:lnTo>
                    <a:pt x="1340" y="89"/>
                  </a:lnTo>
                  <a:lnTo>
                    <a:pt x="1560" y="34"/>
                  </a:lnTo>
                  <a:lnTo>
                    <a:pt x="1787" y="4"/>
                  </a:lnTo>
                  <a:lnTo>
                    <a:pt x="1902" y="0"/>
                  </a:lnTo>
                  <a:lnTo>
                    <a:pt x="2018" y="1"/>
                  </a:lnTo>
                  <a:lnTo>
                    <a:pt x="2251" y="28"/>
                  </a:lnTo>
                  <a:lnTo>
                    <a:pt x="2484" y="85"/>
                  </a:lnTo>
                  <a:lnTo>
                    <a:pt x="2717" y="174"/>
                  </a:lnTo>
                  <a:lnTo>
                    <a:pt x="2774" y="263"/>
                  </a:lnTo>
                  <a:lnTo>
                    <a:pt x="2849" y="430"/>
                  </a:lnTo>
                  <a:lnTo>
                    <a:pt x="2899" y="607"/>
                  </a:lnTo>
                  <a:lnTo>
                    <a:pt x="2902" y="645"/>
                  </a:lnTo>
                  <a:lnTo>
                    <a:pt x="2902" y="662"/>
                  </a:lnTo>
                  <a:lnTo>
                    <a:pt x="2903" y="680"/>
                  </a:lnTo>
                  <a:lnTo>
                    <a:pt x="2883" y="735"/>
                  </a:lnTo>
                  <a:lnTo>
                    <a:pt x="2832" y="794"/>
                  </a:lnTo>
                  <a:lnTo>
                    <a:pt x="2762" y="834"/>
                  </a:lnTo>
                  <a:lnTo>
                    <a:pt x="2600" y="870"/>
                  </a:lnTo>
                  <a:lnTo>
                    <a:pt x="2451" y="878"/>
                  </a:lnTo>
                  <a:lnTo>
                    <a:pt x="2360" y="899"/>
                  </a:lnTo>
                  <a:close/>
                </a:path>
              </a:pathLst>
            </a:custGeom>
            <a:solidFill>
              <a:srgbClr val="FFED24"/>
            </a:solidFill>
            <a:ln w="9525">
              <a:no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sp>
          <p:nvSpPr>
            <p:cNvPr id="44" name="Freeform 41"/>
            <p:cNvSpPr>
              <a:spLocks/>
            </p:cNvSpPr>
            <p:nvPr/>
          </p:nvSpPr>
          <p:spPr bwMode="auto">
            <a:xfrm rot="-8774515">
              <a:off x="2954" y="778"/>
              <a:ext cx="534" cy="334"/>
            </a:xfrm>
            <a:custGeom>
              <a:avLst/>
              <a:gdLst>
                <a:gd name="T0" fmla="*/ 1926 w 2459"/>
                <a:gd name="T1" fmla="*/ 616 h 1540"/>
                <a:gd name="T2" fmla="*/ 1780 w 2459"/>
                <a:gd name="T3" fmla="*/ 544 h 1540"/>
                <a:gd name="T4" fmla="*/ 1630 w 2459"/>
                <a:gd name="T5" fmla="*/ 490 h 1540"/>
                <a:gd name="T6" fmla="*/ 1478 w 2459"/>
                <a:gd name="T7" fmla="*/ 458 h 1540"/>
                <a:gd name="T8" fmla="*/ 1324 w 2459"/>
                <a:gd name="T9" fmla="*/ 445 h 1540"/>
                <a:gd name="T10" fmla="*/ 1251 w 2459"/>
                <a:gd name="T11" fmla="*/ 445 h 1540"/>
                <a:gd name="T12" fmla="*/ 1175 w 2459"/>
                <a:gd name="T13" fmla="*/ 449 h 1540"/>
                <a:gd name="T14" fmla="*/ 1025 w 2459"/>
                <a:gd name="T15" fmla="*/ 475 h 1540"/>
                <a:gd name="T16" fmla="*/ 882 w 2459"/>
                <a:gd name="T17" fmla="*/ 517 h 1540"/>
                <a:gd name="T18" fmla="*/ 744 w 2459"/>
                <a:gd name="T19" fmla="*/ 577 h 1540"/>
                <a:gd name="T20" fmla="*/ 617 w 2459"/>
                <a:gd name="T21" fmla="*/ 650 h 1540"/>
                <a:gd name="T22" fmla="*/ 497 w 2459"/>
                <a:gd name="T23" fmla="*/ 740 h 1540"/>
                <a:gd name="T24" fmla="*/ 391 w 2459"/>
                <a:gd name="T25" fmla="*/ 843 h 1540"/>
                <a:gd name="T26" fmla="*/ 296 w 2459"/>
                <a:gd name="T27" fmla="*/ 959 h 1540"/>
                <a:gd name="T28" fmla="*/ 219 w 2459"/>
                <a:gd name="T29" fmla="*/ 1086 h 1540"/>
                <a:gd name="T30" fmla="*/ 155 w 2459"/>
                <a:gd name="T31" fmla="*/ 1228 h 1540"/>
                <a:gd name="T32" fmla="*/ 111 w 2459"/>
                <a:gd name="T33" fmla="*/ 1379 h 1540"/>
                <a:gd name="T34" fmla="*/ 86 w 2459"/>
                <a:gd name="T35" fmla="*/ 1540 h 1540"/>
                <a:gd name="T36" fmla="*/ 0 w 2459"/>
                <a:gd name="T37" fmla="*/ 1376 h 1540"/>
                <a:gd name="T38" fmla="*/ 22 w 2459"/>
                <a:gd name="T39" fmla="*/ 1138 h 1540"/>
                <a:gd name="T40" fmla="*/ 60 w 2459"/>
                <a:gd name="T41" fmla="*/ 922 h 1540"/>
                <a:gd name="T42" fmla="*/ 113 w 2459"/>
                <a:gd name="T43" fmla="*/ 731 h 1540"/>
                <a:gd name="T44" fmla="*/ 183 w 2459"/>
                <a:gd name="T45" fmla="*/ 559 h 1540"/>
                <a:gd name="T46" fmla="*/ 265 w 2459"/>
                <a:gd name="T47" fmla="*/ 413 h 1540"/>
                <a:gd name="T48" fmla="*/ 363 w 2459"/>
                <a:gd name="T49" fmla="*/ 288 h 1540"/>
                <a:gd name="T50" fmla="*/ 473 w 2459"/>
                <a:gd name="T51" fmla="*/ 187 h 1540"/>
                <a:gd name="T52" fmla="*/ 599 w 2459"/>
                <a:gd name="T53" fmla="*/ 105 h 1540"/>
                <a:gd name="T54" fmla="*/ 736 w 2459"/>
                <a:gd name="T55" fmla="*/ 50 h 1540"/>
                <a:gd name="T56" fmla="*/ 889 w 2459"/>
                <a:gd name="T57" fmla="*/ 13 h 1540"/>
                <a:gd name="T58" fmla="*/ 1052 w 2459"/>
                <a:gd name="T59" fmla="*/ 0 h 1540"/>
                <a:gd name="T60" fmla="*/ 1139 w 2459"/>
                <a:gd name="T61" fmla="*/ 0 h 1540"/>
                <a:gd name="T62" fmla="*/ 1230 w 2459"/>
                <a:gd name="T63" fmla="*/ 6 h 1540"/>
                <a:gd name="T64" fmla="*/ 1418 w 2459"/>
                <a:gd name="T65" fmla="*/ 35 h 1540"/>
                <a:gd name="T66" fmla="*/ 1620 w 2459"/>
                <a:gd name="T67" fmla="*/ 87 h 1540"/>
                <a:gd name="T68" fmla="*/ 1832 w 2459"/>
                <a:gd name="T69" fmla="*/ 160 h 1540"/>
                <a:gd name="T70" fmla="*/ 2059 w 2459"/>
                <a:gd name="T71" fmla="*/ 257 h 1540"/>
                <a:gd name="T72" fmla="*/ 2151 w 2459"/>
                <a:gd name="T73" fmla="*/ 290 h 1540"/>
                <a:gd name="T74" fmla="*/ 2303 w 2459"/>
                <a:gd name="T75" fmla="*/ 331 h 1540"/>
                <a:gd name="T76" fmla="*/ 2429 w 2459"/>
                <a:gd name="T77" fmla="*/ 382 h 1540"/>
                <a:gd name="T78" fmla="*/ 2458 w 2459"/>
                <a:gd name="T79" fmla="*/ 413 h 1540"/>
                <a:gd name="T80" fmla="*/ 2459 w 2459"/>
                <a:gd name="T81" fmla="*/ 432 h 1540"/>
                <a:gd name="T82" fmla="*/ 2449 w 2459"/>
                <a:gd name="T83" fmla="*/ 452 h 1540"/>
                <a:gd name="T84" fmla="*/ 2398 w 2459"/>
                <a:gd name="T85" fmla="*/ 511 h 1540"/>
                <a:gd name="T86" fmla="*/ 2328 w 2459"/>
                <a:gd name="T87" fmla="*/ 551 h 1540"/>
                <a:gd name="T88" fmla="*/ 2166 w 2459"/>
                <a:gd name="T89" fmla="*/ 587 h 1540"/>
                <a:gd name="T90" fmla="*/ 2017 w 2459"/>
                <a:gd name="T91" fmla="*/ 595 h 1540"/>
                <a:gd name="T92" fmla="*/ 1926 w 2459"/>
                <a:gd name="T93" fmla="*/ 616 h 154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59"/>
                <a:gd name="T142" fmla="*/ 0 h 1540"/>
                <a:gd name="T143" fmla="*/ 2459 w 2459"/>
                <a:gd name="T144" fmla="*/ 1540 h 154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59" h="1540">
                  <a:moveTo>
                    <a:pt x="1926" y="616"/>
                  </a:moveTo>
                  <a:lnTo>
                    <a:pt x="1780" y="544"/>
                  </a:lnTo>
                  <a:lnTo>
                    <a:pt x="1630" y="490"/>
                  </a:lnTo>
                  <a:lnTo>
                    <a:pt x="1478" y="458"/>
                  </a:lnTo>
                  <a:lnTo>
                    <a:pt x="1324" y="445"/>
                  </a:lnTo>
                  <a:lnTo>
                    <a:pt x="1251" y="445"/>
                  </a:lnTo>
                  <a:lnTo>
                    <a:pt x="1175" y="449"/>
                  </a:lnTo>
                  <a:lnTo>
                    <a:pt x="1025" y="475"/>
                  </a:lnTo>
                  <a:lnTo>
                    <a:pt x="882" y="517"/>
                  </a:lnTo>
                  <a:lnTo>
                    <a:pt x="744" y="577"/>
                  </a:lnTo>
                  <a:lnTo>
                    <a:pt x="617" y="650"/>
                  </a:lnTo>
                  <a:lnTo>
                    <a:pt x="497" y="740"/>
                  </a:lnTo>
                  <a:lnTo>
                    <a:pt x="391" y="843"/>
                  </a:lnTo>
                  <a:lnTo>
                    <a:pt x="296" y="959"/>
                  </a:lnTo>
                  <a:lnTo>
                    <a:pt x="219" y="1086"/>
                  </a:lnTo>
                  <a:lnTo>
                    <a:pt x="155" y="1228"/>
                  </a:lnTo>
                  <a:lnTo>
                    <a:pt x="111" y="1379"/>
                  </a:lnTo>
                  <a:lnTo>
                    <a:pt x="86" y="1540"/>
                  </a:lnTo>
                  <a:lnTo>
                    <a:pt x="0" y="1376"/>
                  </a:lnTo>
                  <a:lnTo>
                    <a:pt x="22" y="1138"/>
                  </a:lnTo>
                  <a:lnTo>
                    <a:pt x="60" y="922"/>
                  </a:lnTo>
                  <a:lnTo>
                    <a:pt x="113" y="731"/>
                  </a:lnTo>
                  <a:lnTo>
                    <a:pt x="183" y="559"/>
                  </a:lnTo>
                  <a:lnTo>
                    <a:pt x="265" y="413"/>
                  </a:lnTo>
                  <a:lnTo>
                    <a:pt x="363" y="288"/>
                  </a:lnTo>
                  <a:lnTo>
                    <a:pt x="473" y="187"/>
                  </a:lnTo>
                  <a:lnTo>
                    <a:pt x="599" y="105"/>
                  </a:lnTo>
                  <a:lnTo>
                    <a:pt x="736" y="50"/>
                  </a:lnTo>
                  <a:lnTo>
                    <a:pt x="889" y="13"/>
                  </a:lnTo>
                  <a:lnTo>
                    <a:pt x="1052" y="0"/>
                  </a:lnTo>
                  <a:lnTo>
                    <a:pt x="1139" y="0"/>
                  </a:lnTo>
                  <a:lnTo>
                    <a:pt x="1230" y="6"/>
                  </a:lnTo>
                  <a:lnTo>
                    <a:pt x="1418" y="35"/>
                  </a:lnTo>
                  <a:lnTo>
                    <a:pt x="1620" y="87"/>
                  </a:lnTo>
                  <a:lnTo>
                    <a:pt x="1832" y="160"/>
                  </a:lnTo>
                  <a:lnTo>
                    <a:pt x="2059" y="257"/>
                  </a:lnTo>
                  <a:lnTo>
                    <a:pt x="2151" y="290"/>
                  </a:lnTo>
                  <a:lnTo>
                    <a:pt x="2303" y="331"/>
                  </a:lnTo>
                  <a:lnTo>
                    <a:pt x="2429" y="382"/>
                  </a:lnTo>
                  <a:lnTo>
                    <a:pt x="2458" y="413"/>
                  </a:lnTo>
                  <a:lnTo>
                    <a:pt x="2459" y="432"/>
                  </a:lnTo>
                  <a:lnTo>
                    <a:pt x="2449" y="452"/>
                  </a:lnTo>
                  <a:lnTo>
                    <a:pt x="2398" y="511"/>
                  </a:lnTo>
                  <a:lnTo>
                    <a:pt x="2328" y="551"/>
                  </a:lnTo>
                  <a:lnTo>
                    <a:pt x="2166" y="587"/>
                  </a:lnTo>
                  <a:lnTo>
                    <a:pt x="2017" y="595"/>
                  </a:lnTo>
                  <a:lnTo>
                    <a:pt x="1926" y="616"/>
                  </a:lnTo>
                  <a:close/>
                </a:path>
              </a:pathLst>
            </a:custGeom>
            <a:solidFill>
              <a:srgbClr val="FFAD2C"/>
            </a:solidFill>
            <a:ln w="9525">
              <a:no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sp>
          <p:nvSpPr>
            <p:cNvPr id="45" name="Freeform 42"/>
            <p:cNvSpPr>
              <a:spLocks/>
            </p:cNvSpPr>
            <p:nvPr/>
          </p:nvSpPr>
          <p:spPr bwMode="auto">
            <a:xfrm rot="-8774515">
              <a:off x="2962" y="834"/>
              <a:ext cx="573" cy="355"/>
            </a:xfrm>
            <a:custGeom>
              <a:avLst/>
              <a:gdLst>
                <a:gd name="T0" fmla="*/ 2296 w 2639"/>
                <a:gd name="T1" fmla="*/ 773 h 1636"/>
                <a:gd name="T2" fmla="*/ 2153 w 2639"/>
                <a:gd name="T3" fmla="*/ 695 h 1636"/>
                <a:gd name="T4" fmla="*/ 2004 w 2639"/>
                <a:gd name="T5" fmla="*/ 637 h 1636"/>
                <a:gd name="T6" fmla="*/ 1852 w 2639"/>
                <a:gd name="T7" fmla="*/ 601 h 1636"/>
                <a:gd name="T8" fmla="*/ 1699 w 2639"/>
                <a:gd name="T9" fmla="*/ 581 h 1636"/>
                <a:gd name="T10" fmla="*/ 1624 w 2639"/>
                <a:gd name="T11" fmla="*/ 580 h 1636"/>
                <a:gd name="T12" fmla="*/ 1548 w 2639"/>
                <a:gd name="T13" fmla="*/ 581 h 1636"/>
                <a:gd name="T14" fmla="*/ 1397 w 2639"/>
                <a:gd name="T15" fmla="*/ 600 h 1636"/>
                <a:gd name="T16" fmla="*/ 1252 w 2639"/>
                <a:gd name="T17" fmla="*/ 636 h 1636"/>
                <a:gd name="T18" fmla="*/ 1110 w 2639"/>
                <a:gd name="T19" fmla="*/ 691 h 1636"/>
                <a:gd name="T20" fmla="*/ 978 w 2639"/>
                <a:gd name="T21" fmla="*/ 759 h 1636"/>
                <a:gd name="T22" fmla="*/ 853 w 2639"/>
                <a:gd name="T23" fmla="*/ 843 h 1636"/>
                <a:gd name="T24" fmla="*/ 740 w 2639"/>
                <a:gd name="T25" fmla="*/ 943 h 1636"/>
                <a:gd name="T26" fmla="*/ 637 w 2639"/>
                <a:gd name="T27" fmla="*/ 1058 h 1636"/>
                <a:gd name="T28" fmla="*/ 551 w 2639"/>
                <a:gd name="T29" fmla="*/ 1183 h 1636"/>
                <a:gd name="T30" fmla="*/ 479 w 2639"/>
                <a:gd name="T31" fmla="*/ 1323 h 1636"/>
                <a:gd name="T32" fmla="*/ 423 w 2639"/>
                <a:gd name="T33" fmla="*/ 1474 h 1636"/>
                <a:gd name="T34" fmla="*/ 385 w 2639"/>
                <a:gd name="T35" fmla="*/ 1636 h 1636"/>
                <a:gd name="T36" fmla="*/ 0 w 2639"/>
                <a:gd name="T37" fmla="*/ 1580 h 1636"/>
                <a:gd name="T38" fmla="*/ 43 w 2639"/>
                <a:gd name="T39" fmla="*/ 1356 h 1636"/>
                <a:gd name="T40" fmla="*/ 113 w 2639"/>
                <a:gd name="T41" fmla="*/ 1144 h 1636"/>
                <a:gd name="T42" fmla="*/ 205 w 2639"/>
                <a:gd name="T43" fmla="*/ 948 h 1636"/>
                <a:gd name="T44" fmla="*/ 321 w 2639"/>
                <a:gd name="T45" fmla="*/ 765 h 1636"/>
                <a:gd name="T46" fmla="*/ 454 w 2639"/>
                <a:gd name="T47" fmla="*/ 601 h 1636"/>
                <a:gd name="T48" fmla="*/ 607 w 2639"/>
                <a:gd name="T49" fmla="*/ 454 h 1636"/>
                <a:gd name="T50" fmla="*/ 774 w 2639"/>
                <a:gd name="T51" fmla="*/ 324 h 1636"/>
                <a:gd name="T52" fmla="*/ 955 w 2639"/>
                <a:gd name="T53" fmla="*/ 214 h 1636"/>
                <a:gd name="T54" fmla="*/ 1146 w 2639"/>
                <a:gd name="T55" fmla="*/ 128 h 1636"/>
                <a:gd name="T56" fmla="*/ 1347 w 2639"/>
                <a:gd name="T57" fmla="*/ 63 h 1636"/>
                <a:gd name="T58" fmla="*/ 1554 w 2639"/>
                <a:gd name="T59" fmla="*/ 21 h 1636"/>
                <a:gd name="T60" fmla="*/ 1769 w 2639"/>
                <a:gd name="T61" fmla="*/ 1 h 1636"/>
                <a:gd name="T62" fmla="*/ 1875 w 2639"/>
                <a:gd name="T63" fmla="*/ 0 h 1636"/>
                <a:gd name="T64" fmla="*/ 1984 w 2639"/>
                <a:gd name="T65" fmla="*/ 5 h 1636"/>
                <a:gd name="T66" fmla="*/ 2201 w 2639"/>
                <a:gd name="T67" fmla="*/ 38 h 1636"/>
                <a:gd name="T68" fmla="*/ 2416 w 2639"/>
                <a:gd name="T69" fmla="*/ 98 h 1636"/>
                <a:gd name="T70" fmla="*/ 2630 w 2639"/>
                <a:gd name="T71" fmla="*/ 189 h 1636"/>
                <a:gd name="T72" fmla="*/ 2637 w 2639"/>
                <a:gd name="T73" fmla="*/ 204 h 1636"/>
                <a:gd name="T74" fmla="*/ 2639 w 2639"/>
                <a:gd name="T75" fmla="*/ 228 h 1636"/>
                <a:gd name="T76" fmla="*/ 2624 w 2639"/>
                <a:gd name="T77" fmla="*/ 292 h 1636"/>
                <a:gd name="T78" fmla="*/ 2535 w 2639"/>
                <a:gd name="T79" fmla="*/ 462 h 1636"/>
                <a:gd name="T80" fmla="*/ 2412 w 2639"/>
                <a:gd name="T81" fmla="*/ 642 h 1636"/>
                <a:gd name="T82" fmla="*/ 2296 w 2639"/>
                <a:gd name="T83" fmla="*/ 773 h 16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639"/>
                <a:gd name="T127" fmla="*/ 0 h 1636"/>
                <a:gd name="T128" fmla="*/ 2639 w 2639"/>
                <a:gd name="T129" fmla="*/ 1636 h 16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639" h="1636">
                  <a:moveTo>
                    <a:pt x="2296" y="773"/>
                  </a:moveTo>
                  <a:lnTo>
                    <a:pt x="2153" y="695"/>
                  </a:lnTo>
                  <a:lnTo>
                    <a:pt x="2004" y="637"/>
                  </a:lnTo>
                  <a:lnTo>
                    <a:pt x="1852" y="601"/>
                  </a:lnTo>
                  <a:lnTo>
                    <a:pt x="1699" y="581"/>
                  </a:lnTo>
                  <a:lnTo>
                    <a:pt x="1624" y="580"/>
                  </a:lnTo>
                  <a:lnTo>
                    <a:pt x="1548" y="581"/>
                  </a:lnTo>
                  <a:lnTo>
                    <a:pt x="1397" y="600"/>
                  </a:lnTo>
                  <a:lnTo>
                    <a:pt x="1252" y="636"/>
                  </a:lnTo>
                  <a:lnTo>
                    <a:pt x="1110" y="691"/>
                  </a:lnTo>
                  <a:lnTo>
                    <a:pt x="978" y="759"/>
                  </a:lnTo>
                  <a:lnTo>
                    <a:pt x="853" y="843"/>
                  </a:lnTo>
                  <a:lnTo>
                    <a:pt x="740" y="943"/>
                  </a:lnTo>
                  <a:lnTo>
                    <a:pt x="637" y="1058"/>
                  </a:lnTo>
                  <a:lnTo>
                    <a:pt x="551" y="1183"/>
                  </a:lnTo>
                  <a:lnTo>
                    <a:pt x="479" y="1323"/>
                  </a:lnTo>
                  <a:lnTo>
                    <a:pt x="423" y="1474"/>
                  </a:lnTo>
                  <a:lnTo>
                    <a:pt x="385" y="1636"/>
                  </a:lnTo>
                  <a:lnTo>
                    <a:pt x="0" y="1580"/>
                  </a:lnTo>
                  <a:lnTo>
                    <a:pt x="43" y="1356"/>
                  </a:lnTo>
                  <a:lnTo>
                    <a:pt x="113" y="1144"/>
                  </a:lnTo>
                  <a:lnTo>
                    <a:pt x="205" y="948"/>
                  </a:lnTo>
                  <a:lnTo>
                    <a:pt x="321" y="765"/>
                  </a:lnTo>
                  <a:lnTo>
                    <a:pt x="454" y="601"/>
                  </a:lnTo>
                  <a:lnTo>
                    <a:pt x="607" y="454"/>
                  </a:lnTo>
                  <a:lnTo>
                    <a:pt x="774" y="324"/>
                  </a:lnTo>
                  <a:lnTo>
                    <a:pt x="955" y="214"/>
                  </a:lnTo>
                  <a:lnTo>
                    <a:pt x="1146" y="128"/>
                  </a:lnTo>
                  <a:lnTo>
                    <a:pt x="1347" y="63"/>
                  </a:lnTo>
                  <a:lnTo>
                    <a:pt x="1554" y="21"/>
                  </a:lnTo>
                  <a:lnTo>
                    <a:pt x="1769" y="1"/>
                  </a:lnTo>
                  <a:lnTo>
                    <a:pt x="1875" y="0"/>
                  </a:lnTo>
                  <a:lnTo>
                    <a:pt x="1984" y="5"/>
                  </a:lnTo>
                  <a:lnTo>
                    <a:pt x="2201" y="38"/>
                  </a:lnTo>
                  <a:lnTo>
                    <a:pt x="2416" y="98"/>
                  </a:lnTo>
                  <a:lnTo>
                    <a:pt x="2630" y="189"/>
                  </a:lnTo>
                  <a:lnTo>
                    <a:pt x="2637" y="204"/>
                  </a:lnTo>
                  <a:lnTo>
                    <a:pt x="2639" y="228"/>
                  </a:lnTo>
                  <a:lnTo>
                    <a:pt x="2624" y="292"/>
                  </a:lnTo>
                  <a:lnTo>
                    <a:pt x="2535" y="462"/>
                  </a:lnTo>
                  <a:lnTo>
                    <a:pt x="2412" y="642"/>
                  </a:lnTo>
                  <a:lnTo>
                    <a:pt x="2296" y="773"/>
                  </a:lnTo>
                  <a:close/>
                </a:path>
              </a:pathLst>
            </a:custGeom>
            <a:gradFill rotWithShape="1">
              <a:gsLst>
                <a:gs pos="0">
                  <a:srgbClr val="746113"/>
                </a:gs>
                <a:gs pos="100000">
                  <a:srgbClr val="FBD128"/>
                </a:gs>
              </a:gsLst>
              <a:path path="rect">
                <a:fillToRect l="50000" t="50000" r="50000" b="50000"/>
              </a:path>
            </a:gradFill>
            <a:ln w="9525">
              <a:no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grpSp>
          <p:nvGrpSpPr>
            <p:cNvPr id="26" name="Group 43"/>
            <p:cNvGrpSpPr>
              <a:grpSpLocks/>
            </p:cNvGrpSpPr>
            <p:nvPr/>
          </p:nvGrpSpPr>
          <p:grpSpPr bwMode="auto">
            <a:xfrm rot="2871783">
              <a:off x="2816" y="755"/>
              <a:ext cx="294" cy="339"/>
              <a:chOff x="2005" y="2786"/>
              <a:chExt cx="672" cy="781"/>
            </a:xfrm>
          </p:grpSpPr>
          <p:sp>
            <p:nvSpPr>
              <p:cNvPr id="47" name="Freeform 44"/>
              <p:cNvSpPr>
                <a:spLocks/>
              </p:cNvSpPr>
              <p:nvPr/>
            </p:nvSpPr>
            <p:spPr bwMode="auto">
              <a:xfrm rot="9953702">
                <a:off x="2370" y="3196"/>
                <a:ext cx="78" cy="330"/>
              </a:xfrm>
              <a:custGeom>
                <a:avLst/>
                <a:gdLst>
                  <a:gd name="T0" fmla="*/ 21 w 156"/>
                  <a:gd name="T1" fmla="*/ 389 h 660"/>
                  <a:gd name="T2" fmla="*/ 0 w 156"/>
                  <a:gd name="T3" fmla="*/ 0 h 660"/>
                  <a:gd name="T4" fmla="*/ 91 w 156"/>
                  <a:gd name="T5" fmla="*/ 283 h 660"/>
                  <a:gd name="T6" fmla="*/ 156 w 156"/>
                  <a:gd name="T7" fmla="*/ 660 h 660"/>
                  <a:gd name="T8" fmla="*/ 21 w 156"/>
                  <a:gd name="T9" fmla="*/ 389 h 660"/>
                  <a:gd name="T10" fmla="*/ 0 60000 65536"/>
                  <a:gd name="T11" fmla="*/ 0 60000 65536"/>
                  <a:gd name="T12" fmla="*/ 0 60000 65536"/>
                  <a:gd name="T13" fmla="*/ 0 60000 65536"/>
                  <a:gd name="T14" fmla="*/ 0 60000 65536"/>
                  <a:gd name="T15" fmla="*/ 0 w 156"/>
                  <a:gd name="T16" fmla="*/ 0 h 660"/>
                  <a:gd name="T17" fmla="*/ 156 w 156"/>
                  <a:gd name="T18" fmla="*/ 660 h 660"/>
                </a:gdLst>
                <a:ahLst/>
                <a:cxnLst>
                  <a:cxn ang="T10">
                    <a:pos x="T0" y="T1"/>
                  </a:cxn>
                  <a:cxn ang="T11">
                    <a:pos x="T2" y="T3"/>
                  </a:cxn>
                  <a:cxn ang="T12">
                    <a:pos x="T4" y="T5"/>
                  </a:cxn>
                  <a:cxn ang="T13">
                    <a:pos x="T6" y="T7"/>
                  </a:cxn>
                  <a:cxn ang="T14">
                    <a:pos x="T8" y="T9"/>
                  </a:cxn>
                </a:cxnLst>
                <a:rect l="T15" t="T16" r="T17" b="T18"/>
                <a:pathLst>
                  <a:path w="156" h="660">
                    <a:moveTo>
                      <a:pt x="21" y="389"/>
                    </a:moveTo>
                    <a:lnTo>
                      <a:pt x="0" y="0"/>
                    </a:lnTo>
                    <a:lnTo>
                      <a:pt x="91" y="283"/>
                    </a:lnTo>
                    <a:lnTo>
                      <a:pt x="156" y="660"/>
                    </a:lnTo>
                    <a:lnTo>
                      <a:pt x="21" y="389"/>
                    </a:lnTo>
                    <a:close/>
                  </a:path>
                </a:pathLst>
              </a:custGeom>
              <a:solidFill>
                <a:srgbClr val="FFED24"/>
              </a:solidFill>
              <a:ln w="9525">
                <a:no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sp>
            <p:nvSpPr>
              <p:cNvPr id="48" name="Freeform 45"/>
              <p:cNvSpPr>
                <a:spLocks/>
              </p:cNvSpPr>
              <p:nvPr/>
            </p:nvSpPr>
            <p:spPr bwMode="auto">
              <a:xfrm rot="9953702">
                <a:off x="2385" y="2786"/>
                <a:ext cx="290" cy="155"/>
              </a:xfrm>
              <a:custGeom>
                <a:avLst/>
                <a:gdLst>
                  <a:gd name="T0" fmla="*/ 335 w 582"/>
                  <a:gd name="T1" fmla="*/ 22 h 310"/>
                  <a:gd name="T2" fmla="*/ 0 w 582"/>
                  <a:gd name="T3" fmla="*/ 310 h 310"/>
                  <a:gd name="T4" fmla="*/ 258 w 582"/>
                  <a:gd name="T5" fmla="*/ 189 h 310"/>
                  <a:gd name="T6" fmla="*/ 582 w 582"/>
                  <a:gd name="T7" fmla="*/ 0 h 310"/>
                  <a:gd name="T8" fmla="*/ 335 w 582"/>
                  <a:gd name="T9" fmla="*/ 22 h 310"/>
                  <a:gd name="T10" fmla="*/ 0 60000 65536"/>
                  <a:gd name="T11" fmla="*/ 0 60000 65536"/>
                  <a:gd name="T12" fmla="*/ 0 60000 65536"/>
                  <a:gd name="T13" fmla="*/ 0 60000 65536"/>
                  <a:gd name="T14" fmla="*/ 0 60000 65536"/>
                  <a:gd name="T15" fmla="*/ 0 w 582"/>
                  <a:gd name="T16" fmla="*/ 0 h 310"/>
                  <a:gd name="T17" fmla="*/ 582 w 582"/>
                  <a:gd name="T18" fmla="*/ 310 h 310"/>
                </a:gdLst>
                <a:ahLst/>
                <a:cxnLst>
                  <a:cxn ang="T10">
                    <a:pos x="T0" y="T1"/>
                  </a:cxn>
                  <a:cxn ang="T11">
                    <a:pos x="T2" y="T3"/>
                  </a:cxn>
                  <a:cxn ang="T12">
                    <a:pos x="T4" y="T5"/>
                  </a:cxn>
                  <a:cxn ang="T13">
                    <a:pos x="T6" y="T7"/>
                  </a:cxn>
                  <a:cxn ang="T14">
                    <a:pos x="T8" y="T9"/>
                  </a:cxn>
                </a:cxnLst>
                <a:rect l="T15" t="T16" r="T17" b="T18"/>
                <a:pathLst>
                  <a:path w="582" h="310">
                    <a:moveTo>
                      <a:pt x="335" y="22"/>
                    </a:moveTo>
                    <a:lnTo>
                      <a:pt x="0" y="310"/>
                    </a:lnTo>
                    <a:lnTo>
                      <a:pt x="258" y="189"/>
                    </a:lnTo>
                    <a:lnTo>
                      <a:pt x="582" y="0"/>
                    </a:lnTo>
                    <a:lnTo>
                      <a:pt x="335" y="22"/>
                    </a:lnTo>
                    <a:close/>
                  </a:path>
                </a:pathLst>
              </a:custGeom>
              <a:solidFill>
                <a:srgbClr val="FFED24"/>
              </a:solidFill>
              <a:ln w="9525">
                <a:no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sp>
            <p:nvSpPr>
              <p:cNvPr id="49" name="Freeform 46"/>
              <p:cNvSpPr>
                <a:spLocks/>
              </p:cNvSpPr>
              <p:nvPr/>
            </p:nvSpPr>
            <p:spPr bwMode="auto">
              <a:xfrm rot="9953702">
                <a:off x="2082" y="2977"/>
                <a:ext cx="342" cy="590"/>
              </a:xfrm>
              <a:custGeom>
                <a:avLst/>
                <a:gdLst>
                  <a:gd name="T0" fmla="*/ 684 w 684"/>
                  <a:gd name="T1" fmla="*/ 1179 h 1179"/>
                  <a:gd name="T2" fmla="*/ 404 w 684"/>
                  <a:gd name="T3" fmla="*/ 1023 h 1179"/>
                  <a:gd name="T4" fmla="*/ 99 w 684"/>
                  <a:gd name="T5" fmla="*/ 313 h 1179"/>
                  <a:gd name="T6" fmla="*/ 0 w 684"/>
                  <a:gd name="T7" fmla="*/ 0 h 1179"/>
                  <a:gd name="T8" fmla="*/ 684 w 684"/>
                  <a:gd name="T9" fmla="*/ 1179 h 1179"/>
                  <a:gd name="T10" fmla="*/ 0 60000 65536"/>
                  <a:gd name="T11" fmla="*/ 0 60000 65536"/>
                  <a:gd name="T12" fmla="*/ 0 60000 65536"/>
                  <a:gd name="T13" fmla="*/ 0 60000 65536"/>
                  <a:gd name="T14" fmla="*/ 0 60000 65536"/>
                  <a:gd name="T15" fmla="*/ 0 w 684"/>
                  <a:gd name="T16" fmla="*/ 0 h 1179"/>
                  <a:gd name="T17" fmla="*/ 684 w 684"/>
                  <a:gd name="T18" fmla="*/ 1179 h 1179"/>
                </a:gdLst>
                <a:ahLst/>
                <a:cxnLst>
                  <a:cxn ang="T10">
                    <a:pos x="T0" y="T1"/>
                  </a:cxn>
                  <a:cxn ang="T11">
                    <a:pos x="T2" y="T3"/>
                  </a:cxn>
                  <a:cxn ang="T12">
                    <a:pos x="T4" y="T5"/>
                  </a:cxn>
                  <a:cxn ang="T13">
                    <a:pos x="T6" y="T7"/>
                  </a:cxn>
                  <a:cxn ang="T14">
                    <a:pos x="T8" y="T9"/>
                  </a:cxn>
                </a:cxnLst>
                <a:rect l="T15" t="T16" r="T17" b="T18"/>
                <a:pathLst>
                  <a:path w="684" h="1179">
                    <a:moveTo>
                      <a:pt x="684" y="1179"/>
                    </a:moveTo>
                    <a:lnTo>
                      <a:pt x="404" y="1023"/>
                    </a:lnTo>
                    <a:lnTo>
                      <a:pt x="99" y="313"/>
                    </a:lnTo>
                    <a:lnTo>
                      <a:pt x="0" y="0"/>
                    </a:lnTo>
                    <a:lnTo>
                      <a:pt x="684" y="1179"/>
                    </a:lnTo>
                    <a:close/>
                  </a:path>
                </a:pathLst>
              </a:custGeom>
              <a:solidFill>
                <a:srgbClr val="FFAD2C"/>
              </a:solidFill>
              <a:ln w="9525">
                <a:no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sp>
            <p:nvSpPr>
              <p:cNvPr id="50" name="Freeform 47"/>
              <p:cNvSpPr>
                <a:spLocks/>
              </p:cNvSpPr>
              <p:nvPr/>
            </p:nvSpPr>
            <p:spPr bwMode="auto">
              <a:xfrm rot="9953702">
                <a:off x="2005" y="2848"/>
                <a:ext cx="672" cy="176"/>
              </a:xfrm>
              <a:custGeom>
                <a:avLst/>
                <a:gdLst>
                  <a:gd name="T0" fmla="*/ 1345 w 1345"/>
                  <a:gd name="T1" fmla="*/ 154 h 352"/>
                  <a:gd name="T2" fmla="*/ 0 w 1345"/>
                  <a:gd name="T3" fmla="*/ 352 h 352"/>
                  <a:gd name="T4" fmla="*/ 240 w 1345"/>
                  <a:gd name="T5" fmla="*/ 229 h 352"/>
                  <a:gd name="T6" fmla="*/ 889 w 1345"/>
                  <a:gd name="T7" fmla="*/ 0 h 352"/>
                  <a:gd name="T8" fmla="*/ 1244 w 1345"/>
                  <a:gd name="T9" fmla="*/ 98 h 352"/>
                  <a:gd name="T10" fmla="*/ 1345 w 1345"/>
                  <a:gd name="T11" fmla="*/ 154 h 352"/>
                  <a:gd name="T12" fmla="*/ 0 60000 65536"/>
                  <a:gd name="T13" fmla="*/ 0 60000 65536"/>
                  <a:gd name="T14" fmla="*/ 0 60000 65536"/>
                  <a:gd name="T15" fmla="*/ 0 60000 65536"/>
                  <a:gd name="T16" fmla="*/ 0 60000 65536"/>
                  <a:gd name="T17" fmla="*/ 0 60000 65536"/>
                  <a:gd name="T18" fmla="*/ 0 w 1345"/>
                  <a:gd name="T19" fmla="*/ 0 h 352"/>
                  <a:gd name="T20" fmla="*/ 1345 w 1345"/>
                  <a:gd name="T21" fmla="*/ 352 h 352"/>
                </a:gdLst>
                <a:ahLst/>
                <a:cxnLst>
                  <a:cxn ang="T12">
                    <a:pos x="T0" y="T1"/>
                  </a:cxn>
                  <a:cxn ang="T13">
                    <a:pos x="T2" y="T3"/>
                  </a:cxn>
                  <a:cxn ang="T14">
                    <a:pos x="T4" y="T5"/>
                  </a:cxn>
                  <a:cxn ang="T15">
                    <a:pos x="T6" y="T7"/>
                  </a:cxn>
                  <a:cxn ang="T16">
                    <a:pos x="T8" y="T9"/>
                  </a:cxn>
                  <a:cxn ang="T17">
                    <a:pos x="T10" y="T11"/>
                  </a:cxn>
                </a:cxnLst>
                <a:rect l="T18" t="T19" r="T20" b="T21"/>
                <a:pathLst>
                  <a:path w="1345" h="352">
                    <a:moveTo>
                      <a:pt x="1345" y="154"/>
                    </a:moveTo>
                    <a:lnTo>
                      <a:pt x="0" y="352"/>
                    </a:lnTo>
                    <a:lnTo>
                      <a:pt x="240" y="229"/>
                    </a:lnTo>
                    <a:lnTo>
                      <a:pt x="889" y="0"/>
                    </a:lnTo>
                    <a:lnTo>
                      <a:pt x="1244" y="98"/>
                    </a:lnTo>
                    <a:lnTo>
                      <a:pt x="1345" y="154"/>
                    </a:lnTo>
                    <a:close/>
                  </a:path>
                </a:pathLst>
              </a:custGeom>
              <a:solidFill>
                <a:srgbClr val="FB9214"/>
              </a:solidFill>
              <a:ln w="11113">
                <a:solidFill>
                  <a:srgbClr val="FB9214"/>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sp>
            <p:nvSpPr>
              <p:cNvPr id="51" name="Freeform 48"/>
              <p:cNvSpPr>
                <a:spLocks/>
              </p:cNvSpPr>
              <p:nvPr/>
            </p:nvSpPr>
            <p:spPr bwMode="auto">
              <a:xfrm rot="9953702">
                <a:off x="2111" y="2890"/>
                <a:ext cx="513" cy="502"/>
              </a:xfrm>
              <a:custGeom>
                <a:avLst/>
                <a:gdLst>
                  <a:gd name="T0" fmla="*/ 546 w 1025"/>
                  <a:gd name="T1" fmla="*/ 0 h 1004"/>
                  <a:gd name="T2" fmla="*/ 1025 w 1025"/>
                  <a:gd name="T3" fmla="*/ 831 h 1004"/>
                  <a:gd name="T4" fmla="*/ 0 w 1025"/>
                  <a:gd name="T5" fmla="*/ 1004 h 1004"/>
                  <a:gd name="T6" fmla="*/ 221 w 1025"/>
                  <a:gd name="T7" fmla="*/ 816 h 1004"/>
                  <a:gd name="T8" fmla="*/ 555 w 1025"/>
                  <a:gd name="T9" fmla="*/ 229 h 1004"/>
                  <a:gd name="T10" fmla="*/ 546 w 1025"/>
                  <a:gd name="T11" fmla="*/ 0 h 1004"/>
                  <a:gd name="T12" fmla="*/ 0 60000 65536"/>
                  <a:gd name="T13" fmla="*/ 0 60000 65536"/>
                  <a:gd name="T14" fmla="*/ 0 60000 65536"/>
                  <a:gd name="T15" fmla="*/ 0 60000 65536"/>
                  <a:gd name="T16" fmla="*/ 0 60000 65536"/>
                  <a:gd name="T17" fmla="*/ 0 60000 65536"/>
                  <a:gd name="T18" fmla="*/ 0 w 1025"/>
                  <a:gd name="T19" fmla="*/ 0 h 1004"/>
                  <a:gd name="T20" fmla="*/ 1025 w 1025"/>
                  <a:gd name="T21" fmla="*/ 1004 h 1004"/>
                </a:gdLst>
                <a:ahLst/>
                <a:cxnLst>
                  <a:cxn ang="T12">
                    <a:pos x="T0" y="T1"/>
                  </a:cxn>
                  <a:cxn ang="T13">
                    <a:pos x="T2" y="T3"/>
                  </a:cxn>
                  <a:cxn ang="T14">
                    <a:pos x="T4" y="T5"/>
                  </a:cxn>
                  <a:cxn ang="T15">
                    <a:pos x="T6" y="T7"/>
                  </a:cxn>
                  <a:cxn ang="T16">
                    <a:pos x="T8" y="T9"/>
                  </a:cxn>
                  <a:cxn ang="T17">
                    <a:pos x="T10" y="T11"/>
                  </a:cxn>
                </a:cxnLst>
                <a:rect l="T18" t="T19" r="T20" b="T21"/>
                <a:pathLst>
                  <a:path w="1025" h="1004">
                    <a:moveTo>
                      <a:pt x="546" y="0"/>
                    </a:moveTo>
                    <a:lnTo>
                      <a:pt x="1025" y="831"/>
                    </a:lnTo>
                    <a:lnTo>
                      <a:pt x="0" y="1004"/>
                    </a:lnTo>
                    <a:lnTo>
                      <a:pt x="221" y="816"/>
                    </a:lnTo>
                    <a:lnTo>
                      <a:pt x="555" y="229"/>
                    </a:lnTo>
                    <a:lnTo>
                      <a:pt x="546" y="0"/>
                    </a:lnTo>
                    <a:close/>
                  </a:path>
                </a:pathLst>
              </a:custGeom>
              <a:solidFill>
                <a:srgbClr val="FBD128"/>
              </a:solidFill>
              <a:ln w="9525">
                <a:no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grpSp>
      </p:grpSp>
      <p:sp>
        <p:nvSpPr>
          <p:cNvPr id="52" name="Rectangle 51"/>
          <p:cNvSpPr>
            <a:spLocks noChangeArrowheads="1"/>
          </p:cNvSpPr>
          <p:nvPr/>
        </p:nvSpPr>
        <p:spPr bwMode="auto">
          <a:xfrm>
            <a:off x="5332982" y="652522"/>
            <a:ext cx="1332416" cy="605294"/>
          </a:xfrm>
          <a:prstGeom prst="rect">
            <a:avLst/>
          </a:prstGeom>
          <a:noFill/>
          <a:ln w="9525">
            <a:noFill/>
            <a:miter lim="800000"/>
            <a:headEnd/>
            <a:tailEnd/>
          </a:ln>
          <a:effectLst/>
        </p:spPr>
        <p:txBody>
          <a:bodyPr wrap="none">
            <a:spAutoFit/>
          </a:bodyPr>
          <a:lstStyle/>
          <a:p>
            <a:pPr marL="0" marR="0" lvl="0" indent="0" algn="ctr" defTabSz="914400" rtl="0" eaLnBrk="1" fontAlgn="base" latinLnBrk="0" hangingPunct="1">
              <a:lnSpc>
                <a:spcPts val="2000"/>
              </a:lnSpc>
              <a:spcBef>
                <a:spcPct val="0"/>
              </a:spcBef>
              <a:spcAft>
                <a:spcPct val="0"/>
              </a:spcAft>
              <a:buClrTx/>
              <a:buSzTx/>
              <a:buFontTx/>
              <a:buNone/>
              <a:tabLst/>
              <a:defRPr/>
            </a:pPr>
            <a:r>
              <a:rPr kumimoji="0" lang="th-TH" sz="2400" b="1" i="0" u="none" strike="noStrike" kern="1200" cap="none" spc="0" normalizeH="0" baseline="0" noProof="0" dirty="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rPr>
              <a:t>การ</a:t>
            </a:r>
            <a:r>
              <a:rPr kumimoji="0" lang="th-TH" sz="2400" b="1" i="0" u="none" strike="noStrike" kern="1200" cap="none" spc="0" normalizeH="0" baseline="0" noProof="0" dirty="0" smtClean="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rPr>
              <a:t>รับรู้</a:t>
            </a:r>
          </a:p>
          <a:p>
            <a:pPr marL="0" marR="0" lvl="0" indent="0" algn="ctr" defTabSz="914400" rtl="0" eaLnBrk="1" fontAlgn="base" latinLnBrk="0" hangingPunct="1">
              <a:lnSpc>
                <a:spcPts val="2000"/>
              </a:lnSpc>
              <a:spcBef>
                <a:spcPct val="0"/>
              </a:spcBef>
              <a:spcAft>
                <a:spcPct val="0"/>
              </a:spcAft>
              <a:buClrTx/>
              <a:buSzTx/>
              <a:buFontTx/>
              <a:buNone/>
              <a:tabLst/>
              <a:defRPr/>
            </a:pPr>
            <a:r>
              <a:rPr kumimoji="0" lang="en-US" sz="2400" b="1" i="0" u="none" strike="noStrike" kern="1200" cap="none" spc="0" normalizeH="0" baseline="0" noProof="0" dirty="0" smtClean="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rPr>
              <a:t>(Perceptions)</a:t>
            </a:r>
            <a:endParaRPr kumimoji="0" lang="th-TH" sz="2400" b="1" i="0" u="none" strike="noStrike" kern="1200" cap="none" spc="0" normalizeH="0" baseline="0" noProof="0" dirty="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endParaRPr>
          </a:p>
        </p:txBody>
      </p:sp>
      <p:sp>
        <p:nvSpPr>
          <p:cNvPr id="53" name="Rectangle 52"/>
          <p:cNvSpPr>
            <a:spLocks noChangeArrowheads="1"/>
          </p:cNvSpPr>
          <p:nvPr/>
        </p:nvSpPr>
        <p:spPr bwMode="auto">
          <a:xfrm>
            <a:off x="3662289" y="44624"/>
            <a:ext cx="1983760" cy="605294"/>
          </a:xfrm>
          <a:prstGeom prst="rect">
            <a:avLst/>
          </a:prstGeom>
          <a:noFill/>
          <a:ln w="9525">
            <a:noFill/>
            <a:miter lim="800000"/>
            <a:headEnd/>
            <a:tailEnd/>
          </a:ln>
          <a:effectLst/>
        </p:spPr>
        <p:txBody>
          <a:bodyPr wrap="square">
            <a:spAutoFit/>
          </a:bodyPr>
          <a:lstStyle/>
          <a:p>
            <a:pPr marL="0" marR="0" lvl="0" indent="0" algn="ctr" defTabSz="914400" rtl="0" eaLnBrk="1" fontAlgn="base" latinLnBrk="0" hangingPunct="1">
              <a:lnSpc>
                <a:spcPts val="2000"/>
              </a:lnSpc>
              <a:spcBef>
                <a:spcPct val="0"/>
              </a:spcBef>
              <a:spcAft>
                <a:spcPct val="0"/>
              </a:spcAft>
              <a:buClrTx/>
              <a:buSzTx/>
              <a:buFontTx/>
              <a:buNone/>
              <a:tabLst/>
              <a:defRPr/>
            </a:pPr>
            <a:r>
              <a:rPr kumimoji="0" lang="th-TH" sz="2400" b="1" i="0" u="none" strike="noStrike" kern="1200" cap="none" spc="0" normalizeH="0" baseline="0" noProof="0" dirty="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rPr>
              <a:t>การ</a:t>
            </a:r>
            <a:r>
              <a:rPr kumimoji="0" lang="th-TH" sz="2400" b="1" i="0" u="none" strike="noStrike" kern="1200" cap="none" spc="0" normalizeH="0" baseline="0" noProof="0" dirty="0" smtClean="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rPr>
              <a:t>เรียนรู้</a:t>
            </a:r>
            <a:r>
              <a:rPr kumimoji="0" lang="en-US" sz="2400" b="1" i="0" u="none" strike="noStrike" kern="1200" cap="none" spc="0" normalizeH="0" baseline="0" noProof="0" dirty="0" smtClean="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rPr>
              <a:t> </a:t>
            </a:r>
          </a:p>
          <a:p>
            <a:pPr marL="0" marR="0" lvl="0" indent="0" algn="ctr" defTabSz="914400" rtl="0" eaLnBrk="1" fontAlgn="base" latinLnBrk="0" hangingPunct="1">
              <a:lnSpc>
                <a:spcPts val="2000"/>
              </a:lnSpc>
              <a:spcBef>
                <a:spcPct val="0"/>
              </a:spcBef>
              <a:spcAft>
                <a:spcPct val="0"/>
              </a:spcAft>
              <a:buClrTx/>
              <a:buSzTx/>
              <a:buFontTx/>
              <a:buNone/>
              <a:tabLst/>
              <a:defRPr/>
            </a:pPr>
            <a:r>
              <a:rPr kumimoji="0" lang="en-US" sz="2400" b="1" i="0" u="none" strike="noStrike" kern="1200" cap="none" spc="0" normalizeH="0" baseline="0" noProof="0" dirty="0" smtClean="0">
                <a:ln>
                  <a:noFill/>
                </a:ln>
                <a:solidFill>
                  <a:srgbClr val="FFFF00"/>
                </a:solidFill>
                <a:effectLst>
                  <a:outerShdw blurRad="38100" dist="38100" dir="2700000" algn="tl">
                    <a:srgbClr val="000000"/>
                  </a:outerShdw>
                </a:effectLst>
                <a:uLnTx/>
                <a:uFillTx/>
                <a:latin typeface="Angsana New" pitchFamily="18" charset="-34"/>
                <a:ea typeface="+mn-ea"/>
                <a:cs typeface="AngsanaUPC" pitchFamily="18" charset="-34"/>
              </a:rPr>
              <a:t>(Learning)</a:t>
            </a:r>
            <a:endParaRPr kumimoji="0" lang="th-TH" sz="2400" b="1" i="0" u="none" strike="noStrike" kern="1200" cap="none" spc="0" normalizeH="0" baseline="0" noProof="0" dirty="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endParaRPr>
          </a:p>
        </p:txBody>
      </p:sp>
      <p:sp>
        <p:nvSpPr>
          <p:cNvPr id="54" name="Text Box 53"/>
          <p:cNvSpPr txBox="1">
            <a:spLocks noChangeArrowheads="1"/>
          </p:cNvSpPr>
          <p:nvPr/>
        </p:nvSpPr>
        <p:spPr bwMode="auto">
          <a:xfrm>
            <a:off x="2633792" y="649918"/>
            <a:ext cx="1289135" cy="605294"/>
          </a:xfrm>
          <a:prstGeom prst="rect">
            <a:avLst/>
          </a:prstGeom>
          <a:noFill/>
          <a:ln w="9525">
            <a:noFill/>
            <a:miter lim="800000"/>
            <a:headEnd/>
            <a:tailEnd/>
          </a:ln>
          <a:effectLst/>
        </p:spPr>
        <p:txBody>
          <a:bodyPr wrap="none">
            <a:spAutoFit/>
          </a:bodyPr>
          <a:lstStyle/>
          <a:p>
            <a:pPr marL="0" marR="0" lvl="0" indent="0" algn="ctr" defTabSz="914400" rtl="0" eaLnBrk="1" fontAlgn="base" latinLnBrk="0" hangingPunct="1">
              <a:lnSpc>
                <a:spcPts val="2000"/>
              </a:lnSpc>
              <a:spcBef>
                <a:spcPct val="0"/>
              </a:spcBef>
              <a:spcAft>
                <a:spcPct val="0"/>
              </a:spcAft>
              <a:buClrTx/>
              <a:buSzTx/>
              <a:buFontTx/>
              <a:buNone/>
              <a:tabLst/>
              <a:defRPr/>
            </a:pPr>
            <a:r>
              <a:rPr kumimoji="0" lang="th-TH" sz="2400" b="1" i="0" u="none" strike="noStrike" kern="1200" cap="none" spc="0" normalizeH="0" baseline="0" noProof="0" dirty="0" smtClean="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rPr>
              <a:t>ประสบการณ์</a:t>
            </a:r>
          </a:p>
          <a:p>
            <a:pPr marL="0" marR="0" lvl="0" indent="0" algn="ctr" defTabSz="914400" rtl="0" eaLnBrk="1" fontAlgn="base" latinLnBrk="0" hangingPunct="1">
              <a:lnSpc>
                <a:spcPts val="2000"/>
              </a:lnSpc>
              <a:spcBef>
                <a:spcPct val="0"/>
              </a:spcBef>
              <a:spcAft>
                <a:spcPct val="0"/>
              </a:spcAft>
              <a:buClrTx/>
              <a:buSzTx/>
              <a:buFontTx/>
              <a:buNone/>
              <a:tabLst/>
              <a:defRPr/>
            </a:pPr>
            <a:r>
              <a:rPr kumimoji="0" lang="en-US" sz="2400" b="1" i="0" u="none" strike="noStrike" kern="1200" cap="none" spc="0" normalizeH="0" baseline="0" noProof="0" dirty="0" smtClean="0">
                <a:ln>
                  <a:noFill/>
                </a:ln>
                <a:solidFill>
                  <a:srgbClr val="FFFF00"/>
                </a:solidFill>
                <a:effectLst>
                  <a:outerShdw blurRad="38100" dist="38100" dir="2700000" algn="tl">
                    <a:srgbClr val="000000"/>
                  </a:outerShdw>
                </a:effectLst>
                <a:uLnTx/>
                <a:uFillTx/>
                <a:latin typeface="Angsana New" pitchFamily="18" charset="-34"/>
                <a:ea typeface="+mn-ea"/>
                <a:cs typeface="AngsanaUPC" pitchFamily="18" charset="-34"/>
              </a:rPr>
              <a:t>(Experience)</a:t>
            </a:r>
            <a:endParaRPr kumimoji="0" lang="th-TH" sz="2400" b="1" i="0" u="none" strike="noStrike" kern="1200" cap="none" spc="0" normalizeH="0" baseline="0" noProof="0" dirty="0" smtClean="0">
              <a:ln>
                <a:noFill/>
              </a:ln>
              <a:solidFill>
                <a:srgbClr val="FFFF00"/>
              </a:solidFill>
              <a:effectLst>
                <a:outerShdw blurRad="38100" dist="38100" dir="2700000" algn="tl">
                  <a:srgbClr val="000000"/>
                </a:outerShdw>
              </a:effectLst>
              <a:uLnTx/>
              <a:uFillTx/>
              <a:latin typeface="Angsana New" pitchFamily="18" charset="-34"/>
              <a:ea typeface="+mn-ea"/>
              <a:cs typeface="AngsanaUPC" pitchFamily="18" charset="-34"/>
            </a:endParaRPr>
          </a:p>
        </p:txBody>
      </p:sp>
      <p:sp>
        <p:nvSpPr>
          <p:cNvPr id="55" name="AutoShape 54"/>
          <p:cNvSpPr>
            <a:spLocks noChangeArrowheads="1"/>
          </p:cNvSpPr>
          <p:nvPr/>
        </p:nvSpPr>
        <p:spPr bwMode="auto">
          <a:xfrm flipH="1">
            <a:off x="4203319" y="597321"/>
            <a:ext cx="901700" cy="901700"/>
          </a:xfrm>
          <a:custGeom>
            <a:avLst/>
            <a:gdLst>
              <a:gd name="T0" fmla="*/ 347363 w 21600"/>
              <a:gd name="T1" fmla="*/ 12023 h 21600"/>
              <a:gd name="T2" fmla="*/ 56022 w 21600"/>
              <a:gd name="T3" fmla="*/ 468550 h 21600"/>
              <a:gd name="T4" fmla="*/ 372911 w 21600"/>
              <a:gd name="T5" fmla="*/ 120352 h 21600"/>
              <a:gd name="T6" fmla="*/ 965821 w 21600"/>
              <a:gd name="T7" fmla="*/ 221918 h 21600"/>
              <a:gd name="T8" fmla="*/ 880326 w 21600"/>
              <a:gd name="T9" fmla="*/ 444129 h 21600"/>
              <a:gd name="T10" fmla="*/ 658116 w 21600"/>
              <a:gd name="T11" fmla="*/ 358676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8232" y="7496"/>
                </a:moveTo>
                <a:cubicBezTo>
                  <a:pt x="16927" y="4558"/>
                  <a:pt x="14014" y="2666"/>
                  <a:pt x="10800" y="2666"/>
                </a:cubicBezTo>
                <a:cubicBezTo>
                  <a:pt x="6307" y="2666"/>
                  <a:pt x="2666" y="6307"/>
                  <a:pt x="2666" y="10800"/>
                </a:cubicBezTo>
                <a:cubicBezTo>
                  <a:pt x="2665" y="10921"/>
                  <a:pt x="2668" y="11043"/>
                  <a:pt x="2674" y="11164"/>
                </a:cubicBezTo>
                <a:lnTo>
                  <a:pt x="10" y="11284"/>
                </a:lnTo>
                <a:cubicBezTo>
                  <a:pt x="3" y="11122"/>
                  <a:pt x="0" y="10961"/>
                  <a:pt x="0" y="10800"/>
                </a:cubicBezTo>
                <a:cubicBezTo>
                  <a:pt x="0" y="4835"/>
                  <a:pt x="4835" y="0"/>
                  <a:pt x="10800" y="0"/>
                </a:cubicBezTo>
                <a:cubicBezTo>
                  <a:pt x="15067" y="-1"/>
                  <a:pt x="18935" y="2513"/>
                  <a:pt x="20668" y="6413"/>
                </a:cubicBezTo>
                <a:lnTo>
                  <a:pt x="23136" y="5316"/>
                </a:lnTo>
                <a:lnTo>
                  <a:pt x="21088" y="10639"/>
                </a:lnTo>
                <a:lnTo>
                  <a:pt x="15765" y="8592"/>
                </a:lnTo>
                <a:lnTo>
                  <a:pt x="18232" y="7496"/>
                </a:lnTo>
                <a:close/>
              </a:path>
            </a:pathLst>
          </a:custGeom>
          <a:gradFill rotWithShape="1">
            <a:gsLst>
              <a:gs pos="0">
                <a:srgbClr val="FFFFFF"/>
              </a:gs>
              <a:gs pos="100000">
                <a:srgbClr val="990000"/>
              </a:gs>
            </a:gsLst>
            <a:path path="rect">
              <a:fillToRect l="50000" t="50000" r="50000" b="50000"/>
            </a:path>
          </a:gradFill>
          <a:ln w="9525" algn="ctr">
            <a:solidFill>
              <a:srgbClr val="B05800"/>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sp>
        <p:nvSpPr>
          <p:cNvPr id="56" name="AutoShape 55"/>
          <p:cNvSpPr>
            <a:spLocks noChangeArrowheads="1"/>
          </p:cNvSpPr>
          <p:nvPr/>
        </p:nvSpPr>
        <p:spPr bwMode="auto">
          <a:xfrm rot="10800000" flipH="1">
            <a:off x="4203319" y="597321"/>
            <a:ext cx="901700" cy="901700"/>
          </a:xfrm>
          <a:custGeom>
            <a:avLst/>
            <a:gdLst>
              <a:gd name="T0" fmla="*/ 347363 w 21600"/>
              <a:gd name="T1" fmla="*/ 12023 h 21600"/>
              <a:gd name="T2" fmla="*/ 56022 w 21600"/>
              <a:gd name="T3" fmla="*/ 468550 h 21600"/>
              <a:gd name="T4" fmla="*/ 372911 w 21600"/>
              <a:gd name="T5" fmla="*/ 120352 h 21600"/>
              <a:gd name="T6" fmla="*/ 965821 w 21600"/>
              <a:gd name="T7" fmla="*/ 221918 h 21600"/>
              <a:gd name="T8" fmla="*/ 880326 w 21600"/>
              <a:gd name="T9" fmla="*/ 444129 h 21600"/>
              <a:gd name="T10" fmla="*/ 658116 w 21600"/>
              <a:gd name="T11" fmla="*/ 358676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8232" y="7496"/>
                </a:moveTo>
                <a:cubicBezTo>
                  <a:pt x="16927" y="4558"/>
                  <a:pt x="14014" y="2666"/>
                  <a:pt x="10800" y="2666"/>
                </a:cubicBezTo>
                <a:cubicBezTo>
                  <a:pt x="6307" y="2666"/>
                  <a:pt x="2666" y="6307"/>
                  <a:pt x="2666" y="10800"/>
                </a:cubicBezTo>
                <a:cubicBezTo>
                  <a:pt x="2665" y="10921"/>
                  <a:pt x="2668" y="11043"/>
                  <a:pt x="2674" y="11164"/>
                </a:cubicBezTo>
                <a:lnTo>
                  <a:pt x="10" y="11284"/>
                </a:lnTo>
                <a:cubicBezTo>
                  <a:pt x="3" y="11122"/>
                  <a:pt x="0" y="10961"/>
                  <a:pt x="0" y="10800"/>
                </a:cubicBezTo>
                <a:cubicBezTo>
                  <a:pt x="0" y="4835"/>
                  <a:pt x="4835" y="0"/>
                  <a:pt x="10800" y="0"/>
                </a:cubicBezTo>
                <a:cubicBezTo>
                  <a:pt x="15067" y="-1"/>
                  <a:pt x="18935" y="2513"/>
                  <a:pt x="20668" y="6413"/>
                </a:cubicBezTo>
                <a:lnTo>
                  <a:pt x="23136" y="5316"/>
                </a:lnTo>
                <a:lnTo>
                  <a:pt x="21088" y="10639"/>
                </a:lnTo>
                <a:lnTo>
                  <a:pt x="15765" y="8592"/>
                </a:lnTo>
                <a:lnTo>
                  <a:pt x="18232" y="7496"/>
                </a:lnTo>
                <a:close/>
              </a:path>
            </a:pathLst>
          </a:custGeom>
          <a:gradFill rotWithShape="1">
            <a:gsLst>
              <a:gs pos="0">
                <a:srgbClr val="FFFFFF"/>
              </a:gs>
              <a:gs pos="100000">
                <a:srgbClr val="990000"/>
              </a:gs>
            </a:gsLst>
            <a:path path="rect">
              <a:fillToRect l="50000" t="50000" r="50000" b="50000"/>
            </a:path>
          </a:gradFill>
          <a:ln w="9525" algn="ctr">
            <a:solidFill>
              <a:srgbClr val="B05800"/>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sp>
        <p:nvSpPr>
          <p:cNvPr id="60" name="Text Box 8"/>
          <p:cNvSpPr txBox="1">
            <a:spLocks noChangeArrowheads="1"/>
          </p:cNvSpPr>
          <p:nvPr/>
        </p:nvSpPr>
        <p:spPr bwMode="auto">
          <a:xfrm>
            <a:off x="3059907" y="2782762"/>
            <a:ext cx="3311525" cy="605294"/>
          </a:xfrm>
          <a:prstGeom prst="rect">
            <a:avLst/>
          </a:prstGeom>
          <a:noFill/>
          <a:ln w="9525">
            <a:noFill/>
            <a:miter lim="800000"/>
            <a:headEnd/>
            <a:tailEnd/>
          </a:ln>
          <a:effectLst/>
        </p:spPr>
        <p:txBody>
          <a:bodyPr>
            <a:spAutoFit/>
          </a:bodyPr>
          <a:lstStyle/>
          <a:p>
            <a:pPr marL="0" marR="0" lvl="0" indent="0" algn="ctr" defTabSz="914400" rtl="0" eaLnBrk="1" fontAlgn="base" latinLnBrk="0" hangingPunct="1">
              <a:lnSpc>
                <a:spcPts val="2000"/>
              </a:lnSpc>
              <a:spcBef>
                <a:spcPct val="0"/>
              </a:spcBef>
              <a:spcAft>
                <a:spcPct val="0"/>
              </a:spcAft>
              <a:buClrTx/>
              <a:buSzTx/>
              <a:buFontTx/>
              <a:buNone/>
              <a:tabLst/>
              <a:defRPr/>
            </a:pPr>
            <a:r>
              <a:rPr kumimoji="0" lang="th-TH" sz="2400" b="1" i="0" u="none" strike="noStrike" kern="1200" cap="none" spc="0" normalizeH="0" baseline="0" noProof="0" dirty="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rPr>
              <a:t>ลักษณะนิสัยและ</a:t>
            </a:r>
            <a:r>
              <a:rPr kumimoji="0" lang="th-TH" sz="2400" b="1" i="0" u="none" strike="noStrike" kern="1200" cap="none" spc="0" normalizeH="0" baseline="0" noProof="0" dirty="0" smtClean="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rPr>
              <a:t>สันดาน</a:t>
            </a:r>
          </a:p>
          <a:p>
            <a:pPr marL="0" marR="0" lvl="0" indent="0" algn="ctr" defTabSz="914400" rtl="0" eaLnBrk="1" fontAlgn="base" latinLnBrk="0" hangingPunct="1">
              <a:lnSpc>
                <a:spcPts val="2000"/>
              </a:lnSpc>
              <a:spcBef>
                <a:spcPct val="0"/>
              </a:spcBef>
              <a:spcAft>
                <a:spcPct val="0"/>
              </a:spcAft>
              <a:buClrTx/>
              <a:buSzTx/>
              <a:buFontTx/>
              <a:buNone/>
              <a:tabLst/>
              <a:defRPr/>
            </a:pPr>
            <a:r>
              <a:rPr kumimoji="0" lang="en-US" sz="2400" b="1" i="0" u="none" strike="noStrike" kern="1200" cap="none" spc="0" normalizeH="0" baseline="0" noProof="0" dirty="0" smtClean="0">
                <a:ln>
                  <a:noFill/>
                </a:ln>
                <a:solidFill>
                  <a:srgbClr val="FFFF00"/>
                </a:solidFill>
                <a:effectLst>
                  <a:outerShdw blurRad="38100" dist="38100" dir="2700000" algn="tl">
                    <a:srgbClr val="000000"/>
                  </a:outerShdw>
                </a:effectLst>
                <a:uLnTx/>
                <a:uFillTx/>
                <a:latin typeface="Angsana New" pitchFamily="18" charset="-34"/>
                <a:ea typeface="+mn-ea"/>
                <a:cs typeface="AngsanaUPC" pitchFamily="18" charset="-34"/>
              </a:rPr>
              <a:t>(Habit &amp; Trait)</a:t>
            </a:r>
            <a:endParaRPr kumimoji="0" lang="th-TH" sz="2400" b="1" i="0" u="none" strike="noStrike" kern="1200" cap="none" spc="0" normalizeH="0" baseline="0" noProof="0" dirty="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endParaRPr>
          </a:p>
        </p:txBody>
      </p:sp>
      <p:sp>
        <p:nvSpPr>
          <p:cNvPr id="61" name="Text Box 62"/>
          <p:cNvSpPr txBox="1">
            <a:spLocks noChangeArrowheads="1"/>
          </p:cNvSpPr>
          <p:nvPr/>
        </p:nvSpPr>
        <p:spPr bwMode="auto">
          <a:xfrm>
            <a:off x="3059907" y="3790975"/>
            <a:ext cx="3311525" cy="718145"/>
          </a:xfrm>
          <a:prstGeom prst="rect">
            <a:avLst/>
          </a:prstGeom>
          <a:noFill/>
          <a:ln w="9525">
            <a:noFill/>
            <a:miter lim="800000"/>
            <a:headEnd/>
            <a:tailEnd/>
          </a:ln>
          <a:effectLst/>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th-TH" sz="2400" b="1" i="0" u="none" strike="noStrike" kern="1200" cap="none" spc="0" normalizeH="0" baseline="0" noProof="0" dirty="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rPr>
              <a:t>บรรทัดฐานและ</a:t>
            </a:r>
            <a:r>
              <a:rPr kumimoji="0" lang="th-TH" sz="2400" b="1" i="0" u="none" strike="noStrike" kern="1200" cap="none" spc="0" normalizeH="0" baseline="0" noProof="0" dirty="0" smtClean="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rPr>
              <a:t>มาตรฐาน</a:t>
            </a:r>
          </a:p>
          <a:p>
            <a:pPr marL="0" marR="0" lvl="0" indent="0" algn="ctr" defTabSz="914400" rtl="0" eaLnBrk="1" fontAlgn="base" latinLnBrk="0" hangingPunct="1">
              <a:lnSpc>
                <a:spcPts val="2000"/>
              </a:lnSpc>
              <a:spcBef>
                <a:spcPct val="0"/>
              </a:spcBef>
              <a:spcAft>
                <a:spcPct val="0"/>
              </a:spcAft>
              <a:buClrTx/>
              <a:buSzTx/>
              <a:buFontTx/>
              <a:buNone/>
              <a:tabLst/>
              <a:defRPr/>
            </a:pPr>
            <a:r>
              <a:rPr kumimoji="0" lang="en-US" sz="2400" b="1" i="0" u="none" strike="noStrike" kern="1200" cap="none" spc="0" normalizeH="0" baseline="0" noProof="0" dirty="0" smtClean="0">
                <a:ln>
                  <a:noFill/>
                </a:ln>
                <a:solidFill>
                  <a:srgbClr val="FFFF00"/>
                </a:solidFill>
                <a:effectLst>
                  <a:outerShdw blurRad="38100" dist="38100" dir="2700000" algn="tl">
                    <a:srgbClr val="000000"/>
                  </a:outerShdw>
                </a:effectLst>
                <a:uLnTx/>
                <a:uFillTx/>
                <a:latin typeface="Angsana New" pitchFamily="18" charset="-34"/>
                <a:ea typeface="+mn-ea"/>
                <a:cs typeface="AngsanaUPC" pitchFamily="18" charset="-34"/>
              </a:rPr>
              <a:t>(Norm &amp; Standard)</a:t>
            </a:r>
            <a:endParaRPr kumimoji="0" lang="th-TH" sz="2400" b="1" i="0" u="none" strike="noStrike" kern="1200" cap="none" spc="0" normalizeH="0" baseline="0" noProof="0" dirty="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endParaRPr>
          </a:p>
        </p:txBody>
      </p:sp>
      <p:pic>
        <p:nvPicPr>
          <p:cNvPr id="62" name="Picture 63"/>
          <p:cNvPicPr>
            <a:picLocks noChangeAspect="1" noChangeArrowheads="1"/>
          </p:cNvPicPr>
          <p:nvPr/>
        </p:nvPicPr>
        <p:blipFill>
          <a:blip r:embed="rId6" cstate="print"/>
          <a:srcRect b="11679"/>
          <a:stretch>
            <a:fillRect/>
          </a:stretch>
        </p:blipFill>
        <p:spPr bwMode="auto">
          <a:xfrm>
            <a:off x="4432904" y="3393375"/>
            <a:ext cx="442531" cy="456404"/>
          </a:xfrm>
          <a:prstGeom prst="rect">
            <a:avLst/>
          </a:prstGeom>
          <a:noFill/>
          <a:ln w="28575" algn="ctr">
            <a:noFill/>
            <a:miter lim="800000"/>
            <a:headEnd/>
            <a:tailEnd type="none" w="lg" len="lg"/>
          </a:ln>
        </p:spPr>
      </p:pic>
      <p:pic>
        <p:nvPicPr>
          <p:cNvPr id="63" name="Picture 64"/>
          <p:cNvPicPr>
            <a:picLocks noChangeAspect="1" noChangeArrowheads="1"/>
          </p:cNvPicPr>
          <p:nvPr/>
        </p:nvPicPr>
        <p:blipFill>
          <a:blip r:embed="rId6" cstate="print"/>
          <a:srcRect b="11679"/>
          <a:stretch>
            <a:fillRect/>
          </a:stretch>
        </p:blipFill>
        <p:spPr bwMode="auto">
          <a:xfrm>
            <a:off x="4432904" y="4509120"/>
            <a:ext cx="442531" cy="444043"/>
          </a:xfrm>
          <a:prstGeom prst="rect">
            <a:avLst/>
          </a:prstGeom>
          <a:noFill/>
          <a:ln w="28575" algn="ctr">
            <a:noFill/>
            <a:miter lim="800000"/>
            <a:headEnd/>
            <a:tailEnd type="none" w="lg" len="lg"/>
          </a:ln>
        </p:spPr>
      </p:pic>
      <p:sp>
        <p:nvSpPr>
          <p:cNvPr id="69" name="Rectangle 67"/>
          <p:cNvSpPr>
            <a:spLocks noChangeArrowheads="1"/>
          </p:cNvSpPr>
          <p:nvPr/>
        </p:nvSpPr>
        <p:spPr bwMode="auto">
          <a:xfrm>
            <a:off x="6955120" y="1268760"/>
            <a:ext cx="1875835" cy="707886"/>
          </a:xfrm>
          <a:prstGeom prst="rect">
            <a:avLst/>
          </a:prstGeom>
          <a:noFill/>
          <a:ln w="9525">
            <a:noFill/>
            <a:miter lim="800000"/>
            <a:headEnd/>
            <a:tailEnd/>
          </a:ln>
          <a:effectLst/>
        </p:spPr>
        <p:txBody>
          <a:bodyPr wrap="none">
            <a:spAutoFit/>
          </a:bodyPr>
          <a:lstStyle/>
          <a:p>
            <a:pPr marL="0" marR="0" lvl="0" indent="0" algn="ctr" defTabSz="914400" rtl="0" eaLnBrk="1" fontAlgn="base" latinLnBrk="0" hangingPunct="1">
              <a:lnSpc>
                <a:spcPts val="2400"/>
              </a:lnSpc>
              <a:spcBef>
                <a:spcPct val="0"/>
              </a:spcBef>
              <a:spcAft>
                <a:spcPct val="0"/>
              </a:spcAft>
              <a:buClrTx/>
              <a:buSzTx/>
              <a:buFontTx/>
              <a:buNone/>
              <a:tabLst/>
              <a:defRPr/>
            </a:pPr>
            <a:r>
              <a:rPr kumimoji="0" lang="th-TH" sz="2400" b="1" i="0" u="none" strike="noStrike" kern="1200" cap="none" spc="0" normalizeH="0" baseline="0" noProof="0" dirty="0" smtClean="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rPr>
              <a:t>เปลี่ยนกระบวนทัศน์</a:t>
            </a:r>
          </a:p>
          <a:p>
            <a:pPr marL="0" marR="0" lvl="0" indent="0" algn="ctr" defTabSz="914400" rtl="0" eaLnBrk="1" fontAlgn="base" latinLnBrk="0" hangingPunct="1">
              <a:lnSpc>
                <a:spcPts val="2400"/>
              </a:lnSpc>
              <a:spcBef>
                <a:spcPct val="0"/>
              </a:spcBef>
              <a:spcAft>
                <a:spcPct val="0"/>
              </a:spcAft>
              <a:buClrTx/>
              <a:buSzTx/>
              <a:buFontTx/>
              <a:buNone/>
              <a:tabLst/>
              <a:defRPr/>
            </a:pPr>
            <a:r>
              <a:rPr kumimoji="0" lang="en-US" sz="2400" b="1" i="0" u="none" strike="noStrike" kern="1200" cap="none" spc="0" normalizeH="0" baseline="0" noProof="0" dirty="0" smtClean="0">
                <a:ln>
                  <a:noFill/>
                </a:ln>
                <a:solidFill>
                  <a:srgbClr val="FFFF00"/>
                </a:solidFill>
                <a:effectLst>
                  <a:outerShdw blurRad="38100" dist="38100" dir="2700000" algn="tl">
                    <a:srgbClr val="000000"/>
                  </a:outerShdw>
                </a:effectLst>
                <a:uLnTx/>
                <a:uFillTx/>
                <a:latin typeface="Angsana New" pitchFamily="18" charset="-34"/>
                <a:ea typeface="+mn-ea"/>
                <a:cs typeface="AngsanaUPC" pitchFamily="18" charset="-34"/>
              </a:rPr>
              <a:t>(Paradigm Shift)</a:t>
            </a:r>
            <a:endParaRPr kumimoji="0" lang="th-TH" sz="2400" b="1" i="0" u="none" strike="noStrike" kern="1200" cap="none" spc="0" normalizeH="0" baseline="0" noProof="0" dirty="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endParaRPr>
          </a:p>
        </p:txBody>
      </p:sp>
      <p:sp>
        <p:nvSpPr>
          <p:cNvPr id="65" name="Rectangle 50"/>
          <p:cNvSpPr>
            <a:spLocks noChangeArrowheads="1"/>
          </p:cNvSpPr>
          <p:nvPr/>
        </p:nvSpPr>
        <p:spPr bwMode="auto">
          <a:xfrm>
            <a:off x="2066273" y="1899790"/>
            <a:ext cx="5180012" cy="461665"/>
          </a:xfrm>
          <a:prstGeom prst="rect">
            <a:avLst/>
          </a:prstGeom>
          <a:noFill/>
          <a:ln w="28575">
            <a:noFill/>
            <a:miter lim="800000"/>
            <a:headEnd/>
            <a:tailEnd type="none" w="lg" len="lg"/>
          </a:ln>
          <a:effectLst/>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th-TH" sz="2400" b="1" i="0" u="none" strike="noStrike" kern="1200" cap="none" spc="0" normalizeH="0" baseline="0" noProof="0" dirty="0">
                <a:ln>
                  <a:noFill/>
                </a:ln>
                <a:solidFill>
                  <a:srgbClr val="FFC000"/>
                </a:solidFill>
                <a:effectLst>
                  <a:outerShdw blurRad="38100" dist="38100" dir="2700000" algn="tl">
                    <a:srgbClr val="000000"/>
                  </a:outerShdw>
                </a:effectLst>
                <a:uLnTx/>
                <a:uFillTx/>
                <a:latin typeface="Arial" pitchFamily="34" charset="0"/>
                <a:ea typeface="+mn-ea"/>
                <a:cs typeface="Angsana New" pitchFamily="18" charset="-34"/>
              </a:rPr>
              <a:t>สิ่งที่อยู่เหนือและใต้เส้นขอบฟ้า มีสิ่งใดที่แตกต่างกัน </a:t>
            </a:r>
          </a:p>
        </p:txBody>
      </p:sp>
      <p:sp>
        <p:nvSpPr>
          <p:cNvPr id="72" name="Left Arrow 71"/>
          <p:cNvSpPr/>
          <p:nvPr/>
        </p:nvSpPr>
        <p:spPr>
          <a:xfrm flipH="1">
            <a:off x="4805247" y="1294638"/>
            <a:ext cx="1969810" cy="247275"/>
          </a:xfrm>
          <a:prstGeom prst="leftArrow">
            <a:avLst/>
          </a:prstGeom>
          <a:gradFill rotWithShape="1">
            <a:gsLst>
              <a:gs pos="0">
                <a:srgbClr val="FFFFFF"/>
              </a:gs>
              <a:gs pos="100000">
                <a:srgbClr val="990000"/>
              </a:gs>
            </a:gsLst>
            <a:path path="rect">
              <a:fillToRect l="50000" t="50000" r="50000" b="50000"/>
            </a:path>
          </a:gradFill>
          <a:ln w="9525" algn="ctr">
            <a:solidFill>
              <a:srgbClr val="B05800"/>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rial" pitchFamily="34" charset="0"/>
              <a:ea typeface="+mn-ea"/>
              <a:cs typeface="Angsana New" pitchFamily="18" charset="-34"/>
            </a:endParaRPr>
          </a:p>
        </p:txBody>
      </p:sp>
      <p:grpSp>
        <p:nvGrpSpPr>
          <p:cNvPr id="32" name="Group 56"/>
          <p:cNvGrpSpPr>
            <a:grpSpLocks/>
          </p:cNvGrpSpPr>
          <p:nvPr/>
        </p:nvGrpSpPr>
        <p:grpSpPr bwMode="auto">
          <a:xfrm flipH="1">
            <a:off x="4203319" y="610021"/>
            <a:ext cx="901700" cy="901700"/>
            <a:chOff x="3660" y="3184"/>
            <a:chExt cx="568" cy="568"/>
          </a:xfrm>
        </p:grpSpPr>
        <p:sp>
          <p:nvSpPr>
            <p:cNvPr id="58" name="AutoShape 57"/>
            <p:cNvSpPr>
              <a:spLocks noChangeArrowheads="1"/>
            </p:cNvSpPr>
            <p:nvPr/>
          </p:nvSpPr>
          <p:spPr bwMode="auto">
            <a:xfrm>
              <a:off x="3660" y="3184"/>
              <a:ext cx="568" cy="568"/>
            </a:xfrm>
            <a:custGeom>
              <a:avLst/>
              <a:gdLst>
                <a:gd name="T0" fmla="*/ 219 w 21600"/>
                <a:gd name="T1" fmla="*/ 8 h 21600"/>
                <a:gd name="T2" fmla="*/ 35 w 21600"/>
                <a:gd name="T3" fmla="*/ 295 h 21600"/>
                <a:gd name="T4" fmla="*/ 235 w 21600"/>
                <a:gd name="T5" fmla="*/ 76 h 21600"/>
                <a:gd name="T6" fmla="*/ 608 w 21600"/>
                <a:gd name="T7" fmla="*/ 140 h 21600"/>
                <a:gd name="T8" fmla="*/ 555 w 21600"/>
                <a:gd name="T9" fmla="*/ 280 h 21600"/>
                <a:gd name="T10" fmla="*/ 415 w 21600"/>
                <a:gd name="T11" fmla="*/ 226 h 21600"/>
                <a:gd name="T12" fmla="*/ 0 60000 65536"/>
                <a:gd name="T13" fmla="*/ 0 60000 65536"/>
                <a:gd name="T14" fmla="*/ 0 60000 65536"/>
                <a:gd name="T15" fmla="*/ 0 60000 65536"/>
                <a:gd name="T16" fmla="*/ 0 60000 65536"/>
                <a:gd name="T17" fmla="*/ 0 60000 65536"/>
                <a:gd name="T18" fmla="*/ 3156 w 21600"/>
                <a:gd name="T19" fmla="*/ 3156 h 21600"/>
                <a:gd name="T20" fmla="*/ 18444 w 21600"/>
                <a:gd name="T21" fmla="*/ 18444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8232" y="7496"/>
                  </a:moveTo>
                  <a:cubicBezTo>
                    <a:pt x="16927" y="4558"/>
                    <a:pt x="14014" y="2666"/>
                    <a:pt x="10800" y="2666"/>
                  </a:cubicBezTo>
                  <a:cubicBezTo>
                    <a:pt x="6307" y="2666"/>
                    <a:pt x="2666" y="6307"/>
                    <a:pt x="2666" y="10800"/>
                  </a:cubicBezTo>
                  <a:cubicBezTo>
                    <a:pt x="2665" y="10921"/>
                    <a:pt x="2668" y="11043"/>
                    <a:pt x="2674" y="11164"/>
                  </a:cubicBezTo>
                  <a:lnTo>
                    <a:pt x="10" y="11284"/>
                  </a:lnTo>
                  <a:cubicBezTo>
                    <a:pt x="3" y="11122"/>
                    <a:pt x="0" y="10961"/>
                    <a:pt x="0" y="10800"/>
                  </a:cubicBezTo>
                  <a:cubicBezTo>
                    <a:pt x="0" y="4835"/>
                    <a:pt x="4835" y="0"/>
                    <a:pt x="10800" y="0"/>
                  </a:cubicBezTo>
                  <a:cubicBezTo>
                    <a:pt x="15067" y="-1"/>
                    <a:pt x="18935" y="2513"/>
                    <a:pt x="20668" y="6413"/>
                  </a:cubicBezTo>
                  <a:lnTo>
                    <a:pt x="23136" y="5316"/>
                  </a:lnTo>
                  <a:lnTo>
                    <a:pt x="21088" y="10639"/>
                  </a:lnTo>
                  <a:lnTo>
                    <a:pt x="15765" y="8592"/>
                  </a:lnTo>
                  <a:lnTo>
                    <a:pt x="18232" y="7496"/>
                  </a:lnTo>
                  <a:close/>
                </a:path>
              </a:pathLst>
            </a:custGeom>
            <a:gradFill rotWithShape="1">
              <a:gsLst>
                <a:gs pos="0">
                  <a:srgbClr val="FFFFFF"/>
                </a:gs>
                <a:gs pos="100000">
                  <a:srgbClr val="990000"/>
                </a:gs>
              </a:gsLst>
              <a:path path="rect">
                <a:fillToRect l="50000" t="50000" r="50000" b="50000"/>
              </a:path>
            </a:gradFill>
            <a:ln w="9525" algn="ctr">
              <a:solidFill>
                <a:srgbClr val="B05800"/>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sp>
          <p:nvSpPr>
            <p:cNvPr id="59" name="AutoShape 58"/>
            <p:cNvSpPr>
              <a:spLocks noChangeArrowheads="1"/>
            </p:cNvSpPr>
            <p:nvPr/>
          </p:nvSpPr>
          <p:spPr bwMode="auto">
            <a:xfrm rot="10800000">
              <a:off x="3660" y="3184"/>
              <a:ext cx="568" cy="568"/>
            </a:xfrm>
            <a:custGeom>
              <a:avLst/>
              <a:gdLst>
                <a:gd name="T0" fmla="*/ 219 w 21600"/>
                <a:gd name="T1" fmla="*/ 8 h 21600"/>
                <a:gd name="T2" fmla="*/ 35 w 21600"/>
                <a:gd name="T3" fmla="*/ 295 h 21600"/>
                <a:gd name="T4" fmla="*/ 235 w 21600"/>
                <a:gd name="T5" fmla="*/ 76 h 21600"/>
                <a:gd name="T6" fmla="*/ 608 w 21600"/>
                <a:gd name="T7" fmla="*/ 140 h 21600"/>
                <a:gd name="T8" fmla="*/ 555 w 21600"/>
                <a:gd name="T9" fmla="*/ 280 h 21600"/>
                <a:gd name="T10" fmla="*/ 415 w 21600"/>
                <a:gd name="T11" fmla="*/ 226 h 21600"/>
                <a:gd name="T12" fmla="*/ 0 60000 65536"/>
                <a:gd name="T13" fmla="*/ 0 60000 65536"/>
                <a:gd name="T14" fmla="*/ 0 60000 65536"/>
                <a:gd name="T15" fmla="*/ 0 60000 65536"/>
                <a:gd name="T16" fmla="*/ 0 60000 65536"/>
                <a:gd name="T17" fmla="*/ 0 60000 65536"/>
                <a:gd name="T18" fmla="*/ 3156 w 21600"/>
                <a:gd name="T19" fmla="*/ 3156 h 21600"/>
                <a:gd name="T20" fmla="*/ 18444 w 21600"/>
                <a:gd name="T21" fmla="*/ 18444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8232" y="7496"/>
                  </a:moveTo>
                  <a:cubicBezTo>
                    <a:pt x="16927" y="4558"/>
                    <a:pt x="14014" y="2666"/>
                    <a:pt x="10800" y="2666"/>
                  </a:cubicBezTo>
                  <a:cubicBezTo>
                    <a:pt x="6307" y="2666"/>
                    <a:pt x="2666" y="6307"/>
                    <a:pt x="2666" y="10800"/>
                  </a:cubicBezTo>
                  <a:cubicBezTo>
                    <a:pt x="2665" y="10921"/>
                    <a:pt x="2668" y="11043"/>
                    <a:pt x="2674" y="11164"/>
                  </a:cubicBezTo>
                  <a:lnTo>
                    <a:pt x="10" y="11284"/>
                  </a:lnTo>
                  <a:cubicBezTo>
                    <a:pt x="3" y="11122"/>
                    <a:pt x="0" y="10961"/>
                    <a:pt x="0" y="10800"/>
                  </a:cubicBezTo>
                  <a:cubicBezTo>
                    <a:pt x="0" y="4835"/>
                    <a:pt x="4835" y="0"/>
                    <a:pt x="10800" y="0"/>
                  </a:cubicBezTo>
                  <a:cubicBezTo>
                    <a:pt x="15067" y="-1"/>
                    <a:pt x="18935" y="2513"/>
                    <a:pt x="20668" y="6413"/>
                  </a:cubicBezTo>
                  <a:lnTo>
                    <a:pt x="23136" y="5316"/>
                  </a:lnTo>
                  <a:lnTo>
                    <a:pt x="21088" y="10639"/>
                  </a:lnTo>
                  <a:lnTo>
                    <a:pt x="15765" y="8592"/>
                  </a:lnTo>
                  <a:lnTo>
                    <a:pt x="18232" y="7496"/>
                  </a:lnTo>
                  <a:close/>
                </a:path>
              </a:pathLst>
            </a:custGeom>
            <a:gradFill rotWithShape="1">
              <a:gsLst>
                <a:gs pos="0">
                  <a:srgbClr val="FFFFFF"/>
                </a:gs>
                <a:gs pos="100000">
                  <a:srgbClr val="990000"/>
                </a:gs>
              </a:gsLst>
              <a:path path="rect">
                <a:fillToRect l="50000" t="50000" r="50000" b="50000"/>
              </a:path>
            </a:gradFill>
            <a:ln w="9525" algn="ctr">
              <a:solidFill>
                <a:srgbClr val="B05800"/>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 New" pitchFamily="18" charset="-34"/>
              </a:endParaRPr>
            </a:p>
          </p:txBody>
        </p:sp>
      </p:grpSp>
      <p:sp>
        <p:nvSpPr>
          <p:cNvPr id="76" name="Text Box 6"/>
          <p:cNvSpPr txBox="1">
            <a:spLocks noChangeArrowheads="1"/>
          </p:cNvSpPr>
          <p:nvPr/>
        </p:nvSpPr>
        <p:spPr bwMode="auto">
          <a:xfrm>
            <a:off x="561688" y="6208082"/>
            <a:ext cx="1447832" cy="605294"/>
          </a:xfrm>
          <a:prstGeom prst="rect">
            <a:avLst/>
          </a:prstGeom>
          <a:noFill/>
          <a:ln w="9525">
            <a:noFill/>
            <a:miter lim="800000"/>
            <a:headEnd/>
            <a:tailEnd/>
          </a:ln>
          <a:effectLst/>
        </p:spPr>
        <p:txBody>
          <a:bodyPr wrap="none">
            <a:spAutoFit/>
          </a:bodyPr>
          <a:lstStyle/>
          <a:p>
            <a:pPr marL="0" marR="0" lvl="0" indent="0" algn="ctr" defTabSz="914400" rtl="0" eaLnBrk="1" fontAlgn="base" latinLnBrk="0" hangingPunct="1">
              <a:lnSpc>
                <a:spcPts val="2000"/>
              </a:lnSpc>
              <a:spcBef>
                <a:spcPct val="0"/>
              </a:spcBef>
              <a:spcAft>
                <a:spcPct val="0"/>
              </a:spcAft>
              <a:buClrTx/>
              <a:buSzTx/>
              <a:buFontTx/>
              <a:buNone/>
              <a:tabLst/>
              <a:defRPr/>
            </a:pPr>
            <a:r>
              <a:rPr kumimoji="0" lang="th-TH" sz="2400" b="1" i="0" u="none" strike="noStrike" kern="1200" cap="none" spc="0" normalizeH="0" baseline="0" noProof="0" dirty="0" smtClean="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rPr>
              <a:t>ทัศนคติที่ฝังลึก</a:t>
            </a:r>
            <a:endParaRPr kumimoji="0" lang="en-US" sz="2400" b="1" i="0" u="none" strike="noStrike" kern="1200" cap="none" spc="0" normalizeH="0" baseline="0" noProof="0" dirty="0" smtClean="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endParaRPr>
          </a:p>
          <a:p>
            <a:pPr marL="0" marR="0" lvl="0" indent="0" algn="ctr" defTabSz="914400" rtl="0" eaLnBrk="1" fontAlgn="base" latinLnBrk="0" hangingPunct="1">
              <a:lnSpc>
                <a:spcPts val="2000"/>
              </a:lnSpc>
              <a:spcBef>
                <a:spcPct val="0"/>
              </a:spcBef>
              <a:spcAft>
                <a:spcPct val="0"/>
              </a:spcAft>
              <a:buClrTx/>
              <a:buSzTx/>
              <a:buFontTx/>
              <a:buNone/>
              <a:tabLst/>
              <a:defRPr/>
            </a:pPr>
            <a:r>
              <a:rPr kumimoji="0" lang="en-US" sz="2400" b="1" i="0" u="none" strike="noStrike" kern="1200" cap="none" spc="0" normalizeH="0" baseline="0" noProof="0" dirty="0" smtClean="0">
                <a:ln>
                  <a:noFill/>
                </a:ln>
                <a:solidFill>
                  <a:srgbClr val="FFFF00"/>
                </a:solidFill>
                <a:effectLst>
                  <a:outerShdw blurRad="38100" dist="38100" dir="2700000" algn="tl">
                    <a:srgbClr val="000000"/>
                  </a:outerShdw>
                </a:effectLst>
                <a:uLnTx/>
                <a:uFillTx/>
                <a:latin typeface="Angsana New" pitchFamily="18" charset="-34"/>
                <a:ea typeface="+mn-ea"/>
                <a:cs typeface="AngsanaUPC" pitchFamily="18" charset="-34"/>
              </a:rPr>
              <a:t>(Mindset)</a:t>
            </a:r>
            <a:endParaRPr kumimoji="0" lang="th-TH" sz="2400" b="1" i="0" u="none" strike="noStrike" kern="1200" cap="none" spc="0" normalizeH="0" baseline="0" noProof="0" dirty="0">
              <a:ln>
                <a:noFill/>
              </a:ln>
              <a:solidFill>
                <a:srgbClr val="FFFF00"/>
              </a:solidFill>
              <a:effectLst>
                <a:outerShdw blurRad="38100" dist="38100" dir="2700000" algn="tl">
                  <a:srgbClr val="000000"/>
                </a:outerShdw>
              </a:effectLst>
              <a:uLnTx/>
              <a:uFillTx/>
              <a:latin typeface="Angsana New" pitchFamily="18" charset="-34"/>
              <a:ea typeface="+mn-ea"/>
              <a:cs typeface="Angsana New" pitchFamily="18" charset="-34"/>
            </a:endParaRPr>
          </a:p>
        </p:txBody>
      </p:sp>
      <p:sp>
        <p:nvSpPr>
          <p:cNvPr id="82" name="TextBox 81"/>
          <p:cNvSpPr txBox="1"/>
          <p:nvPr/>
        </p:nvSpPr>
        <p:spPr>
          <a:xfrm>
            <a:off x="34245" y="1694329"/>
            <a:ext cx="1135842" cy="523220"/>
          </a:xfrm>
          <a:prstGeom prst="rect">
            <a:avLst/>
          </a:prstGeom>
          <a:ln>
            <a:noFill/>
          </a:ln>
        </p:spPr>
        <p:style>
          <a:lnRef idx="0">
            <a:schemeClr val="accent5"/>
          </a:lnRef>
          <a:fillRef idx="3">
            <a:schemeClr val="accent5"/>
          </a:fillRef>
          <a:effectRef idx="3">
            <a:schemeClr val="accent5"/>
          </a:effectRef>
          <a:fontRef idx="minor">
            <a:schemeClr val="lt1"/>
          </a:fontRef>
        </p:style>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prstClr val="white"/>
                </a:solidFill>
                <a:effectLst/>
                <a:uLnTx/>
                <a:uFillTx/>
                <a:latin typeface="AngsanaUPC" panose="02020603050405020304" pitchFamily="18" charset="-34"/>
                <a:ea typeface="+mn-ea"/>
                <a:cs typeface="AngsanaUPC" panose="02020603050405020304" pitchFamily="18" charset="-34"/>
              </a:rPr>
              <a:t>Physical</a:t>
            </a:r>
            <a:endParaRPr kumimoji="0" lang="th-TH" sz="2800" b="1" i="0" u="none" strike="noStrike" kern="1200" cap="none" spc="0" normalizeH="0" baseline="0" noProof="0" dirty="0">
              <a:ln>
                <a:noFill/>
              </a:ln>
              <a:solidFill>
                <a:prstClr val="white"/>
              </a:solidFill>
              <a:effectLst/>
              <a:uLnTx/>
              <a:uFillTx/>
              <a:latin typeface="AngsanaUPC" panose="02020603050405020304" pitchFamily="18" charset="-34"/>
              <a:ea typeface="+mn-ea"/>
              <a:cs typeface="AngsanaUPC" panose="02020603050405020304" pitchFamily="18" charset="-34"/>
            </a:endParaRPr>
          </a:p>
        </p:txBody>
      </p:sp>
      <p:sp>
        <p:nvSpPr>
          <p:cNvPr id="83" name="TextBox 82"/>
          <p:cNvSpPr txBox="1"/>
          <p:nvPr/>
        </p:nvSpPr>
        <p:spPr>
          <a:xfrm>
            <a:off x="30462" y="4694413"/>
            <a:ext cx="1141064" cy="523220"/>
          </a:xfrm>
          <a:prstGeom prst="rect">
            <a:avLst/>
          </a:prstGeom>
        </p:spPr>
        <p:style>
          <a:lnRef idx="0">
            <a:schemeClr val="accent5"/>
          </a:lnRef>
          <a:fillRef idx="3">
            <a:schemeClr val="accent5"/>
          </a:fillRef>
          <a:effectRef idx="3">
            <a:schemeClr val="accent5"/>
          </a:effectRef>
          <a:fontRef idx="minor">
            <a:schemeClr val="lt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prstClr val="white"/>
                </a:solidFill>
                <a:effectLst/>
                <a:uLnTx/>
                <a:uFillTx/>
                <a:latin typeface="AngsanaUPC" panose="02020603050405020304" pitchFamily="18" charset="-34"/>
                <a:ea typeface="+mn-ea"/>
                <a:cs typeface="AngsanaUPC" panose="02020603050405020304" pitchFamily="18" charset="-34"/>
              </a:rPr>
              <a:t>Mental</a:t>
            </a:r>
            <a:endParaRPr kumimoji="0" lang="th-TH" sz="2800" b="1" i="0" u="none" strike="noStrike" kern="1200" cap="none" spc="0" normalizeH="0" baseline="0" noProof="0" dirty="0">
              <a:ln>
                <a:noFill/>
              </a:ln>
              <a:solidFill>
                <a:prstClr val="white"/>
              </a:solidFill>
              <a:effectLst/>
              <a:uLnTx/>
              <a:uFillTx/>
              <a:latin typeface="AngsanaUPC" panose="02020603050405020304" pitchFamily="18" charset="-34"/>
              <a:ea typeface="+mn-ea"/>
              <a:cs typeface="AngsanaUPC" panose="02020603050405020304" pitchFamily="18" charset="-34"/>
            </a:endParaRPr>
          </a:p>
        </p:txBody>
      </p:sp>
      <p:pic>
        <p:nvPicPr>
          <p:cNvPr id="67" name="Picture 6" descr="infinity"/>
          <p:cNvPicPr>
            <a:picLocks noChangeAspect="1" noChangeArrowheads="1"/>
          </p:cNvPicPr>
          <p:nvPr/>
        </p:nvPicPr>
        <p:blipFill>
          <a:blip r:embed="rId7" cstate="print"/>
          <a:srcRect/>
          <a:stretch>
            <a:fillRect/>
          </a:stretch>
        </p:blipFill>
        <p:spPr bwMode="auto">
          <a:xfrm rot="16200000">
            <a:off x="6917444" y="5026286"/>
            <a:ext cx="1849650" cy="1586013"/>
          </a:xfrm>
          <a:prstGeom prst="rect">
            <a:avLst/>
          </a:prstGeom>
          <a:noFill/>
          <a:ln w="9525">
            <a:noFill/>
            <a:miter lim="800000"/>
            <a:headEnd/>
            <a:tailEnd/>
          </a:ln>
        </p:spPr>
      </p:pic>
      <p:sp>
        <p:nvSpPr>
          <p:cNvPr id="74" name="Flowchart: Connector 73"/>
          <p:cNvSpPr/>
          <p:nvPr/>
        </p:nvSpPr>
        <p:spPr>
          <a:xfrm>
            <a:off x="7957226" y="5559853"/>
            <a:ext cx="170311" cy="170311"/>
          </a:xfrm>
          <a:prstGeom prst="flowChartConnector">
            <a:avLst/>
          </a:prstGeom>
          <a:solidFill>
            <a:srgbClr val="FFFFFF"/>
          </a:solidFill>
        </p:spPr>
        <p:style>
          <a:lnRef idx="0">
            <a:schemeClr val="accent5"/>
          </a:lnRef>
          <a:fillRef idx="3">
            <a:schemeClr val="accent5"/>
          </a:fillRef>
          <a:effectRef idx="3">
            <a:schemeClr val="accent5"/>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FFFFFF"/>
              </a:solidFill>
              <a:effectLst/>
              <a:uLnTx/>
              <a:uFillTx/>
              <a:latin typeface="Open Sans"/>
              <a:ea typeface="+mn-ea"/>
              <a:cs typeface="TH Sarabun New"/>
            </a:endParaRPr>
          </a:p>
        </p:txBody>
      </p:sp>
      <p:pic>
        <p:nvPicPr>
          <p:cNvPr id="86" name="Picture 63"/>
          <p:cNvPicPr>
            <a:picLocks noChangeAspect="1" noChangeArrowheads="1"/>
          </p:cNvPicPr>
          <p:nvPr/>
        </p:nvPicPr>
        <p:blipFill>
          <a:blip r:embed="rId6" cstate="print"/>
          <a:srcRect b="11679"/>
          <a:stretch>
            <a:fillRect/>
          </a:stretch>
        </p:blipFill>
        <p:spPr bwMode="auto">
          <a:xfrm>
            <a:off x="4432904" y="2271204"/>
            <a:ext cx="442531" cy="463835"/>
          </a:xfrm>
          <a:prstGeom prst="rect">
            <a:avLst/>
          </a:prstGeom>
          <a:noFill/>
          <a:ln w="28575" algn="ctr">
            <a:noFill/>
            <a:miter lim="800000"/>
            <a:headEnd/>
            <a:tailEnd type="none" w="lg" len="lg"/>
          </a:ln>
        </p:spPr>
      </p:pic>
      <p:sp>
        <p:nvSpPr>
          <p:cNvPr id="57" name="Rounded Rectangle 56"/>
          <p:cNvSpPr/>
          <p:nvPr/>
        </p:nvSpPr>
        <p:spPr bwMode="auto">
          <a:xfrm>
            <a:off x="2350063" y="3410902"/>
            <a:ext cx="1998030" cy="397600"/>
          </a:xfrm>
          <a:prstGeom prst="roundRect">
            <a:avLst>
              <a:gd name="adj" fmla="val 50000"/>
            </a:avLst>
          </a:prstGeom>
          <a:solidFill>
            <a:schemeClr val="accent1"/>
          </a:solidFill>
          <a:ln w="12700" cap="flat" cmpd="sng" algn="ctr">
            <a:solidFill>
              <a:schemeClr val="tx1"/>
            </a:solid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ts val="2000"/>
              </a:lnSpc>
              <a:spcBef>
                <a:spcPct val="0"/>
              </a:spcBef>
              <a:spcAft>
                <a:spcPct val="0"/>
              </a:spcAft>
              <a:buClrTx/>
              <a:buSzTx/>
              <a:buFontTx/>
              <a:buNone/>
              <a:tabLst/>
              <a:defRPr/>
            </a:pPr>
            <a:r>
              <a:rPr kumimoji="0" lang="en-US" sz="28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Angsana New" pitchFamily="18" charset="-34"/>
                <a:ea typeface="+mn-ea"/>
                <a:cs typeface="Angsana New" pitchFamily="18" charset="-34"/>
              </a:rPr>
              <a:t>Opinion leaders</a:t>
            </a:r>
            <a:endParaRPr kumimoji="0" lang="th-TH" sz="28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Angsana New" pitchFamily="18" charset="-34"/>
              <a:ea typeface="+mn-ea"/>
              <a:cs typeface="Angsana New" pitchFamily="18" charset="-34"/>
            </a:endParaRPr>
          </a:p>
        </p:txBody>
      </p:sp>
      <p:sp>
        <p:nvSpPr>
          <p:cNvPr id="103" name="Rounded Rectangle 102"/>
          <p:cNvSpPr/>
          <p:nvPr/>
        </p:nvSpPr>
        <p:spPr bwMode="auto">
          <a:xfrm>
            <a:off x="3471278" y="5040344"/>
            <a:ext cx="2365781" cy="397600"/>
          </a:xfrm>
          <a:prstGeom prst="roundRect">
            <a:avLst>
              <a:gd name="adj" fmla="val 50000"/>
            </a:avLst>
          </a:prstGeom>
          <a:solidFill>
            <a:schemeClr val="accent1"/>
          </a:solidFill>
          <a:ln w="12700" cap="flat" cmpd="sng" algn="ctr">
            <a:solidFill>
              <a:schemeClr val="tx1"/>
            </a:solid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ts val="2000"/>
              </a:lnSpc>
              <a:spcBef>
                <a:spcPct val="0"/>
              </a:spcBef>
              <a:spcAft>
                <a:spcPct val="0"/>
              </a:spcAft>
              <a:buClrTx/>
              <a:buSzTx/>
              <a:buFontTx/>
              <a:buNone/>
              <a:tabLst/>
              <a:defRPr/>
            </a:pPr>
            <a:r>
              <a:rPr kumimoji="0" lang="th-TH" sz="28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Angsana New" pitchFamily="18" charset="-34"/>
                <a:ea typeface="+mn-ea"/>
                <a:cs typeface="Angsana New" pitchFamily="18" charset="-34"/>
              </a:rPr>
              <a:t>วัฒนธรรม</a:t>
            </a:r>
            <a:r>
              <a:rPr kumimoji="0" lang="en-US" sz="28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Angsana New" pitchFamily="18" charset="-34"/>
                <a:ea typeface="+mn-ea"/>
                <a:cs typeface="Angsana New" pitchFamily="18" charset="-34"/>
              </a:rPr>
              <a:t> (Culture)</a:t>
            </a:r>
            <a:endParaRPr kumimoji="0" lang="th-TH" sz="28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Angsana New" pitchFamily="18" charset="-34"/>
              <a:ea typeface="+mn-ea"/>
              <a:cs typeface="Angsana New" pitchFamily="18" charset="-34"/>
            </a:endParaRPr>
          </a:p>
        </p:txBody>
      </p:sp>
      <p:grpSp>
        <p:nvGrpSpPr>
          <p:cNvPr id="68" name="Group 67"/>
          <p:cNvGrpSpPr/>
          <p:nvPr/>
        </p:nvGrpSpPr>
        <p:grpSpPr>
          <a:xfrm>
            <a:off x="4203320" y="5625875"/>
            <a:ext cx="906714" cy="456404"/>
            <a:chOff x="9358038" y="5012688"/>
            <a:chExt cx="1273117" cy="456404"/>
          </a:xfrm>
        </p:grpSpPr>
        <p:pic>
          <p:nvPicPr>
            <p:cNvPr id="107" name="Picture 63"/>
            <p:cNvPicPr>
              <a:picLocks noChangeAspect="1" noChangeArrowheads="1"/>
            </p:cNvPicPr>
            <p:nvPr/>
          </p:nvPicPr>
          <p:blipFill>
            <a:blip r:embed="rId6" cstate="print"/>
            <a:srcRect b="11679"/>
            <a:stretch>
              <a:fillRect/>
            </a:stretch>
          </p:blipFill>
          <p:spPr bwMode="auto">
            <a:xfrm>
              <a:off x="9760807" y="5012688"/>
              <a:ext cx="442531" cy="456404"/>
            </a:xfrm>
            <a:prstGeom prst="rect">
              <a:avLst/>
            </a:prstGeom>
            <a:noFill/>
            <a:ln w="28575" algn="ctr">
              <a:noFill/>
              <a:miter lim="800000"/>
              <a:headEnd/>
              <a:tailEnd type="none" w="lg" len="lg"/>
            </a:ln>
          </p:spPr>
        </p:pic>
        <p:pic>
          <p:nvPicPr>
            <p:cNvPr id="108" name="Picture 63"/>
            <p:cNvPicPr>
              <a:picLocks noChangeAspect="1" noChangeArrowheads="1"/>
            </p:cNvPicPr>
            <p:nvPr/>
          </p:nvPicPr>
          <p:blipFill>
            <a:blip r:embed="rId6" cstate="print"/>
            <a:srcRect b="11679"/>
            <a:stretch>
              <a:fillRect/>
            </a:stretch>
          </p:blipFill>
          <p:spPr bwMode="auto">
            <a:xfrm>
              <a:off x="9358038" y="5012688"/>
              <a:ext cx="442531" cy="456404"/>
            </a:xfrm>
            <a:prstGeom prst="rect">
              <a:avLst/>
            </a:prstGeom>
            <a:noFill/>
            <a:ln w="28575" algn="ctr">
              <a:noFill/>
              <a:miter lim="800000"/>
              <a:headEnd/>
              <a:tailEnd type="none" w="lg" len="lg"/>
            </a:ln>
          </p:spPr>
        </p:pic>
        <p:pic>
          <p:nvPicPr>
            <p:cNvPr id="109" name="Picture 63"/>
            <p:cNvPicPr>
              <a:picLocks noChangeAspect="1" noChangeArrowheads="1"/>
            </p:cNvPicPr>
            <p:nvPr/>
          </p:nvPicPr>
          <p:blipFill>
            <a:blip r:embed="rId6" cstate="print"/>
            <a:srcRect b="11679"/>
            <a:stretch>
              <a:fillRect/>
            </a:stretch>
          </p:blipFill>
          <p:spPr bwMode="auto">
            <a:xfrm>
              <a:off x="10188624" y="5012688"/>
              <a:ext cx="442531" cy="456404"/>
            </a:xfrm>
            <a:prstGeom prst="rect">
              <a:avLst/>
            </a:prstGeom>
            <a:noFill/>
            <a:ln w="28575" algn="ctr">
              <a:noFill/>
              <a:miter lim="800000"/>
              <a:headEnd/>
              <a:tailEnd type="none" w="lg" len="lg"/>
            </a:ln>
          </p:spPr>
        </p:pic>
      </p:grpSp>
      <p:sp>
        <p:nvSpPr>
          <p:cNvPr id="111" name="Left Arrow 110"/>
          <p:cNvSpPr/>
          <p:nvPr/>
        </p:nvSpPr>
        <p:spPr>
          <a:xfrm>
            <a:off x="2030191" y="6339885"/>
            <a:ext cx="1800025" cy="341687"/>
          </a:xfrm>
          <a:prstGeom prst="leftArrow">
            <a:avLst>
              <a:gd name="adj1" fmla="val 50000"/>
              <a:gd name="adj2" fmla="val 106148"/>
            </a:avLst>
          </a:prstGeom>
          <a:solidFill>
            <a:srgbClr val="FF9900"/>
          </a:solidFill>
          <a:ln w="9525">
            <a:noFill/>
            <a:round/>
            <a:headEnd/>
            <a:tailEnd/>
          </a:ln>
          <a:scene3d>
            <a:camera prst="orthographicFront"/>
            <a:lightRig rig="flood" dir="t">
              <a:rot lat="0" lon="0" rev="3600000"/>
            </a:lightRig>
          </a:scene3d>
          <a:sp3d extrusionH="76200" prstMaterial="softEdge">
            <a:bevelT w="38100" h="38100"/>
            <a:bevelB w="38100" h="38100"/>
            <a:extrusionClr>
              <a:schemeClr val="bg1"/>
            </a:extrusionClr>
          </a:sp3d>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UPC" pitchFamily="18" charset="-34"/>
            </a:endParaRPr>
          </a:p>
        </p:txBody>
      </p:sp>
      <p:sp>
        <p:nvSpPr>
          <p:cNvPr id="112" name="Left Arrow 111"/>
          <p:cNvSpPr/>
          <p:nvPr/>
        </p:nvSpPr>
        <p:spPr>
          <a:xfrm rot="5400000">
            <a:off x="7605716" y="834314"/>
            <a:ext cx="519263" cy="461238"/>
          </a:xfrm>
          <a:prstGeom prst="leftArrow">
            <a:avLst>
              <a:gd name="adj1" fmla="val 50000"/>
              <a:gd name="adj2" fmla="val 75252"/>
            </a:avLst>
          </a:prstGeom>
          <a:solidFill>
            <a:srgbClr val="FF9900"/>
          </a:solidFill>
          <a:ln w="9525">
            <a:noFill/>
            <a:round/>
            <a:headEnd/>
            <a:tailEnd/>
          </a:ln>
          <a:scene3d>
            <a:camera prst="orthographicFront"/>
            <a:lightRig rig="flood" dir="t">
              <a:rot lat="0" lon="0" rev="3600000"/>
            </a:lightRig>
          </a:scene3d>
          <a:sp3d extrusionH="76200" prstMaterial="softEdge">
            <a:bevelT w="38100" h="38100"/>
            <a:bevelB w="38100" h="38100"/>
            <a:extrusionClr>
              <a:schemeClr val="bg1"/>
            </a:extrusionClr>
          </a:sp3d>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srgbClr val="EAEAEA"/>
              </a:solidFill>
              <a:effectLst/>
              <a:uLnTx/>
              <a:uFillTx/>
              <a:latin typeface="AngsanaUPC" pitchFamily="18" charset="-34"/>
              <a:ea typeface="+mn-ea"/>
              <a:cs typeface="AngsanaUPC" pitchFamily="18" charset="-34"/>
            </a:endParaRPr>
          </a:p>
        </p:txBody>
      </p:sp>
      <p:sp>
        <p:nvSpPr>
          <p:cNvPr id="113" name="Rounded Rectangle 112"/>
          <p:cNvSpPr/>
          <p:nvPr/>
        </p:nvSpPr>
        <p:spPr bwMode="auto">
          <a:xfrm>
            <a:off x="6983889" y="107580"/>
            <a:ext cx="1781380" cy="605294"/>
          </a:xfrm>
          <a:prstGeom prst="roundRect">
            <a:avLst>
              <a:gd name="adj" fmla="val 26457"/>
            </a:avLst>
          </a:prstGeom>
          <a:solidFill>
            <a:schemeClr val="accent1"/>
          </a:solidFill>
          <a:ln w="12700" cap="flat" cmpd="sng" algn="ctr">
            <a:solidFill>
              <a:schemeClr val="tx1"/>
            </a:solid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ts val="2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chemeClr val="bg1"/>
                </a:solidFill>
                <a:effectLst/>
                <a:uLnTx/>
                <a:uFillTx/>
                <a:latin typeface="Angsana New" pitchFamily="18" charset="-34"/>
                <a:ea typeface="+mn-ea"/>
                <a:cs typeface="Angsana New" pitchFamily="18" charset="-34"/>
              </a:rPr>
              <a:t>CHANGE</a:t>
            </a:r>
          </a:p>
          <a:p>
            <a:pPr marL="0" marR="0" lvl="0" indent="0" algn="ctr" defTabSz="914400" rtl="0" eaLnBrk="1" fontAlgn="base" latinLnBrk="0" hangingPunct="1">
              <a:lnSpc>
                <a:spcPts val="2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chemeClr val="bg1"/>
                </a:solidFill>
                <a:effectLst/>
                <a:uLnTx/>
                <a:uFillTx/>
                <a:latin typeface="Angsana New" pitchFamily="18" charset="-34"/>
                <a:ea typeface="+mn-ea"/>
                <a:cs typeface="Angsana New" pitchFamily="18" charset="-34"/>
              </a:rPr>
              <a:t>Management</a:t>
            </a:r>
            <a:endParaRPr kumimoji="0" lang="th-TH" sz="2800" b="1" i="0" u="none" strike="noStrike" kern="1200" cap="none" spc="0" normalizeH="0" baseline="0" noProof="0" dirty="0">
              <a:ln>
                <a:noFill/>
              </a:ln>
              <a:solidFill>
                <a:schemeClr val="bg1"/>
              </a:solidFill>
              <a:effectLst/>
              <a:uLnTx/>
              <a:uFillTx/>
              <a:latin typeface="Angsana New" pitchFamily="18" charset="-34"/>
              <a:ea typeface="+mn-ea"/>
              <a:cs typeface="Angsana New" pitchFamily="18" charset="-34"/>
            </a:endParaRPr>
          </a:p>
        </p:txBody>
      </p:sp>
    </p:spTree>
    <p:custDataLst>
      <p:tags r:id="rId2"/>
    </p:custDataLst>
    <p:extLst>
      <p:ext uri="{BB962C8B-B14F-4D97-AF65-F5344CB8AC3E}">
        <p14:creationId xmlns:p14="http://schemas.microsoft.com/office/powerpoint/2010/main" val="1647363340"/>
      </p:ext>
    </p:extLst>
  </p:cSld>
  <p:clrMapOvr>
    <a:overrideClrMapping bg1="lt1" tx1="dk1" bg2="lt2" tx2="dk2" accent1="accent1" accent2="accent2" accent3="accent3" accent4="accent4" accent5="accent5" accent6="accent6" hlink="hlink" folHlink="folHlink"/>
  </p:clrMapOvr>
  <p:transition spd="med" advTm="297000">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2000"/>
                                        <p:tgtEl>
                                          <p:spTgt spid="65"/>
                                        </p:tgtEl>
                                      </p:cBhvr>
                                    </p:animEffect>
                                    <p:set>
                                      <p:cBhvr>
                                        <p:cTn id="7" dur="1" fill="hold">
                                          <p:stCondLst>
                                            <p:cond delay="1999"/>
                                          </p:stCondLst>
                                        </p:cTn>
                                        <p:tgtEl>
                                          <p:spTgt spid="65"/>
                                        </p:tgtEl>
                                        <p:attrNameLst>
                                          <p:attrName>style.visibility</p:attrName>
                                        </p:attrNameLst>
                                      </p:cBhvr>
                                      <p:to>
                                        <p:strVal val="hidden"/>
                                      </p:to>
                                    </p:set>
                                  </p:childTnLst>
                                </p:cTn>
                              </p:par>
                            </p:childTnLst>
                          </p:cTn>
                        </p:par>
                        <p:par>
                          <p:cTn id="8" fill="hold">
                            <p:stCondLst>
                              <p:cond delay="2000"/>
                            </p:stCondLst>
                            <p:childTnLst>
                              <p:par>
                                <p:cTn id="9" presetID="22" presetClass="entr" presetSubtype="8" fill="hold" grpId="0" nodeType="afterEffect">
                                  <p:stCondLst>
                                    <p:cond delay="0"/>
                                  </p:stCondLst>
                                  <p:childTnLst>
                                    <p:set>
                                      <p:cBhvr>
                                        <p:cTn id="10" dur="1" fill="hold">
                                          <p:stCondLst>
                                            <p:cond delay="0"/>
                                          </p:stCondLst>
                                        </p:cTn>
                                        <p:tgtEl>
                                          <p:spTgt spid="82"/>
                                        </p:tgtEl>
                                        <p:attrNameLst>
                                          <p:attrName>style.visibility</p:attrName>
                                        </p:attrNameLst>
                                      </p:cBhvr>
                                      <p:to>
                                        <p:strVal val="visible"/>
                                      </p:to>
                                    </p:set>
                                    <p:animEffect transition="in" filter="wipe(left)">
                                      <p:cBhvr>
                                        <p:cTn id="11" dur="500"/>
                                        <p:tgtEl>
                                          <p:spTgt spid="82"/>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83"/>
                                        </p:tgtEl>
                                        <p:attrNameLst>
                                          <p:attrName>style.visibility</p:attrName>
                                        </p:attrNameLst>
                                      </p:cBhvr>
                                      <p:to>
                                        <p:strVal val="visible"/>
                                      </p:to>
                                    </p:set>
                                    <p:animEffect transition="in" filter="wipe(left)">
                                      <p:cBhvr>
                                        <p:cTn id="14" dur="500"/>
                                        <p:tgtEl>
                                          <p:spTgt spid="83"/>
                                        </p:tgtEl>
                                      </p:cBhvr>
                                    </p:animEffect>
                                  </p:childTnLst>
                                </p:cTn>
                              </p:par>
                            </p:childTnLst>
                          </p:cTn>
                        </p:par>
                      </p:childTnLst>
                    </p:cTn>
                  </p:par>
                  <p:par>
                    <p:cTn id="15" fill="hold">
                      <p:stCondLst>
                        <p:cond delay="indefinite"/>
                      </p:stCondLst>
                      <p:childTnLst>
                        <p:par>
                          <p:cTn id="16" fill="hold">
                            <p:stCondLst>
                              <p:cond delay="0"/>
                            </p:stCondLst>
                            <p:childTnLst>
                              <p:par>
                                <p:cTn id="17" presetID="4" presetClass="entr" presetSubtype="16"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box(in)">
                                      <p:cBhvr>
                                        <p:cTn id="19" dur="500"/>
                                        <p:tgtEl>
                                          <p:spTgt spid="8"/>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2" fill="hold" nodeType="click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wipe(right)">
                                      <p:cBhvr>
                                        <p:cTn id="24" dur="500"/>
                                        <p:tgtEl>
                                          <p:spTgt spid="12"/>
                                        </p:tgtEl>
                                      </p:cBhvr>
                                    </p:animEffect>
                                  </p:childTnLst>
                                </p:cTn>
                              </p:par>
                            </p:childTnLst>
                          </p:cTn>
                        </p:par>
                        <p:par>
                          <p:cTn id="25" fill="hold">
                            <p:stCondLst>
                              <p:cond delay="500"/>
                            </p:stCondLst>
                            <p:childTnLst>
                              <p:par>
                                <p:cTn id="26" presetID="4" presetClass="entr" presetSubtype="16" fill="hold" grpId="0" nodeType="after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box(in)">
                                      <p:cBhvr>
                                        <p:cTn id="28" dur="500"/>
                                        <p:tgtEl>
                                          <p:spTgt spid="10"/>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2" fill="hold" nodeType="click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wipe(right)">
                                      <p:cBhvr>
                                        <p:cTn id="33" dur="500"/>
                                        <p:tgtEl>
                                          <p:spTgt spid="4"/>
                                        </p:tgtEl>
                                      </p:cBhvr>
                                    </p:animEffect>
                                  </p:childTnLst>
                                </p:cTn>
                              </p:par>
                            </p:childTnLst>
                          </p:cTn>
                        </p:par>
                        <p:par>
                          <p:cTn id="34" fill="hold">
                            <p:stCondLst>
                              <p:cond delay="500"/>
                            </p:stCondLst>
                            <p:childTnLst>
                              <p:par>
                                <p:cTn id="35" presetID="4" presetClass="entr" presetSubtype="16" fill="hold" grpId="0" nodeType="afterEffect">
                                  <p:stCondLst>
                                    <p:cond delay="0"/>
                                  </p:stCondLst>
                                  <p:childTnLst>
                                    <p:set>
                                      <p:cBhvr>
                                        <p:cTn id="36" dur="1" fill="hold">
                                          <p:stCondLst>
                                            <p:cond delay="0"/>
                                          </p:stCondLst>
                                        </p:cTn>
                                        <p:tgtEl>
                                          <p:spTgt spid="9"/>
                                        </p:tgtEl>
                                        <p:attrNameLst>
                                          <p:attrName>style.visibility</p:attrName>
                                        </p:attrNameLst>
                                      </p:cBhvr>
                                      <p:to>
                                        <p:strVal val="visible"/>
                                      </p:to>
                                    </p:set>
                                    <p:animEffect transition="in" filter="box(in)">
                                      <p:cBhvr>
                                        <p:cTn id="37" dur="500"/>
                                        <p:tgtEl>
                                          <p:spTgt spid="9"/>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nodeType="clickEffect">
                                  <p:stCondLst>
                                    <p:cond delay="0"/>
                                  </p:stCondLst>
                                  <p:childTnLst>
                                    <p:set>
                                      <p:cBhvr>
                                        <p:cTn id="41" dur="1" fill="hold">
                                          <p:stCondLst>
                                            <p:cond delay="0"/>
                                          </p:stCondLst>
                                        </p:cTn>
                                        <p:tgtEl>
                                          <p:spTgt spid="2"/>
                                        </p:tgtEl>
                                        <p:attrNameLst>
                                          <p:attrName>style.visibility</p:attrName>
                                        </p:attrNameLst>
                                      </p:cBhvr>
                                      <p:to>
                                        <p:strVal val="visible"/>
                                      </p:to>
                                    </p:set>
                                    <p:animEffect transition="in" filter="wipe(down)">
                                      <p:cBhvr>
                                        <p:cTn id="42" dur="500"/>
                                        <p:tgtEl>
                                          <p:spTgt spid="2"/>
                                        </p:tgtEl>
                                      </p:cBhvr>
                                    </p:animEffect>
                                  </p:childTnLst>
                                </p:cTn>
                              </p:par>
                            </p:childTnLst>
                          </p:cTn>
                        </p:par>
                        <p:par>
                          <p:cTn id="43" fill="hold">
                            <p:stCondLst>
                              <p:cond delay="500"/>
                            </p:stCondLst>
                            <p:childTnLst>
                              <p:par>
                                <p:cTn id="44" presetID="4" presetClass="entr" presetSubtype="16" fill="hold" grpId="0" nodeType="afterEffect">
                                  <p:stCondLst>
                                    <p:cond delay="0"/>
                                  </p:stCondLst>
                                  <p:childTnLst>
                                    <p:set>
                                      <p:cBhvr>
                                        <p:cTn id="45" dur="1" fill="hold">
                                          <p:stCondLst>
                                            <p:cond delay="0"/>
                                          </p:stCondLst>
                                        </p:cTn>
                                        <p:tgtEl>
                                          <p:spTgt spid="11"/>
                                        </p:tgtEl>
                                        <p:attrNameLst>
                                          <p:attrName>style.visibility</p:attrName>
                                        </p:attrNameLst>
                                      </p:cBhvr>
                                      <p:to>
                                        <p:strVal val="visible"/>
                                      </p:to>
                                    </p:set>
                                    <p:animEffect transition="in" filter="box(in)">
                                      <p:cBhvr>
                                        <p:cTn id="46" dur="500"/>
                                        <p:tgtEl>
                                          <p:spTgt spid="11"/>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1" fill="hold" nodeType="click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wipe(up)">
                                      <p:cBhvr>
                                        <p:cTn id="51" dur="500"/>
                                        <p:tgtEl>
                                          <p:spTgt spid="22"/>
                                        </p:tgtEl>
                                      </p:cBhvr>
                                    </p:animEffect>
                                  </p:childTnLst>
                                </p:cTn>
                              </p:par>
                            </p:childTnLst>
                          </p:cTn>
                        </p:par>
                        <p:par>
                          <p:cTn id="52" fill="hold">
                            <p:stCondLst>
                              <p:cond delay="500"/>
                            </p:stCondLst>
                            <p:childTnLst>
                              <p:par>
                                <p:cTn id="53" presetID="35" presetClass="emph" presetSubtype="0" repeatCount="indefinite" fill="hold" grpId="1" nodeType="afterEffect">
                                  <p:stCondLst>
                                    <p:cond delay="0"/>
                                  </p:stCondLst>
                                  <p:childTnLst>
                                    <p:anim calcmode="discrete" valueType="str">
                                      <p:cBhvr>
                                        <p:cTn id="54" dur="1000" fill="hold"/>
                                        <p:tgtEl>
                                          <p:spTgt spid="8"/>
                                        </p:tgtEl>
                                        <p:attrNameLst>
                                          <p:attrName>style.visibility</p:attrName>
                                        </p:attrNameLst>
                                      </p:cBhvr>
                                      <p:tavLst>
                                        <p:tav tm="0">
                                          <p:val>
                                            <p:strVal val="hidden"/>
                                          </p:val>
                                        </p:tav>
                                        <p:tav tm="50000">
                                          <p:val>
                                            <p:strVal val="visible"/>
                                          </p:val>
                                        </p:tav>
                                      </p:tavLst>
                                    </p:anim>
                                  </p:childTnLst>
                                </p:cTn>
                              </p:par>
                            </p:childTnLst>
                          </p:cTn>
                        </p:par>
                      </p:childTnLst>
                    </p:cTn>
                  </p:par>
                  <p:par>
                    <p:cTn id="55" fill="hold">
                      <p:stCondLst>
                        <p:cond delay="indefinite"/>
                      </p:stCondLst>
                      <p:childTnLst>
                        <p:par>
                          <p:cTn id="56" fill="hold">
                            <p:stCondLst>
                              <p:cond delay="0"/>
                            </p:stCondLst>
                            <p:childTnLst>
                              <p:par>
                                <p:cTn id="57" presetID="22" presetClass="entr" presetSubtype="1" fill="hold" nodeType="clickEffect">
                                  <p:stCondLst>
                                    <p:cond delay="0"/>
                                  </p:stCondLst>
                                  <p:childTnLst>
                                    <p:set>
                                      <p:cBhvr>
                                        <p:cTn id="58" dur="1" fill="hold">
                                          <p:stCondLst>
                                            <p:cond delay="0"/>
                                          </p:stCondLst>
                                        </p:cTn>
                                        <p:tgtEl>
                                          <p:spTgt spid="86"/>
                                        </p:tgtEl>
                                        <p:attrNameLst>
                                          <p:attrName>style.visibility</p:attrName>
                                        </p:attrNameLst>
                                      </p:cBhvr>
                                      <p:to>
                                        <p:strVal val="visible"/>
                                      </p:to>
                                    </p:set>
                                    <p:animEffect transition="in" filter="wipe(up)">
                                      <p:cBhvr>
                                        <p:cTn id="59" dur="500"/>
                                        <p:tgtEl>
                                          <p:spTgt spid="86"/>
                                        </p:tgtEl>
                                      </p:cBhvr>
                                    </p:animEffect>
                                  </p:childTnLst>
                                </p:cTn>
                              </p:par>
                            </p:childTnLst>
                          </p:cTn>
                        </p:par>
                        <p:par>
                          <p:cTn id="60" fill="hold">
                            <p:stCondLst>
                              <p:cond delay="500"/>
                            </p:stCondLst>
                            <p:childTnLst>
                              <p:par>
                                <p:cTn id="61" presetID="3" presetClass="entr" presetSubtype="10" fill="hold" grpId="0" nodeType="afterEffect">
                                  <p:stCondLst>
                                    <p:cond delay="0"/>
                                  </p:stCondLst>
                                  <p:childTnLst>
                                    <p:set>
                                      <p:cBhvr>
                                        <p:cTn id="62" dur="1" fill="hold">
                                          <p:stCondLst>
                                            <p:cond delay="0"/>
                                          </p:stCondLst>
                                        </p:cTn>
                                        <p:tgtEl>
                                          <p:spTgt spid="60"/>
                                        </p:tgtEl>
                                        <p:attrNameLst>
                                          <p:attrName>style.visibility</p:attrName>
                                        </p:attrNameLst>
                                      </p:cBhvr>
                                      <p:to>
                                        <p:strVal val="visible"/>
                                      </p:to>
                                    </p:set>
                                    <p:animEffect transition="in" filter="blinds(horizontal)">
                                      <p:cBhvr>
                                        <p:cTn id="63" dur="500"/>
                                        <p:tgtEl>
                                          <p:spTgt spid="60"/>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grpId="0" nodeType="clickEffect">
                                  <p:stCondLst>
                                    <p:cond delay="0"/>
                                  </p:stCondLst>
                                  <p:childTnLst>
                                    <p:set>
                                      <p:cBhvr>
                                        <p:cTn id="67" dur="1" fill="hold">
                                          <p:stCondLst>
                                            <p:cond delay="0"/>
                                          </p:stCondLst>
                                        </p:cTn>
                                        <p:tgtEl>
                                          <p:spTgt spid="57"/>
                                        </p:tgtEl>
                                        <p:attrNameLst>
                                          <p:attrName>style.visibility</p:attrName>
                                        </p:attrNameLst>
                                      </p:cBhvr>
                                      <p:to>
                                        <p:strVal val="visible"/>
                                      </p:to>
                                    </p:set>
                                    <p:animEffect transition="in" filter="wipe(left)">
                                      <p:cBhvr>
                                        <p:cTn id="68" dur="500"/>
                                        <p:tgtEl>
                                          <p:spTgt spid="57"/>
                                        </p:tgtEl>
                                      </p:cBhvr>
                                    </p:animEffect>
                                  </p:childTnLst>
                                </p:cTn>
                              </p:par>
                            </p:childTnLst>
                          </p:cTn>
                        </p:par>
                        <p:par>
                          <p:cTn id="69" fill="hold">
                            <p:stCondLst>
                              <p:cond delay="500"/>
                            </p:stCondLst>
                            <p:childTnLst>
                              <p:par>
                                <p:cTn id="70" presetID="22" presetClass="entr" presetSubtype="1" fill="hold" nodeType="afterEffect">
                                  <p:stCondLst>
                                    <p:cond delay="0"/>
                                  </p:stCondLst>
                                  <p:childTnLst>
                                    <p:set>
                                      <p:cBhvr>
                                        <p:cTn id="71" dur="1" fill="hold">
                                          <p:stCondLst>
                                            <p:cond delay="0"/>
                                          </p:stCondLst>
                                        </p:cTn>
                                        <p:tgtEl>
                                          <p:spTgt spid="62"/>
                                        </p:tgtEl>
                                        <p:attrNameLst>
                                          <p:attrName>style.visibility</p:attrName>
                                        </p:attrNameLst>
                                      </p:cBhvr>
                                      <p:to>
                                        <p:strVal val="visible"/>
                                      </p:to>
                                    </p:set>
                                    <p:animEffect transition="in" filter="wipe(up)">
                                      <p:cBhvr>
                                        <p:cTn id="72" dur="500"/>
                                        <p:tgtEl>
                                          <p:spTgt spid="62"/>
                                        </p:tgtEl>
                                      </p:cBhvr>
                                    </p:animEffect>
                                  </p:childTnLst>
                                </p:cTn>
                              </p:par>
                            </p:childTnLst>
                          </p:cTn>
                        </p:par>
                        <p:par>
                          <p:cTn id="73" fill="hold">
                            <p:stCondLst>
                              <p:cond delay="1000"/>
                            </p:stCondLst>
                            <p:childTnLst>
                              <p:par>
                                <p:cTn id="74" presetID="22" presetClass="entr" presetSubtype="8" fill="hold" grpId="0" nodeType="afterEffect">
                                  <p:stCondLst>
                                    <p:cond delay="0"/>
                                  </p:stCondLst>
                                  <p:childTnLst>
                                    <p:set>
                                      <p:cBhvr>
                                        <p:cTn id="75" dur="1" fill="hold">
                                          <p:stCondLst>
                                            <p:cond delay="0"/>
                                          </p:stCondLst>
                                        </p:cTn>
                                        <p:tgtEl>
                                          <p:spTgt spid="61"/>
                                        </p:tgtEl>
                                        <p:attrNameLst>
                                          <p:attrName>style.visibility</p:attrName>
                                        </p:attrNameLst>
                                      </p:cBhvr>
                                      <p:to>
                                        <p:strVal val="visible"/>
                                      </p:to>
                                    </p:set>
                                    <p:animEffect transition="in" filter="wipe(left)">
                                      <p:cBhvr>
                                        <p:cTn id="76" dur="500"/>
                                        <p:tgtEl>
                                          <p:spTgt spid="61"/>
                                        </p:tgtEl>
                                      </p:cBhvr>
                                    </p:animEffect>
                                  </p:childTnLst>
                                </p:cTn>
                              </p:par>
                            </p:childTnLst>
                          </p:cTn>
                        </p:par>
                      </p:childTnLst>
                    </p:cTn>
                  </p:par>
                  <p:par>
                    <p:cTn id="77" fill="hold">
                      <p:stCondLst>
                        <p:cond delay="indefinite"/>
                      </p:stCondLst>
                      <p:childTnLst>
                        <p:par>
                          <p:cTn id="78" fill="hold">
                            <p:stCondLst>
                              <p:cond delay="0"/>
                            </p:stCondLst>
                            <p:childTnLst>
                              <p:par>
                                <p:cTn id="79" presetID="22" presetClass="entr" presetSubtype="1" fill="hold" nodeType="clickEffect">
                                  <p:stCondLst>
                                    <p:cond delay="0"/>
                                  </p:stCondLst>
                                  <p:childTnLst>
                                    <p:set>
                                      <p:cBhvr>
                                        <p:cTn id="80" dur="1" fill="hold">
                                          <p:stCondLst>
                                            <p:cond delay="0"/>
                                          </p:stCondLst>
                                        </p:cTn>
                                        <p:tgtEl>
                                          <p:spTgt spid="63"/>
                                        </p:tgtEl>
                                        <p:attrNameLst>
                                          <p:attrName>style.visibility</p:attrName>
                                        </p:attrNameLst>
                                      </p:cBhvr>
                                      <p:to>
                                        <p:strVal val="visible"/>
                                      </p:to>
                                    </p:set>
                                    <p:animEffect transition="in" filter="wipe(up)">
                                      <p:cBhvr>
                                        <p:cTn id="81" dur="500"/>
                                        <p:tgtEl>
                                          <p:spTgt spid="63"/>
                                        </p:tgtEl>
                                      </p:cBhvr>
                                    </p:animEffect>
                                  </p:childTnLst>
                                </p:cTn>
                              </p:par>
                            </p:childTnLst>
                          </p:cTn>
                        </p:par>
                        <p:par>
                          <p:cTn id="82" fill="hold">
                            <p:stCondLst>
                              <p:cond delay="500"/>
                            </p:stCondLst>
                            <p:childTnLst>
                              <p:par>
                                <p:cTn id="83" presetID="22" presetClass="entr" presetSubtype="8" fill="hold" grpId="0" nodeType="afterEffect">
                                  <p:stCondLst>
                                    <p:cond delay="0"/>
                                  </p:stCondLst>
                                  <p:childTnLst>
                                    <p:set>
                                      <p:cBhvr>
                                        <p:cTn id="84" dur="1" fill="hold">
                                          <p:stCondLst>
                                            <p:cond delay="0"/>
                                          </p:stCondLst>
                                        </p:cTn>
                                        <p:tgtEl>
                                          <p:spTgt spid="103"/>
                                        </p:tgtEl>
                                        <p:attrNameLst>
                                          <p:attrName>style.visibility</p:attrName>
                                        </p:attrNameLst>
                                      </p:cBhvr>
                                      <p:to>
                                        <p:strVal val="visible"/>
                                      </p:to>
                                    </p:set>
                                    <p:animEffect transition="in" filter="wipe(left)">
                                      <p:cBhvr>
                                        <p:cTn id="85" dur="500"/>
                                        <p:tgtEl>
                                          <p:spTgt spid="103"/>
                                        </p:tgtEl>
                                      </p:cBhvr>
                                    </p:animEffect>
                                  </p:childTnLst>
                                </p:cTn>
                              </p:par>
                            </p:childTnLst>
                          </p:cTn>
                        </p:par>
                      </p:childTnLst>
                    </p:cTn>
                  </p:par>
                  <p:par>
                    <p:cTn id="86" fill="hold">
                      <p:stCondLst>
                        <p:cond delay="indefinite"/>
                      </p:stCondLst>
                      <p:childTnLst>
                        <p:par>
                          <p:cTn id="87" fill="hold">
                            <p:stCondLst>
                              <p:cond delay="0"/>
                            </p:stCondLst>
                            <p:childTnLst>
                              <p:par>
                                <p:cTn id="88" presetID="22" presetClass="entr" presetSubtype="1" fill="hold" nodeType="clickEffect">
                                  <p:stCondLst>
                                    <p:cond delay="0"/>
                                  </p:stCondLst>
                                  <p:childTnLst>
                                    <p:set>
                                      <p:cBhvr>
                                        <p:cTn id="89" dur="1" fill="hold">
                                          <p:stCondLst>
                                            <p:cond delay="0"/>
                                          </p:stCondLst>
                                        </p:cTn>
                                        <p:tgtEl>
                                          <p:spTgt spid="68"/>
                                        </p:tgtEl>
                                        <p:attrNameLst>
                                          <p:attrName>style.visibility</p:attrName>
                                        </p:attrNameLst>
                                      </p:cBhvr>
                                      <p:to>
                                        <p:strVal val="visible"/>
                                      </p:to>
                                    </p:set>
                                    <p:animEffect transition="in" filter="wipe(up)">
                                      <p:cBhvr>
                                        <p:cTn id="90" dur="500"/>
                                        <p:tgtEl>
                                          <p:spTgt spid="68"/>
                                        </p:tgtEl>
                                      </p:cBhvr>
                                    </p:animEffect>
                                  </p:childTnLst>
                                </p:cTn>
                              </p:par>
                            </p:childTnLst>
                          </p:cTn>
                        </p:par>
                      </p:childTnLst>
                    </p:cTn>
                  </p:par>
                  <p:par>
                    <p:cTn id="91" fill="hold">
                      <p:stCondLst>
                        <p:cond delay="indefinite"/>
                      </p:stCondLst>
                      <p:childTnLst>
                        <p:par>
                          <p:cTn id="92" fill="hold">
                            <p:stCondLst>
                              <p:cond delay="0"/>
                            </p:stCondLst>
                            <p:childTnLst>
                              <p:par>
                                <p:cTn id="93" presetID="22" presetClass="entr" presetSubtype="8" fill="hold" grpId="0" nodeType="clickEffect">
                                  <p:stCondLst>
                                    <p:cond delay="0"/>
                                  </p:stCondLst>
                                  <p:childTnLst>
                                    <p:set>
                                      <p:cBhvr>
                                        <p:cTn id="94" dur="1" fill="hold">
                                          <p:stCondLst>
                                            <p:cond delay="0"/>
                                          </p:stCondLst>
                                        </p:cTn>
                                        <p:tgtEl>
                                          <p:spTgt spid="54"/>
                                        </p:tgtEl>
                                        <p:attrNameLst>
                                          <p:attrName>style.visibility</p:attrName>
                                        </p:attrNameLst>
                                      </p:cBhvr>
                                      <p:to>
                                        <p:strVal val="visible"/>
                                      </p:to>
                                    </p:set>
                                    <p:animEffect transition="in" filter="wipe(left)">
                                      <p:cBhvr>
                                        <p:cTn id="95" dur="500"/>
                                        <p:tgtEl>
                                          <p:spTgt spid="54"/>
                                        </p:tgtEl>
                                      </p:cBhvr>
                                    </p:animEffect>
                                  </p:childTnLst>
                                </p:cTn>
                              </p:par>
                            </p:childTnLst>
                          </p:cTn>
                        </p:par>
                      </p:childTnLst>
                    </p:cTn>
                  </p:par>
                  <p:par>
                    <p:cTn id="96" fill="hold">
                      <p:stCondLst>
                        <p:cond delay="indefinite"/>
                      </p:stCondLst>
                      <p:childTnLst>
                        <p:par>
                          <p:cTn id="97" fill="hold">
                            <p:stCondLst>
                              <p:cond delay="0"/>
                            </p:stCondLst>
                            <p:childTnLst>
                              <p:par>
                                <p:cTn id="98" presetID="22" presetClass="entr" presetSubtype="8" fill="hold" grpId="0" nodeType="clickEffect">
                                  <p:stCondLst>
                                    <p:cond delay="0"/>
                                  </p:stCondLst>
                                  <p:childTnLst>
                                    <p:set>
                                      <p:cBhvr>
                                        <p:cTn id="99" dur="1" fill="hold">
                                          <p:stCondLst>
                                            <p:cond delay="0"/>
                                          </p:stCondLst>
                                        </p:cTn>
                                        <p:tgtEl>
                                          <p:spTgt spid="52"/>
                                        </p:tgtEl>
                                        <p:attrNameLst>
                                          <p:attrName>style.visibility</p:attrName>
                                        </p:attrNameLst>
                                      </p:cBhvr>
                                      <p:to>
                                        <p:strVal val="visible"/>
                                      </p:to>
                                    </p:set>
                                    <p:animEffect transition="in" filter="wipe(left)">
                                      <p:cBhvr>
                                        <p:cTn id="100" dur="500"/>
                                        <p:tgtEl>
                                          <p:spTgt spid="52"/>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ntr" presetSubtype="8" fill="hold" grpId="0" nodeType="clickEffect">
                                  <p:stCondLst>
                                    <p:cond delay="0"/>
                                  </p:stCondLst>
                                  <p:childTnLst>
                                    <p:set>
                                      <p:cBhvr>
                                        <p:cTn id="104" dur="1" fill="hold">
                                          <p:stCondLst>
                                            <p:cond delay="0"/>
                                          </p:stCondLst>
                                        </p:cTn>
                                        <p:tgtEl>
                                          <p:spTgt spid="56"/>
                                        </p:tgtEl>
                                        <p:attrNameLst>
                                          <p:attrName>style.visibility</p:attrName>
                                        </p:attrNameLst>
                                      </p:cBhvr>
                                      <p:to>
                                        <p:strVal val="visible"/>
                                      </p:to>
                                    </p:set>
                                    <p:animEffect transition="in" filter="wipe(left)">
                                      <p:cBhvr>
                                        <p:cTn id="105" dur="500"/>
                                        <p:tgtEl>
                                          <p:spTgt spid="56"/>
                                        </p:tgtEl>
                                      </p:cBhvr>
                                    </p:animEffect>
                                  </p:childTnLst>
                                </p:cTn>
                              </p:par>
                            </p:childTnLst>
                          </p:cTn>
                        </p:par>
                      </p:childTnLst>
                    </p:cTn>
                  </p:par>
                  <p:par>
                    <p:cTn id="106" fill="hold">
                      <p:stCondLst>
                        <p:cond delay="indefinite"/>
                      </p:stCondLst>
                      <p:childTnLst>
                        <p:par>
                          <p:cTn id="107" fill="hold">
                            <p:stCondLst>
                              <p:cond delay="0"/>
                            </p:stCondLst>
                            <p:childTnLst>
                              <p:par>
                                <p:cTn id="108" presetID="22" presetClass="entr" presetSubtype="2" fill="hold" grpId="0" nodeType="clickEffect">
                                  <p:stCondLst>
                                    <p:cond delay="0"/>
                                  </p:stCondLst>
                                  <p:childTnLst>
                                    <p:set>
                                      <p:cBhvr>
                                        <p:cTn id="109" dur="1" fill="hold">
                                          <p:stCondLst>
                                            <p:cond delay="0"/>
                                          </p:stCondLst>
                                        </p:cTn>
                                        <p:tgtEl>
                                          <p:spTgt spid="53"/>
                                        </p:tgtEl>
                                        <p:attrNameLst>
                                          <p:attrName>style.visibility</p:attrName>
                                        </p:attrNameLst>
                                      </p:cBhvr>
                                      <p:to>
                                        <p:strVal val="visible"/>
                                      </p:to>
                                    </p:set>
                                    <p:animEffect transition="in" filter="wipe(right)">
                                      <p:cBhvr>
                                        <p:cTn id="110" dur="500"/>
                                        <p:tgtEl>
                                          <p:spTgt spid="53"/>
                                        </p:tgtEl>
                                      </p:cBhvr>
                                    </p:animEffect>
                                  </p:childTnLst>
                                </p:cTn>
                              </p:par>
                              <p:par>
                                <p:cTn id="111" presetID="22" presetClass="entr" presetSubtype="2" fill="hold" grpId="0" nodeType="withEffect">
                                  <p:stCondLst>
                                    <p:cond delay="0"/>
                                  </p:stCondLst>
                                  <p:childTnLst>
                                    <p:set>
                                      <p:cBhvr>
                                        <p:cTn id="112" dur="1" fill="hold">
                                          <p:stCondLst>
                                            <p:cond delay="0"/>
                                          </p:stCondLst>
                                        </p:cTn>
                                        <p:tgtEl>
                                          <p:spTgt spid="55"/>
                                        </p:tgtEl>
                                        <p:attrNameLst>
                                          <p:attrName>style.visibility</p:attrName>
                                        </p:attrNameLst>
                                      </p:cBhvr>
                                      <p:to>
                                        <p:strVal val="visible"/>
                                      </p:to>
                                    </p:set>
                                    <p:animEffect transition="in" filter="wipe(right)">
                                      <p:cBhvr>
                                        <p:cTn id="113" dur="500"/>
                                        <p:tgtEl>
                                          <p:spTgt spid="55"/>
                                        </p:tgtEl>
                                      </p:cBhvr>
                                    </p:animEffect>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nodeType="clickEffect">
                                  <p:stCondLst>
                                    <p:cond delay="0"/>
                                  </p:stCondLst>
                                  <p:childTnLst>
                                    <p:set>
                                      <p:cBhvr>
                                        <p:cTn id="117" dur="1" fill="hold">
                                          <p:stCondLst>
                                            <p:cond delay="0"/>
                                          </p:stCondLst>
                                        </p:cTn>
                                        <p:tgtEl>
                                          <p:spTgt spid="32"/>
                                        </p:tgtEl>
                                        <p:attrNameLst>
                                          <p:attrName>style.visibility</p:attrName>
                                        </p:attrNameLst>
                                      </p:cBhvr>
                                      <p:to>
                                        <p:strVal val="visible"/>
                                      </p:to>
                                    </p:set>
                                    <p:animEffect transition="in" filter="fade">
                                      <p:cBhvr>
                                        <p:cTn id="118" dur="2000"/>
                                        <p:tgtEl>
                                          <p:spTgt spid="32"/>
                                        </p:tgtEl>
                                      </p:cBhvr>
                                    </p:animEffect>
                                  </p:childTnLst>
                                </p:cTn>
                              </p:par>
                              <p:par>
                                <p:cTn id="119" presetID="10" presetClass="exit" presetSubtype="0" fill="hold" grpId="1" nodeType="withEffect">
                                  <p:stCondLst>
                                    <p:cond delay="0"/>
                                  </p:stCondLst>
                                  <p:childTnLst>
                                    <p:animEffect transition="out" filter="fade">
                                      <p:cBhvr>
                                        <p:cTn id="120" dur="2000"/>
                                        <p:tgtEl>
                                          <p:spTgt spid="55"/>
                                        </p:tgtEl>
                                      </p:cBhvr>
                                    </p:animEffect>
                                    <p:set>
                                      <p:cBhvr>
                                        <p:cTn id="121" dur="1" fill="hold">
                                          <p:stCondLst>
                                            <p:cond delay="1999"/>
                                          </p:stCondLst>
                                        </p:cTn>
                                        <p:tgtEl>
                                          <p:spTgt spid="55"/>
                                        </p:tgtEl>
                                        <p:attrNameLst>
                                          <p:attrName>style.visibility</p:attrName>
                                        </p:attrNameLst>
                                      </p:cBhvr>
                                      <p:to>
                                        <p:strVal val="hidden"/>
                                      </p:to>
                                    </p:set>
                                  </p:childTnLst>
                                </p:cTn>
                              </p:par>
                              <p:par>
                                <p:cTn id="122" presetID="10" presetClass="exit" presetSubtype="0" fill="hold" grpId="1" nodeType="withEffect">
                                  <p:stCondLst>
                                    <p:cond delay="0"/>
                                  </p:stCondLst>
                                  <p:childTnLst>
                                    <p:animEffect transition="out" filter="fade">
                                      <p:cBhvr>
                                        <p:cTn id="123" dur="2000"/>
                                        <p:tgtEl>
                                          <p:spTgt spid="56"/>
                                        </p:tgtEl>
                                      </p:cBhvr>
                                    </p:animEffect>
                                    <p:set>
                                      <p:cBhvr>
                                        <p:cTn id="124" dur="1" fill="hold">
                                          <p:stCondLst>
                                            <p:cond delay="1999"/>
                                          </p:stCondLst>
                                        </p:cTn>
                                        <p:tgtEl>
                                          <p:spTgt spid="56"/>
                                        </p:tgtEl>
                                        <p:attrNameLst>
                                          <p:attrName>style.visibility</p:attrName>
                                        </p:attrNameLst>
                                      </p:cBhvr>
                                      <p:to>
                                        <p:strVal val="hidden"/>
                                      </p:to>
                                    </p:set>
                                  </p:childTnLst>
                                </p:cTn>
                              </p:par>
                              <p:par>
                                <p:cTn id="125" presetID="8" presetClass="emph" presetSubtype="0" repeatCount="indefinite" fill="hold" nodeType="withEffect">
                                  <p:stCondLst>
                                    <p:cond delay="0"/>
                                  </p:stCondLst>
                                  <p:childTnLst>
                                    <p:animRot by="-21600000">
                                      <p:cBhvr>
                                        <p:cTn id="126" dur="2000" fill="hold"/>
                                        <p:tgtEl>
                                          <p:spTgt spid="32"/>
                                        </p:tgtEl>
                                        <p:attrNameLst>
                                          <p:attrName>r</p:attrName>
                                        </p:attrNameLst>
                                      </p:cBhvr>
                                    </p:animRot>
                                  </p:childTnLst>
                                </p:cTn>
                              </p:par>
                            </p:childTnLst>
                          </p:cTn>
                        </p:par>
                        <p:par>
                          <p:cTn id="127" fill="hold">
                            <p:stCondLst>
                              <p:cond delay="2000"/>
                            </p:stCondLst>
                            <p:childTnLst>
                              <p:par>
                                <p:cTn id="128" presetID="22" presetClass="entr" presetSubtype="8" fill="hold" grpId="0" nodeType="afterEffect">
                                  <p:stCondLst>
                                    <p:cond delay="0"/>
                                  </p:stCondLst>
                                  <p:childTnLst>
                                    <p:set>
                                      <p:cBhvr>
                                        <p:cTn id="129" dur="1" fill="hold">
                                          <p:stCondLst>
                                            <p:cond delay="0"/>
                                          </p:stCondLst>
                                        </p:cTn>
                                        <p:tgtEl>
                                          <p:spTgt spid="72"/>
                                        </p:tgtEl>
                                        <p:attrNameLst>
                                          <p:attrName>style.visibility</p:attrName>
                                        </p:attrNameLst>
                                      </p:cBhvr>
                                      <p:to>
                                        <p:strVal val="visible"/>
                                      </p:to>
                                    </p:set>
                                    <p:animEffect transition="in" filter="wipe(left)">
                                      <p:cBhvr>
                                        <p:cTn id="130" dur="500"/>
                                        <p:tgtEl>
                                          <p:spTgt spid="72"/>
                                        </p:tgtEl>
                                      </p:cBhvr>
                                    </p:animEffect>
                                  </p:childTnLst>
                                </p:cTn>
                              </p:par>
                            </p:childTnLst>
                          </p:cTn>
                        </p:par>
                        <p:par>
                          <p:cTn id="131" fill="hold">
                            <p:stCondLst>
                              <p:cond delay="2500"/>
                            </p:stCondLst>
                            <p:childTnLst>
                              <p:par>
                                <p:cTn id="132" presetID="10" presetClass="entr" presetSubtype="0" fill="hold" grpId="0" nodeType="afterEffect">
                                  <p:stCondLst>
                                    <p:cond delay="0"/>
                                  </p:stCondLst>
                                  <p:childTnLst>
                                    <p:set>
                                      <p:cBhvr>
                                        <p:cTn id="133" dur="1" fill="hold">
                                          <p:stCondLst>
                                            <p:cond delay="0"/>
                                          </p:stCondLst>
                                        </p:cTn>
                                        <p:tgtEl>
                                          <p:spTgt spid="69"/>
                                        </p:tgtEl>
                                        <p:attrNameLst>
                                          <p:attrName>style.visibility</p:attrName>
                                        </p:attrNameLst>
                                      </p:cBhvr>
                                      <p:to>
                                        <p:strVal val="visible"/>
                                      </p:to>
                                    </p:set>
                                    <p:animEffect transition="in" filter="fade">
                                      <p:cBhvr>
                                        <p:cTn id="134" dur="2000"/>
                                        <p:tgtEl>
                                          <p:spTgt spid="69"/>
                                        </p:tgtEl>
                                      </p:cBhvr>
                                    </p:animEffect>
                                  </p:childTnLst>
                                </p:cTn>
                              </p:par>
                            </p:childTnLst>
                          </p:cTn>
                        </p:par>
                      </p:childTnLst>
                    </p:cTn>
                  </p:par>
                  <p:par>
                    <p:cTn id="135" fill="hold">
                      <p:stCondLst>
                        <p:cond delay="indefinite"/>
                      </p:stCondLst>
                      <p:childTnLst>
                        <p:par>
                          <p:cTn id="136" fill="hold">
                            <p:stCondLst>
                              <p:cond delay="0"/>
                            </p:stCondLst>
                            <p:childTnLst>
                              <p:par>
                                <p:cTn id="137" presetID="22" presetClass="entr" presetSubtype="2" fill="hold" grpId="0" nodeType="clickEffect">
                                  <p:stCondLst>
                                    <p:cond delay="0"/>
                                  </p:stCondLst>
                                  <p:childTnLst>
                                    <p:set>
                                      <p:cBhvr>
                                        <p:cTn id="138" dur="1" fill="hold">
                                          <p:stCondLst>
                                            <p:cond delay="0"/>
                                          </p:stCondLst>
                                        </p:cTn>
                                        <p:tgtEl>
                                          <p:spTgt spid="111"/>
                                        </p:tgtEl>
                                        <p:attrNameLst>
                                          <p:attrName>style.visibility</p:attrName>
                                        </p:attrNameLst>
                                      </p:cBhvr>
                                      <p:to>
                                        <p:strVal val="visible"/>
                                      </p:to>
                                    </p:set>
                                    <p:animEffect transition="in" filter="wipe(right)">
                                      <p:cBhvr>
                                        <p:cTn id="139" dur="500"/>
                                        <p:tgtEl>
                                          <p:spTgt spid="111"/>
                                        </p:tgtEl>
                                      </p:cBhvr>
                                    </p:animEffect>
                                  </p:childTnLst>
                                </p:cTn>
                              </p:par>
                            </p:childTnLst>
                          </p:cTn>
                        </p:par>
                        <p:par>
                          <p:cTn id="140" fill="hold">
                            <p:stCondLst>
                              <p:cond delay="500"/>
                            </p:stCondLst>
                            <p:childTnLst>
                              <p:par>
                                <p:cTn id="141" presetID="10" presetClass="entr" presetSubtype="0" fill="hold" grpId="0" nodeType="afterEffect">
                                  <p:stCondLst>
                                    <p:cond delay="0"/>
                                  </p:stCondLst>
                                  <p:childTnLst>
                                    <p:set>
                                      <p:cBhvr>
                                        <p:cTn id="142" dur="1" fill="hold">
                                          <p:stCondLst>
                                            <p:cond delay="0"/>
                                          </p:stCondLst>
                                        </p:cTn>
                                        <p:tgtEl>
                                          <p:spTgt spid="76"/>
                                        </p:tgtEl>
                                        <p:attrNameLst>
                                          <p:attrName>style.visibility</p:attrName>
                                        </p:attrNameLst>
                                      </p:cBhvr>
                                      <p:to>
                                        <p:strVal val="visible"/>
                                      </p:to>
                                    </p:set>
                                    <p:animEffect transition="in" filter="fade">
                                      <p:cBhvr>
                                        <p:cTn id="143" dur="2000"/>
                                        <p:tgtEl>
                                          <p:spTgt spid="76"/>
                                        </p:tgtEl>
                                      </p:cBhvr>
                                    </p:animEffect>
                                  </p:childTnLst>
                                </p:cTn>
                              </p:par>
                            </p:childTnLst>
                          </p:cTn>
                        </p:par>
                      </p:childTnLst>
                    </p:cTn>
                  </p:par>
                  <p:par>
                    <p:cTn id="144" fill="hold">
                      <p:stCondLst>
                        <p:cond delay="indefinite"/>
                      </p:stCondLst>
                      <p:childTnLst>
                        <p:par>
                          <p:cTn id="145" fill="hold">
                            <p:stCondLst>
                              <p:cond delay="0"/>
                            </p:stCondLst>
                            <p:childTnLst>
                              <p:par>
                                <p:cTn id="146" presetID="22" presetClass="entr" presetSubtype="4" fill="hold" grpId="0" nodeType="clickEffect">
                                  <p:stCondLst>
                                    <p:cond delay="0"/>
                                  </p:stCondLst>
                                  <p:childTnLst>
                                    <p:set>
                                      <p:cBhvr>
                                        <p:cTn id="147" dur="1" fill="hold">
                                          <p:stCondLst>
                                            <p:cond delay="0"/>
                                          </p:stCondLst>
                                        </p:cTn>
                                        <p:tgtEl>
                                          <p:spTgt spid="112"/>
                                        </p:tgtEl>
                                        <p:attrNameLst>
                                          <p:attrName>style.visibility</p:attrName>
                                        </p:attrNameLst>
                                      </p:cBhvr>
                                      <p:to>
                                        <p:strVal val="visible"/>
                                      </p:to>
                                    </p:set>
                                    <p:animEffect transition="in" filter="wipe(down)">
                                      <p:cBhvr>
                                        <p:cTn id="148" dur="500"/>
                                        <p:tgtEl>
                                          <p:spTgt spid="112"/>
                                        </p:tgtEl>
                                      </p:cBhvr>
                                    </p:animEffect>
                                  </p:childTnLst>
                                </p:cTn>
                              </p:par>
                            </p:childTnLst>
                          </p:cTn>
                        </p:par>
                        <p:par>
                          <p:cTn id="149" fill="hold">
                            <p:stCondLst>
                              <p:cond delay="500"/>
                            </p:stCondLst>
                            <p:childTnLst>
                              <p:par>
                                <p:cTn id="150" presetID="22" presetClass="entr" presetSubtype="8" fill="hold" grpId="0" nodeType="afterEffect">
                                  <p:stCondLst>
                                    <p:cond delay="0"/>
                                  </p:stCondLst>
                                  <p:childTnLst>
                                    <p:set>
                                      <p:cBhvr>
                                        <p:cTn id="151" dur="1" fill="hold">
                                          <p:stCondLst>
                                            <p:cond delay="0"/>
                                          </p:stCondLst>
                                        </p:cTn>
                                        <p:tgtEl>
                                          <p:spTgt spid="113"/>
                                        </p:tgtEl>
                                        <p:attrNameLst>
                                          <p:attrName>style.visibility</p:attrName>
                                        </p:attrNameLst>
                                      </p:cBhvr>
                                      <p:to>
                                        <p:strVal val="visible"/>
                                      </p:to>
                                    </p:set>
                                    <p:animEffect transition="in" filter="wipe(left)">
                                      <p:cBhvr>
                                        <p:cTn id="152" dur="500"/>
                                        <p:tgtEl>
                                          <p:spTgt spid="113"/>
                                        </p:tgtEl>
                                      </p:cBhvr>
                                    </p:animEffect>
                                  </p:childTnLst>
                                </p:cTn>
                              </p:par>
                            </p:childTnLst>
                          </p:cTn>
                        </p:par>
                      </p:childTnLst>
                    </p:cTn>
                  </p:par>
                  <p:par>
                    <p:cTn id="153" fill="hold">
                      <p:stCondLst>
                        <p:cond delay="indefinite"/>
                      </p:stCondLst>
                      <p:childTnLst>
                        <p:par>
                          <p:cTn id="154" fill="hold">
                            <p:stCondLst>
                              <p:cond delay="0"/>
                            </p:stCondLst>
                            <p:childTnLst>
                              <p:par>
                                <p:cTn id="155" presetID="10" presetClass="entr" presetSubtype="0" fill="hold" nodeType="clickEffect">
                                  <p:stCondLst>
                                    <p:cond delay="0"/>
                                  </p:stCondLst>
                                  <p:childTnLst>
                                    <p:set>
                                      <p:cBhvr>
                                        <p:cTn id="156" dur="1" fill="hold">
                                          <p:stCondLst>
                                            <p:cond delay="0"/>
                                          </p:stCondLst>
                                        </p:cTn>
                                        <p:tgtEl>
                                          <p:spTgt spid="67"/>
                                        </p:tgtEl>
                                        <p:attrNameLst>
                                          <p:attrName>style.visibility</p:attrName>
                                        </p:attrNameLst>
                                      </p:cBhvr>
                                      <p:to>
                                        <p:strVal val="visible"/>
                                      </p:to>
                                    </p:set>
                                    <p:animEffect transition="in" filter="fade">
                                      <p:cBhvr>
                                        <p:cTn id="157" dur="2000"/>
                                        <p:tgtEl>
                                          <p:spTgt spid="67"/>
                                        </p:tgtEl>
                                      </p:cBhvr>
                                    </p:animEffect>
                                  </p:childTnLst>
                                </p:cTn>
                              </p:par>
                            </p:childTnLst>
                          </p:cTn>
                        </p:par>
                        <p:par>
                          <p:cTn id="158" fill="hold">
                            <p:stCondLst>
                              <p:cond delay="2000"/>
                            </p:stCondLst>
                            <p:childTnLst>
                              <p:par>
                                <p:cTn id="159" presetID="10" presetClass="entr" presetSubtype="0" fill="hold" grpId="0" nodeType="afterEffect">
                                  <p:stCondLst>
                                    <p:cond delay="0"/>
                                  </p:stCondLst>
                                  <p:childTnLst>
                                    <p:set>
                                      <p:cBhvr>
                                        <p:cTn id="160" dur="1" fill="hold">
                                          <p:stCondLst>
                                            <p:cond delay="0"/>
                                          </p:stCondLst>
                                        </p:cTn>
                                        <p:tgtEl>
                                          <p:spTgt spid="74"/>
                                        </p:tgtEl>
                                        <p:attrNameLst>
                                          <p:attrName>style.visibility</p:attrName>
                                        </p:attrNameLst>
                                      </p:cBhvr>
                                      <p:to>
                                        <p:strVal val="visible"/>
                                      </p:to>
                                    </p:set>
                                    <p:animEffect transition="in" filter="fade">
                                      <p:cBhvr>
                                        <p:cTn id="161" dur="2000"/>
                                        <p:tgtEl>
                                          <p:spTgt spid="74"/>
                                        </p:tgtEl>
                                      </p:cBhvr>
                                    </p:animEffect>
                                  </p:childTnLst>
                                </p:cTn>
                              </p:par>
                            </p:childTnLst>
                          </p:cTn>
                        </p:par>
                      </p:childTnLst>
                    </p:cTn>
                  </p:par>
                  <p:par>
                    <p:cTn id="162" fill="hold">
                      <p:stCondLst>
                        <p:cond delay="indefinite"/>
                      </p:stCondLst>
                      <p:childTnLst>
                        <p:par>
                          <p:cTn id="163" fill="hold">
                            <p:stCondLst>
                              <p:cond delay="0"/>
                            </p:stCondLst>
                            <p:childTnLst>
                              <p:par>
                                <p:cTn id="164" presetID="0" presetClass="path" presetSubtype="0" repeatCount="indefinite" fill="hold" grpId="1" nodeType="clickEffect">
                                  <p:stCondLst>
                                    <p:cond delay="0"/>
                                  </p:stCondLst>
                                  <p:endCondLst>
                                    <p:cond evt="onNext" delay="0">
                                      <p:tgtEl>
                                        <p:sldTgt/>
                                      </p:tgtEl>
                                    </p:cond>
                                  </p:endCondLst>
                                  <p:childTnLst>
                                    <p:animMotion origin="layout" path="M -0.00034 0.00231 C 0.0099 0.00925 0.01511 0.01249 0.02049 0.01828 C 0.02587 0.02407 0.02987 0.02985 0.03247 0.03749 C 0.03507 0.04513 0.03646 0.05438 0.03594 0.06364 C 0.03542 0.0729 0.03455 0.08285 0.02987 0.09257 C 0.02518 0.10229 0.0165 0.11432 0.00782 0.12173 C -0.00086 0.12913 -0.01076 0.13492 -0.02187 0.13677 C -0.03298 0.13862 -0.05 0.13631 -0.05937 0.13261 C -0.06875 0.1289 -0.07448 0.12312 -0.0776 0.11502 C -0.08073 0.10692 -0.08038 0.09326 -0.07864 0.08331 C -0.07691 0.07336 -0.07708 0.07012 -0.06718 0.05485 C -0.05729 0.03957 -0.03333 0.00787 -0.01961 -0.00903 C -0.0059 -0.02592 0.00886 -0.03564 0.01476 -0.04652 C 0.02066 -0.0574 0.01875 -0.06804 0.01632 -0.07475 C 0.01389 -0.08146 0.00573 -0.0847 -3.88889E-6 -0.08725 C -0.00573 -0.0898 -0.0125 -0.09003 -0.0184 -0.0898 C -0.0243 -0.08956 -0.0302 -0.08818 -0.03541 -0.08517 C -0.04062 -0.08216 -0.04618 -0.07753 -0.04982 -0.07221 C -0.05347 -0.06689 -0.05659 -0.05925 -0.05746 -0.05369 C -0.05833 -0.04814 -0.05625 -0.04351 -0.05468 -0.03935 C -0.05312 -0.03518 -0.05 -0.03125 -0.04774 -0.02847 C -0.04548 -0.02569 -0.04861 -0.02824 -0.04079 -0.02291 C -0.03298 -0.01759 -0.01059 -0.00463 -0.00034 0.00231 Z " pathEditMode="relative" rAng="0" ptsTypes="aaaaaaaaaaaaaaaaaaaaaaa">
                                      <p:cBhvr>
                                        <p:cTn id="165" dur="5000" fill="hold"/>
                                        <p:tgtEl>
                                          <p:spTgt spid="74"/>
                                        </p:tgtEl>
                                        <p:attrNameLst>
                                          <p:attrName>ppt_x</p:attrName>
                                          <p:attrName>ppt_y</p:attrName>
                                        </p:attrNameLst>
                                      </p:cBhvr>
                                      <p:rCtr x="-2200" y="22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P spid="9" grpId="0"/>
      <p:bldP spid="10" grpId="0"/>
      <p:bldP spid="11" grpId="0"/>
      <p:bldP spid="52" grpId="0"/>
      <p:bldP spid="53" grpId="0"/>
      <p:bldP spid="54" grpId="0"/>
      <p:bldP spid="55" grpId="0" animBg="1"/>
      <p:bldP spid="55" grpId="1" animBg="1"/>
      <p:bldP spid="56" grpId="0" animBg="1"/>
      <p:bldP spid="56" grpId="1" animBg="1"/>
      <p:bldP spid="60" grpId="0"/>
      <p:bldP spid="61" grpId="0"/>
      <p:bldP spid="69" grpId="0"/>
      <p:bldP spid="65" grpId="0"/>
      <p:bldP spid="72" grpId="0" animBg="1"/>
      <p:bldP spid="76" grpId="0"/>
      <p:bldP spid="82" grpId="0" animBg="1"/>
      <p:bldP spid="83" grpId="0" animBg="1"/>
      <p:bldP spid="74" grpId="0" animBg="1"/>
      <p:bldP spid="74" grpId="1" animBg="1"/>
      <p:bldP spid="57" grpId="0" animBg="1"/>
      <p:bldP spid="103" grpId="0" animBg="1"/>
      <p:bldP spid="111" grpId="0" animBg="1"/>
      <p:bldP spid="112" grpId="0" animBg="1"/>
      <p:bldP spid="11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Freeform 2"/>
          <p:cNvSpPr>
            <a:spLocks/>
          </p:cNvSpPr>
          <p:nvPr/>
        </p:nvSpPr>
        <p:spPr bwMode="auto">
          <a:xfrm>
            <a:off x="838200" y="784430"/>
            <a:ext cx="7680438" cy="5921170"/>
          </a:xfrm>
          <a:custGeom>
            <a:avLst/>
            <a:gdLst>
              <a:gd name="T0" fmla="*/ 0 w 3120"/>
              <a:gd name="T1" fmla="*/ 2147483647 h 2640"/>
              <a:gd name="T2" fmla="*/ 2147483647 w 3120"/>
              <a:gd name="T3" fmla="*/ 2147483647 h 2640"/>
              <a:gd name="T4" fmla="*/ 2147483647 w 3120"/>
              <a:gd name="T5" fmla="*/ 2147483647 h 2640"/>
              <a:gd name="T6" fmla="*/ 2147483647 w 3120"/>
              <a:gd name="T7" fmla="*/ 0 h 2640"/>
              <a:gd name="T8" fmla="*/ 0 60000 65536"/>
              <a:gd name="T9" fmla="*/ 0 60000 65536"/>
              <a:gd name="T10" fmla="*/ 0 60000 65536"/>
              <a:gd name="T11" fmla="*/ 0 60000 65536"/>
              <a:gd name="T12" fmla="*/ 0 w 3120"/>
              <a:gd name="T13" fmla="*/ 0 h 2640"/>
              <a:gd name="T14" fmla="*/ 3120 w 3120"/>
              <a:gd name="T15" fmla="*/ 2640 h 2640"/>
            </a:gdLst>
            <a:ahLst/>
            <a:cxnLst>
              <a:cxn ang="T8">
                <a:pos x="T0" y="T1"/>
              </a:cxn>
              <a:cxn ang="T9">
                <a:pos x="T2" y="T3"/>
              </a:cxn>
              <a:cxn ang="T10">
                <a:pos x="T4" y="T5"/>
              </a:cxn>
              <a:cxn ang="T11">
                <a:pos x="T6" y="T7"/>
              </a:cxn>
            </a:cxnLst>
            <a:rect l="T12" t="T13" r="T14" b="T15"/>
            <a:pathLst>
              <a:path w="3120" h="2640">
                <a:moveTo>
                  <a:pt x="0" y="2640"/>
                </a:moveTo>
                <a:cubicBezTo>
                  <a:pt x="468" y="2552"/>
                  <a:pt x="936" y="2464"/>
                  <a:pt x="1248" y="2112"/>
                </a:cubicBezTo>
                <a:cubicBezTo>
                  <a:pt x="1560" y="1760"/>
                  <a:pt x="1560" y="880"/>
                  <a:pt x="1872" y="528"/>
                </a:cubicBezTo>
                <a:cubicBezTo>
                  <a:pt x="2184" y="176"/>
                  <a:pt x="2912" y="88"/>
                  <a:pt x="3120" y="0"/>
                </a:cubicBezTo>
              </a:path>
            </a:pathLst>
          </a:custGeom>
          <a:noFill/>
          <a:ln w="76200" cap="rnd">
            <a:solidFill>
              <a:schemeClr val="accent4"/>
            </a:solidFill>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h-TH" sz="1800" b="1" i="0" u="none" strike="noStrike" kern="1200" cap="none" spc="0" normalizeH="0" baseline="0" noProof="0" dirty="0">
              <a:ln>
                <a:noFill/>
              </a:ln>
              <a:solidFill>
                <a:prstClr val="white"/>
              </a:solidFill>
              <a:effectLst/>
              <a:uLnTx/>
              <a:uFillTx/>
              <a:latin typeface="AngsanaUPC" panose="02020603050405020304" pitchFamily="18" charset="-34"/>
              <a:ea typeface="+mn-ea"/>
              <a:cs typeface="TH Sarabun New"/>
            </a:endParaRPr>
          </a:p>
        </p:txBody>
      </p:sp>
      <p:sp>
        <p:nvSpPr>
          <p:cNvPr id="18435" name="Line 3"/>
          <p:cNvSpPr>
            <a:spLocks noChangeShapeType="1"/>
          </p:cNvSpPr>
          <p:nvPr/>
        </p:nvSpPr>
        <p:spPr bwMode="auto">
          <a:xfrm flipV="1">
            <a:off x="914400" y="2648467"/>
            <a:ext cx="0" cy="1828800"/>
          </a:xfrm>
          <a:prstGeom prst="line">
            <a:avLst/>
          </a:prstGeom>
          <a:ln w="25400">
            <a:solidFill>
              <a:schemeClr val="tx1"/>
            </a:solidFill>
            <a:tailEnd type="triangle"/>
          </a:ln>
          <a:extLst/>
        </p:spPr>
        <p:style>
          <a:lnRef idx="1">
            <a:schemeClr val="accent1"/>
          </a:lnRef>
          <a:fillRef idx="0">
            <a:schemeClr val="accent1"/>
          </a:fillRef>
          <a:effectRef idx="0">
            <a:schemeClr val="accent1"/>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1800" b="1" i="0" u="none" strike="noStrike" kern="1200" cap="none" spc="0" normalizeH="0" baseline="0" noProof="0" dirty="0">
              <a:ln>
                <a:noFill/>
              </a:ln>
              <a:solidFill>
                <a:prstClr val="black"/>
              </a:solidFill>
              <a:effectLst/>
              <a:uLnTx/>
              <a:uFillTx/>
              <a:latin typeface="AngsanaUPC" panose="02020603050405020304" pitchFamily="18" charset="-34"/>
              <a:ea typeface="+mn-ea"/>
              <a:cs typeface="TH Sarabun New"/>
            </a:endParaRPr>
          </a:p>
        </p:txBody>
      </p:sp>
      <p:sp>
        <p:nvSpPr>
          <p:cNvPr id="18436" name="Line 4"/>
          <p:cNvSpPr>
            <a:spLocks noChangeShapeType="1"/>
          </p:cNvSpPr>
          <p:nvPr/>
        </p:nvSpPr>
        <p:spPr bwMode="auto">
          <a:xfrm>
            <a:off x="6255741" y="5700253"/>
            <a:ext cx="2362200" cy="0"/>
          </a:xfrm>
          <a:prstGeom prst="line">
            <a:avLst/>
          </a:prstGeom>
          <a:ln w="25400">
            <a:solidFill>
              <a:srgbClr val="FF0000"/>
            </a:solidFill>
            <a:tailEnd type="triangle"/>
          </a:ln>
          <a:extLst/>
        </p:spPr>
        <p:style>
          <a:lnRef idx="1">
            <a:schemeClr val="accent1"/>
          </a:lnRef>
          <a:fillRef idx="0">
            <a:schemeClr val="accent1"/>
          </a:fillRef>
          <a:effectRef idx="0">
            <a:schemeClr val="accent1"/>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1800" b="1" i="0" u="none" strike="noStrike" kern="1200" cap="none" spc="0" normalizeH="0" baseline="0" noProof="0" dirty="0">
              <a:ln>
                <a:noFill/>
              </a:ln>
              <a:solidFill>
                <a:prstClr val="black"/>
              </a:solidFill>
              <a:effectLst/>
              <a:uLnTx/>
              <a:uFillTx/>
              <a:latin typeface="AngsanaUPC" panose="02020603050405020304" pitchFamily="18" charset="-34"/>
              <a:ea typeface="+mn-ea"/>
              <a:cs typeface="TH Sarabun New"/>
            </a:endParaRPr>
          </a:p>
        </p:txBody>
      </p:sp>
      <p:sp>
        <p:nvSpPr>
          <p:cNvPr id="18437" name="Text Box 5"/>
          <p:cNvSpPr txBox="1">
            <a:spLocks noChangeArrowheads="1"/>
          </p:cNvSpPr>
          <p:nvPr/>
        </p:nvSpPr>
        <p:spPr bwMode="auto">
          <a:xfrm>
            <a:off x="37487" y="2082246"/>
            <a:ext cx="19736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a:solidFill>
                  <a:schemeClr val="tx1"/>
                </a:solidFill>
                <a:latin typeface="Arial" pitchFamily="34" charset="0"/>
                <a:cs typeface="Angsana New" pitchFamily="18" charset="-34"/>
              </a:defRPr>
            </a:lvl1pPr>
            <a:lvl2pPr marL="742950" indent="-285750" eaLnBrk="0" hangingPunct="0">
              <a:defRPr sz="2800">
                <a:solidFill>
                  <a:schemeClr val="tx1"/>
                </a:solidFill>
                <a:latin typeface="Arial" pitchFamily="34" charset="0"/>
                <a:cs typeface="Angsana New" pitchFamily="18" charset="-34"/>
              </a:defRPr>
            </a:lvl2pPr>
            <a:lvl3pPr marL="1143000" indent="-228600" eaLnBrk="0" hangingPunct="0">
              <a:defRPr sz="2800">
                <a:solidFill>
                  <a:schemeClr val="tx1"/>
                </a:solidFill>
                <a:latin typeface="Arial" pitchFamily="34" charset="0"/>
                <a:cs typeface="Angsana New" pitchFamily="18" charset="-34"/>
              </a:defRPr>
            </a:lvl3pPr>
            <a:lvl4pPr marL="1600200" indent="-228600" eaLnBrk="0" hangingPunct="0">
              <a:defRPr sz="2800">
                <a:solidFill>
                  <a:schemeClr val="tx1"/>
                </a:solidFill>
                <a:latin typeface="Arial" pitchFamily="34" charset="0"/>
                <a:cs typeface="Angsana New" pitchFamily="18" charset="-34"/>
              </a:defRPr>
            </a:lvl4pPr>
            <a:lvl5pPr marL="2057400" indent="-228600" eaLnBrk="0" hangingPunct="0">
              <a:defRPr sz="2800">
                <a:solidFill>
                  <a:schemeClr val="tx1"/>
                </a:solidFill>
                <a:latin typeface="Arial" pitchFamily="34" charset="0"/>
                <a:cs typeface="Angsana New" pitchFamily="18" charset="-34"/>
              </a:defRPr>
            </a:lvl5pPr>
            <a:lvl6pPr marL="2514600" indent="-228600" eaLnBrk="0" fontAlgn="base" hangingPunct="0">
              <a:spcBef>
                <a:spcPct val="0"/>
              </a:spcBef>
              <a:spcAft>
                <a:spcPct val="0"/>
              </a:spcAft>
              <a:defRPr sz="2800">
                <a:solidFill>
                  <a:schemeClr val="tx1"/>
                </a:solidFill>
                <a:latin typeface="Arial" pitchFamily="34" charset="0"/>
                <a:cs typeface="Angsana New" pitchFamily="18" charset="-34"/>
              </a:defRPr>
            </a:lvl6pPr>
            <a:lvl7pPr marL="2971800" indent="-228600" eaLnBrk="0" fontAlgn="base" hangingPunct="0">
              <a:spcBef>
                <a:spcPct val="0"/>
              </a:spcBef>
              <a:spcAft>
                <a:spcPct val="0"/>
              </a:spcAft>
              <a:defRPr sz="2800">
                <a:solidFill>
                  <a:schemeClr val="tx1"/>
                </a:solidFill>
                <a:latin typeface="Arial" pitchFamily="34" charset="0"/>
                <a:cs typeface="Angsana New" pitchFamily="18" charset="-34"/>
              </a:defRPr>
            </a:lvl7pPr>
            <a:lvl8pPr marL="3429000" indent="-228600" eaLnBrk="0" fontAlgn="base" hangingPunct="0">
              <a:spcBef>
                <a:spcPct val="0"/>
              </a:spcBef>
              <a:spcAft>
                <a:spcPct val="0"/>
              </a:spcAft>
              <a:defRPr sz="2800">
                <a:solidFill>
                  <a:schemeClr val="tx1"/>
                </a:solidFill>
                <a:latin typeface="Arial" pitchFamily="34" charset="0"/>
                <a:cs typeface="Angsana New" pitchFamily="18" charset="-34"/>
              </a:defRPr>
            </a:lvl8pPr>
            <a:lvl9pPr marL="3886200" indent="-228600" eaLnBrk="0" fontAlgn="base" hangingPunct="0">
              <a:spcBef>
                <a:spcPct val="0"/>
              </a:spcBef>
              <a:spcAft>
                <a:spcPct val="0"/>
              </a:spcAft>
              <a:defRPr sz="2800">
                <a:solidFill>
                  <a:schemeClr val="tx1"/>
                </a:solidFill>
                <a:latin typeface="Arial" pitchFamily="34" charset="0"/>
                <a:cs typeface="Angsana New" pitchFamily="18" charset="-3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3200" b="1" i="0" u="none" strike="noStrike" kern="1200" cap="none" spc="0" normalizeH="0" baseline="0" noProof="0" dirty="0">
                <a:ln>
                  <a:noFill/>
                </a:ln>
                <a:solidFill>
                  <a:prstClr val="black"/>
                </a:solidFill>
                <a:effectLst/>
                <a:uLnTx/>
                <a:uFillTx/>
                <a:latin typeface="AngsanaUPC" panose="02020603050405020304" pitchFamily="18" charset="-34"/>
                <a:ea typeface="+mn-ea"/>
                <a:cs typeface="AngsanaUPC" panose="02020603050405020304" pitchFamily="18" charset="-34"/>
              </a:rPr>
              <a:t>การเปลี่ยนแปลง</a:t>
            </a:r>
          </a:p>
        </p:txBody>
      </p:sp>
      <p:sp>
        <p:nvSpPr>
          <p:cNvPr id="18438" name="Text Box 6"/>
          <p:cNvSpPr txBox="1">
            <a:spLocks noChangeArrowheads="1"/>
          </p:cNvSpPr>
          <p:nvPr/>
        </p:nvSpPr>
        <p:spPr bwMode="auto">
          <a:xfrm>
            <a:off x="7186387" y="5141811"/>
            <a:ext cx="678391"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a:solidFill>
                  <a:schemeClr val="tx1"/>
                </a:solidFill>
                <a:latin typeface="Arial" pitchFamily="34" charset="0"/>
                <a:cs typeface="Angsana New" pitchFamily="18" charset="-34"/>
              </a:defRPr>
            </a:lvl1pPr>
            <a:lvl2pPr marL="742950" indent="-285750" eaLnBrk="0" hangingPunct="0">
              <a:defRPr sz="2800">
                <a:solidFill>
                  <a:schemeClr val="tx1"/>
                </a:solidFill>
                <a:latin typeface="Arial" pitchFamily="34" charset="0"/>
                <a:cs typeface="Angsana New" pitchFamily="18" charset="-34"/>
              </a:defRPr>
            </a:lvl2pPr>
            <a:lvl3pPr marL="1143000" indent="-228600" eaLnBrk="0" hangingPunct="0">
              <a:defRPr sz="2800">
                <a:solidFill>
                  <a:schemeClr val="tx1"/>
                </a:solidFill>
                <a:latin typeface="Arial" pitchFamily="34" charset="0"/>
                <a:cs typeface="Angsana New" pitchFamily="18" charset="-34"/>
              </a:defRPr>
            </a:lvl3pPr>
            <a:lvl4pPr marL="1600200" indent="-228600" eaLnBrk="0" hangingPunct="0">
              <a:defRPr sz="2800">
                <a:solidFill>
                  <a:schemeClr val="tx1"/>
                </a:solidFill>
                <a:latin typeface="Arial" pitchFamily="34" charset="0"/>
                <a:cs typeface="Angsana New" pitchFamily="18" charset="-34"/>
              </a:defRPr>
            </a:lvl4pPr>
            <a:lvl5pPr marL="2057400" indent="-228600" eaLnBrk="0" hangingPunct="0">
              <a:defRPr sz="2800">
                <a:solidFill>
                  <a:schemeClr val="tx1"/>
                </a:solidFill>
                <a:latin typeface="Arial" pitchFamily="34" charset="0"/>
                <a:cs typeface="Angsana New" pitchFamily="18" charset="-34"/>
              </a:defRPr>
            </a:lvl5pPr>
            <a:lvl6pPr marL="2514600" indent="-228600" eaLnBrk="0" fontAlgn="base" hangingPunct="0">
              <a:spcBef>
                <a:spcPct val="0"/>
              </a:spcBef>
              <a:spcAft>
                <a:spcPct val="0"/>
              </a:spcAft>
              <a:defRPr sz="2800">
                <a:solidFill>
                  <a:schemeClr val="tx1"/>
                </a:solidFill>
                <a:latin typeface="Arial" pitchFamily="34" charset="0"/>
                <a:cs typeface="Angsana New" pitchFamily="18" charset="-34"/>
              </a:defRPr>
            </a:lvl6pPr>
            <a:lvl7pPr marL="2971800" indent="-228600" eaLnBrk="0" fontAlgn="base" hangingPunct="0">
              <a:spcBef>
                <a:spcPct val="0"/>
              </a:spcBef>
              <a:spcAft>
                <a:spcPct val="0"/>
              </a:spcAft>
              <a:defRPr sz="2800">
                <a:solidFill>
                  <a:schemeClr val="tx1"/>
                </a:solidFill>
                <a:latin typeface="Arial" pitchFamily="34" charset="0"/>
                <a:cs typeface="Angsana New" pitchFamily="18" charset="-34"/>
              </a:defRPr>
            </a:lvl7pPr>
            <a:lvl8pPr marL="3429000" indent="-228600" eaLnBrk="0" fontAlgn="base" hangingPunct="0">
              <a:spcBef>
                <a:spcPct val="0"/>
              </a:spcBef>
              <a:spcAft>
                <a:spcPct val="0"/>
              </a:spcAft>
              <a:defRPr sz="2800">
                <a:solidFill>
                  <a:schemeClr val="tx1"/>
                </a:solidFill>
                <a:latin typeface="Arial" pitchFamily="34" charset="0"/>
                <a:cs typeface="Angsana New" pitchFamily="18" charset="-34"/>
              </a:defRPr>
            </a:lvl8pPr>
            <a:lvl9pPr marL="3886200" indent="-228600" eaLnBrk="0" fontAlgn="base" hangingPunct="0">
              <a:spcBef>
                <a:spcPct val="0"/>
              </a:spcBef>
              <a:spcAft>
                <a:spcPct val="0"/>
              </a:spcAft>
              <a:defRPr sz="2800">
                <a:solidFill>
                  <a:schemeClr val="tx1"/>
                </a:solidFill>
                <a:latin typeface="Arial" pitchFamily="34" charset="0"/>
                <a:cs typeface="Angsana New" pitchFamily="18" charset="-3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3200" b="1" i="0" u="none" strike="noStrike" kern="1200" cap="none" spc="0" normalizeH="0" baseline="0" noProof="0" dirty="0">
                <a:ln>
                  <a:noFill/>
                </a:ln>
                <a:solidFill>
                  <a:srgbClr val="FF0000"/>
                </a:solidFill>
                <a:effectLst/>
                <a:uLnTx/>
                <a:uFillTx/>
                <a:latin typeface="AngsanaUPC" panose="02020603050405020304" pitchFamily="18" charset="-34"/>
                <a:ea typeface="+mn-ea"/>
                <a:cs typeface="AngsanaUPC" panose="02020603050405020304" pitchFamily="18" charset="-34"/>
              </a:rPr>
              <a:t>เวลา</a:t>
            </a:r>
          </a:p>
        </p:txBody>
      </p:sp>
      <p:sp>
        <p:nvSpPr>
          <p:cNvPr id="12" name="TextBox 11"/>
          <p:cNvSpPr txBox="1"/>
          <p:nvPr/>
        </p:nvSpPr>
        <p:spPr>
          <a:xfrm>
            <a:off x="5899036" y="6555103"/>
            <a:ext cx="3273652" cy="4001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th-TH" sz="2000" b="1" i="0" u="none" strike="noStrike" kern="1200" cap="none" spc="0" normalizeH="0" baseline="0" noProof="0" dirty="0" smtClean="0">
                <a:ln>
                  <a:noFill/>
                </a:ln>
                <a:solidFill>
                  <a:prstClr val="black"/>
                </a:solidFill>
                <a:effectLst/>
                <a:uLnTx/>
                <a:uFillTx/>
                <a:latin typeface="Calibri"/>
                <a:ea typeface="+mn-ea"/>
                <a:cs typeface="Cordia New" panose="020B0304020202020204" pitchFamily="34" charset="-34"/>
              </a:rPr>
              <a:t>เพิ่มเติมจากแนวคิดอาจารย์กฤษณพงศ์ กีรติกร</a:t>
            </a:r>
            <a:endParaRPr kumimoji="0" lang="th-TH" sz="2000" b="1" i="0" u="none" strike="noStrike" kern="1200" cap="none" spc="0" normalizeH="0" baseline="0" noProof="0" dirty="0">
              <a:ln>
                <a:noFill/>
              </a:ln>
              <a:solidFill>
                <a:prstClr val="black"/>
              </a:solidFill>
              <a:effectLst/>
              <a:uLnTx/>
              <a:uFillTx/>
              <a:latin typeface="Calibri"/>
              <a:ea typeface="+mn-ea"/>
              <a:cs typeface="Cordia New" panose="020B0304020202020204" pitchFamily="34" charset="-34"/>
            </a:endParaRPr>
          </a:p>
        </p:txBody>
      </p:sp>
      <p:sp>
        <p:nvSpPr>
          <p:cNvPr id="2" name="Rectangle 1"/>
          <p:cNvSpPr/>
          <p:nvPr/>
        </p:nvSpPr>
        <p:spPr>
          <a:xfrm>
            <a:off x="815903" y="5700252"/>
            <a:ext cx="2896674" cy="1032387"/>
          </a:xfrm>
          <a:prstGeom prst="rect">
            <a:avLst/>
          </a:prstGeom>
          <a:solidFill>
            <a:srgbClr val="FF0000">
              <a:alpha val="12000"/>
            </a:srgbClr>
          </a:solidFill>
          <a:ln>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h-TH" sz="1800" b="1" i="0" u="none" strike="noStrike" kern="1200" cap="none" spc="0" normalizeH="0" baseline="0" noProof="0" dirty="0">
              <a:ln>
                <a:noFill/>
              </a:ln>
              <a:solidFill>
                <a:prstClr val="black"/>
              </a:solidFill>
              <a:effectLst/>
              <a:uLnTx/>
              <a:uFillTx/>
              <a:latin typeface="AngsanaUPC" panose="02020603050405020304" pitchFamily="18" charset="-34"/>
              <a:ea typeface="+mn-ea"/>
              <a:cs typeface="TH Sarabun New"/>
            </a:endParaRPr>
          </a:p>
        </p:txBody>
      </p:sp>
      <p:sp>
        <p:nvSpPr>
          <p:cNvPr id="18439" name="Text Box 7"/>
          <p:cNvSpPr txBox="1">
            <a:spLocks noChangeArrowheads="1"/>
          </p:cNvSpPr>
          <p:nvPr/>
        </p:nvSpPr>
        <p:spPr bwMode="auto">
          <a:xfrm>
            <a:off x="624654" y="4508511"/>
            <a:ext cx="3136004"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a:solidFill>
                  <a:schemeClr val="tx1"/>
                </a:solidFill>
                <a:latin typeface="Arial" pitchFamily="34" charset="0"/>
                <a:cs typeface="Angsana New" pitchFamily="18" charset="-34"/>
              </a:defRPr>
            </a:lvl1pPr>
            <a:lvl2pPr marL="742950" indent="-285750" eaLnBrk="0" hangingPunct="0">
              <a:defRPr sz="2800">
                <a:solidFill>
                  <a:schemeClr val="tx1"/>
                </a:solidFill>
                <a:latin typeface="Arial" pitchFamily="34" charset="0"/>
                <a:cs typeface="Angsana New" pitchFamily="18" charset="-34"/>
              </a:defRPr>
            </a:lvl2pPr>
            <a:lvl3pPr marL="1143000" indent="-228600" eaLnBrk="0" hangingPunct="0">
              <a:defRPr sz="2800">
                <a:solidFill>
                  <a:schemeClr val="tx1"/>
                </a:solidFill>
                <a:latin typeface="Arial" pitchFamily="34" charset="0"/>
                <a:cs typeface="Angsana New" pitchFamily="18" charset="-34"/>
              </a:defRPr>
            </a:lvl3pPr>
            <a:lvl4pPr marL="1600200" indent="-228600" eaLnBrk="0" hangingPunct="0">
              <a:defRPr sz="2800">
                <a:solidFill>
                  <a:schemeClr val="tx1"/>
                </a:solidFill>
                <a:latin typeface="Arial" pitchFamily="34" charset="0"/>
                <a:cs typeface="Angsana New" pitchFamily="18" charset="-34"/>
              </a:defRPr>
            </a:lvl4pPr>
            <a:lvl5pPr marL="2057400" indent="-228600" eaLnBrk="0" hangingPunct="0">
              <a:defRPr sz="2800">
                <a:solidFill>
                  <a:schemeClr val="tx1"/>
                </a:solidFill>
                <a:latin typeface="Arial" pitchFamily="34" charset="0"/>
                <a:cs typeface="Angsana New" pitchFamily="18" charset="-34"/>
              </a:defRPr>
            </a:lvl5pPr>
            <a:lvl6pPr marL="2514600" indent="-228600" eaLnBrk="0" fontAlgn="base" hangingPunct="0">
              <a:spcBef>
                <a:spcPct val="0"/>
              </a:spcBef>
              <a:spcAft>
                <a:spcPct val="0"/>
              </a:spcAft>
              <a:defRPr sz="2800">
                <a:solidFill>
                  <a:schemeClr val="tx1"/>
                </a:solidFill>
                <a:latin typeface="Arial" pitchFamily="34" charset="0"/>
                <a:cs typeface="Angsana New" pitchFamily="18" charset="-34"/>
              </a:defRPr>
            </a:lvl6pPr>
            <a:lvl7pPr marL="2971800" indent="-228600" eaLnBrk="0" fontAlgn="base" hangingPunct="0">
              <a:spcBef>
                <a:spcPct val="0"/>
              </a:spcBef>
              <a:spcAft>
                <a:spcPct val="0"/>
              </a:spcAft>
              <a:defRPr sz="2800">
                <a:solidFill>
                  <a:schemeClr val="tx1"/>
                </a:solidFill>
                <a:latin typeface="Arial" pitchFamily="34" charset="0"/>
                <a:cs typeface="Angsana New" pitchFamily="18" charset="-34"/>
              </a:defRPr>
            </a:lvl7pPr>
            <a:lvl8pPr marL="3429000" indent="-228600" eaLnBrk="0" fontAlgn="base" hangingPunct="0">
              <a:spcBef>
                <a:spcPct val="0"/>
              </a:spcBef>
              <a:spcAft>
                <a:spcPct val="0"/>
              </a:spcAft>
              <a:defRPr sz="2800">
                <a:solidFill>
                  <a:schemeClr val="tx1"/>
                </a:solidFill>
                <a:latin typeface="Arial" pitchFamily="34" charset="0"/>
                <a:cs typeface="Angsana New" pitchFamily="18" charset="-34"/>
              </a:defRPr>
            </a:lvl8pPr>
            <a:lvl9pPr marL="3886200" indent="-228600" eaLnBrk="0" fontAlgn="base" hangingPunct="0">
              <a:spcBef>
                <a:spcPct val="0"/>
              </a:spcBef>
              <a:spcAft>
                <a:spcPct val="0"/>
              </a:spcAft>
              <a:defRPr sz="2800">
                <a:solidFill>
                  <a:schemeClr val="tx1"/>
                </a:solidFill>
                <a:latin typeface="Arial" pitchFamily="34" charset="0"/>
                <a:cs typeface="Angsana New" pitchFamily="18" charset="-3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2000" b="1" i="0" u="none" strike="noStrike" kern="1200" cap="none" spc="0" normalizeH="0" baseline="0" noProof="0" dirty="0">
                <a:ln>
                  <a:noFill/>
                </a:ln>
                <a:solidFill>
                  <a:prstClr val="black"/>
                </a:solidFill>
                <a:effectLst/>
                <a:uLnTx/>
                <a:uFillTx/>
                <a:latin typeface="AngsanaUPC" panose="02020603050405020304" pitchFamily="18" charset="-34"/>
                <a:ea typeface="+mn-ea"/>
                <a:cs typeface="AngsanaUPC" panose="02020603050405020304" pitchFamily="18" charset="-34"/>
              </a:rPr>
              <a:t>ช่วงเริ่มต้นการเปลี่ยนแปลงช้า  </a:t>
            </a:r>
            <a:endParaRPr kumimoji="0" lang="th-TH" sz="2000" b="1" i="0" u="none" strike="noStrike" kern="1200" cap="none" spc="0" normalizeH="0" baseline="0" noProof="0" dirty="0" smtClean="0">
              <a:ln>
                <a:noFill/>
              </a:ln>
              <a:solidFill>
                <a:prstClr val="black"/>
              </a:solidFill>
              <a:effectLst/>
              <a:uLnTx/>
              <a:uFillTx/>
              <a:latin typeface="AngsanaUPC" panose="02020603050405020304" pitchFamily="18" charset="-34"/>
              <a:ea typeface="+mn-ea"/>
              <a:cs typeface="AngsanaUPC" panose="02020603050405020304" pitchFamily="18" charset="-3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2000" b="1" i="0" u="none" strike="noStrike" kern="1200" cap="none" spc="0" normalizeH="0" baseline="0" noProof="0" dirty="0" smtClean="0">
                <a:ln>
                  <a:noFill/>
                </a:ln>
                <a:solidFill>
                  <a:prstClr val="black"/>
                </a:solidFill>
                <a:effectLst/>
                <a:uLnTx/>
                <a:uFillTx/>
                <a:latin typeface="AngsanaUPC" panose="02020603050405020304" pitchFamily="18" charset="-34"/>
                <a:ea typeface="+mn-ea"/>
                <a:cs typeface="AngsanaUPC" panose="02020603050405020304" pitchFamily="18" charset="-34"/>
              </a:rPr>
              <a:t>เพราะ</a:t>
            </a:r>
            <a:r>
              <a:rPr kumimoji="0" lang="th-TH" sz="2000" b="1" i="0" u="none" strike="noStrike" kern="1200" cap="none" spc="0" normalizeH="0" baseline="0" noProof="0" dirty="0">
                <a:ln>
                  <a:noFill/>
                </a:ln>
                <a:solidFill>
                  <a:prstClr val="black"/>
                </a:solidFill>
                <a:effectLst/>
                <a:uLnTx/>
                <a:uFillTx/>
                <a:latin typeface="AngsanaUPC" panose="02020603050405020304" pitchFamily="18" charset="-34"/>
                <a:ea typeface="+mn-ea"/>
                <a:cs typeface="AngsanaUPC" panose="02020603050405020304" pitchFamily="18" charset="-34"/>
              </a:rPr>
              <a:t>แรงเสียดทาน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2000" b="1" i="0" u="none" strike="noStrike" kern="1200" cap="none" spc="0" normalizeH="0" baseline="0" noProof="0" dirty="0">
                <a:ln>
                  <a:noFill/>
                </a:ln>
                <a:solidFill>
                  <a:prstClr val="black"/>
                </a:solidFill>
                <a:effectLst/>
                <a:uLnTx/>
                <a:uFillTx/>
                <a:latin typeface="AngsanaUPC" panose="02020603050405020304" pitchFamily="18" charset="-34"/>
                <a:ea typeface="+mn-ea"/>
                <a:cs typeface="AngsanaUPC" panose="02020603050405020304" pitchFamily="18" charset="-34"/>
              </a:rPr>
              <a:t>ความกลัวการเปลี่ยนแปลง</a:t>
            </a:r>
          </a:p>
        </p:txBody>
      </p:sp>
      <p:sp>
        <p:nvSpPr>
          <p:cNvPr id="14" name="Rectangle 13"/>
          <p:cNvSpPr/>
          <p:nvPr/>
        </p:nvSpPr>
        <p:spPr>
          <a:xfrm>
            <a:off x="3723968" y="1932039"/>
            <a:ext cx="1749554" cy="3768213"/>
          </a:xfrm>
          <a:prstGeom prst="rect">
            <a:avLst/>
          </a:prstGeom>
          <a:solidFill>
            <a:srgbClr val="559500">
              <a:alpha val="20000"/>
            </a:srgbClr>
          </a:solidFill>
          <a:ln>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h-TH" sz="1800" b="1" i="0" u="none" strike="noStrike" kern="1200" cap="none" spc="0" normalizeH="0" baseline="0" noProof="0" dirty="0">
              <a:ln>
                <a:noFill/>
              </a:ln>
              <a:solidFill>
                <a:prstClr val="black"/>
              </a:solidFill>
              <a:effectLst/>
              <a:uLnTx/>
              <a:uFillTx/>
              <a:latin typeface="AngsanaUPC" panose="02020603050405020304" pitchFamily="18" charset="-34"/>
              <a:ea typeface="+mn-ea"/>
              <a:cs typeface="TH Sarabun New"/>
            </a:endParaRPr>
          </a:p>
        </p:txBody>
      </p:sp>
      <p:sp>
        <p:nvSpPr>
          <p:cNvPr id="18440" name="Text Box 8"/>
          <p:cNvSpPr txBox="1">
            <a:spLocks noChangeArrowheads="1"/>
          </p:cNvSpPr>
          <p:nvPr/>
        </p:nvSpPr>
        <p:spPr bwMode="auto">
          <a:xfrm>
            <a:off x="4184473" y="4653257"/>
            <a:ext cx="1322798"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a:solidFill>
                  <a:schemeClr val="tx1"/>
                </a:solidFill>
                <a:latin typeface="Arial" pitchFamily="34" charset="0"/>
                <a:cs typeface="Angsana New" pitchFamily="18" charset="-34"/>
              </a:defRPr>
            </a:lvl1pPr>
            <a:lvl2pPr marL="742950" indent="-285750" eaLnBrk="0" hangingPunct="0">
              <a:defRPr sz="2800">
                <a:solidFill>
                  <a:schemeClr val="tx1"/>
                </a:solidFill>
                <a:latin typeface="Arial" pitchFamily="34" charset="0"/>
                <a:cs typeface="Angsana New" pitchFamily="18" charset="-34"/>
              </a:defRPr>
            </a:lvl2pPr>
            <a:lvl3pPr marL="1143000" indent="-228600" eaLnBrk="0" hangingPunct="0">
              <a:defRPr sz="2800">
                <a:solidFill>
                  <a:schemeClr val="tx1"/>
                </a:solidFill>
                <a:latin typeface="Arial" pitchFamily="34" charset="0"/>
                <a:cs typeface="Angsana New" pitchFamily="18" charset="-34"/>
              </a:defRPr>
            </a:lvl3pPr>
            <a:lvl4pPr marL="1600200" indent="-228600" eaLnBrk="0" hangingPunct="0">
              <a:defRPr sz="2800">
                <a:solidFill>
                  <a:schemeClr val="tx1"/>
                </a:solidFill>
                <a:latin typeface="Arial" pitchFamily="34" charset="0"/>
                <a:cs typeface="Angsana New" pitchFamily="18" charset="-34"/>
              </a:defRPr>
            </a:lvl4pPr>
            <a:lvl5pPr marL="2057400" indent="-228600" eaLnBrk="0" hangingPunct="0">
              <a:defRPr sz="2800">
                <a:solidFill>
                  <a:schemeClr val="tx1"/>
                </a:solidFill>
                <a:latin typeface="Arial" pitchFamily="34" charset="0"/>
                <a:cs typeface="Angsana New" pitchFamily="18" charset="-34"/>
              </a:defRPr>
            </a:lvl5pPr>
            <a:lvl6pPr marL="2514600" indent="-228600" eaLnBrk="0" fontAlgn="base" hangingPunct="0">
              <a:spcBef>
                <a:spcPct val="0"/>
              </a:spcBef>
              <a:spcAft>
                <a:spcPct val="0"/>
              </a:spcAft>
              <a:defRPr sz="2800">
                <a:solidFill>
                  <a:schemeClr val="tx1"/>
                </a:solidFill>
                <a:latin typeface="Arial" pitchFamily="34" charset="0"/>
                <a:cs typeface="Angsana New" pitchFamily="18" charset="-34"/>
              </a:defRPr>
            </a:lvl6pPr>
            <a:lvl7pPr marL="2971800" indent="-228600" eaLnBrk="0" fontAlgn="base" hangingPunct="0">
              <a:spcBef>
                <a:spcPct val="0"/>
              </a:spcBef>
              <a:spcAft>
                <a:spcPct val="0"/>
              </a:spcAft>
              <a:defRPr sz="2800">
                <a:solidFill>
                  <a:schemeClr val="tx1"/>
                </a:solidFill>
                <a:latin typeface="Arial" pitchFamily="34" charset="0"/>
                <a:cs typeface="Angsana New" pitchFamily="18" charset="-34"/>
              </a:defRPr>
            </a:lvl7pPr>
            <a:lvl8pPr marL="3429000" indent="-228600" eaLnBrk="0" fontAlgn="base" hangingPunct="0">
              <a:spcBef>
                <a:spcPct val="0"/>
              </a:spcBef>
              <a:spcAft>
                <a:spcPct val="0"/>
              </a:spcAft>
              <a:defRPr sz="2800">
                <a:solidFill>
                  <a:schemeClr val="tx1"/>
                </a:solidFill>
                <a:latin typeface="Arial" pitchFamily="34" charset="0"/>
                <a:cs typeface="Angsana New" pitchFamily="18" charset="-34"/>
              </a:defRPr>
            </a:lvl8pPr>
            <a:lvl9pPr marL="3886200" indent="-228600" eaLnBrk="0" fontAlgn="base" hangingPunct="0">
              <a:spcBef>
                <a:spcPct val="0"/>
              </a:spcBef>
              <a:spcAft>
                <a:spcPct val="0"/>
              </a:spcAft>
              <a:defRPr sz="2800">
                <a:solidFill>
                  <a:schemeClr val="tx1"/>
                </a:solidFill>
                <a:latin typeface="Arial" pitchFamily="34" charset="0"/>
                <a:cs typeface="Angsana New" pitchFamily="18" charset="-3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2000" b="1" i="0" u="none" strike="noStrike" kern="1200" cap="none" spc="0" normalizeH="0" baseline="0" noProof="0" dirty="0">
                <a:ln>
                  <a:noFill/>
                </a:ln>
                <a:solidFill>
                  <a:prstClr val="black"/>
                </a:solidFill>
                <a:effectLst/>
                <a:uLnTx/>
                <a:uFillTx/>
                <a:latin typeface="AngsanaUPC" panose="02020603050405020304" pitchFamily="18" charset="-34"/>
                <a:ea typeface="+mn-ea"/>
                <a:cs typeface="AngsanaUPC" panose="02020603050405020304" pitchFamily="18" charset="-34"/>
              </a:rPr>
              <a:t>ช่วงเก็บเกี่ยว</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2000" b="1" i="0" u="none" strike="noStrike" kern="1200" cap="none" spc="0" normalizeH="0" baseline="0" noProof="0" dirty="0">
                <a:ln>
                  <a:noFill/>
                </a:ln>
                <a:solidFill>
                  <a:prstClr val="black"/>
                </a:solidFill>
                <a:effectLst/>
                <a:uLnTx/>
                <a:uFillTx/>
                <a:latin typeface="AngsanaUPC" panose="02020603050405020304" pitchFamily="18" charset="-34"/>
                <a:ea typeface="+mn-ea"/>
                <a:cs typeface="AngsanaUPC" panose="02020603050405020304" pitchFamily="18" charset="-34"/>
              </a:rPr>
              <a:t>ได้ผลมาก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2000" b="1" i="0" u="none" strike="noStrike" kern="1200" cap="none" spc="0" normalizeH="0" baseline="0" noProof="0" dirty="0">
                <a:ln>
                  <a:noFill/>
                </a:ln>
                <a:solidFill>
                  <a:prstClr val="black"/>
                </a:solidFill>
                <a:effectLst/>
                <a:uLnTx/>
                <a:uFillTx/>
                <a:latin typeface="AngsanaUPC" panose="02020603050405020304" pitchFamily="18" charset="-34"/>
                <a:ea typeface="+mn-ea"/>
                <a:cs typeface="AngsanaUPC" panose="02020603050405020304" pitchFamily="18" charset="-34"/>
              </a:rPr>
              <a:t>เปลี่ยนแปลงมาก</a:t>
            </a:r>
          </a:p>
        </p:txBody>
      </p:sp>
      <p:sp>
        <p:nvSpPr>
          <p:cNvPr id="15" name="Rectangle 14"/>
          <p:cNvSpPr/>
          <p:nvPr/>
        </p:nvSpPr>
        <p:spPr>
          <a:xfrm>
            <a:off x="5473523" y="749300"/>
            <a:ext cx="3060878" cy="1204861"/>
          </a:xfrm>
          <a:prstGeom prst="rect">
            <a:avLst/>
          </a:prstGeom>
          <a:solidFill>
            <a:srgbClr val="FF0000">
              <a:alpha val="20000"/>
            </a:srgbClr>
          </a:solidFill>
          <a:ln>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h-TH" sz="1800" b="1" i="0" u="none" strike="noStrike" kern="1200" cap="none" spc="0" normalizeH="0" baseline="0" noProof="0" dirty="0">
              <a:ln>
                <a:noFill/>
              </a:ln>
              <a:solidFill>
                <a:prstClr val="black"/>
              </a:solidFill>
              <a:effectLst/>
              <a:uLnTx/>
              <a:uFillTx/>
              <a:latin typeface="AngsanaUPC" panose="02020603050405020304" pitchFamily="18" charset="-34"/>
              <a:ea typeface="+mn-ea"/>
              <a:cs typeface="TH Sarabun New"/>
            </a:endParaRPr>
          </a:p>
        </p:txBody>
      </p:sp>
      <p:sp>
        <p:nvSpPr>
          <p:cNvPr id="18441" name="Text Box 9"/>
          <p:cNvSpPr txBox="1">
            <a:spLocks noChangeArrowheads="1"/>
          </p:cNvSpPr>
          <p:nvPr/>
        </p:nvSpPr>
        <p:spPr bwMode="auto">
          <a:xfrm>
            <a:off x="5521973" y="1955704"/>
            <a:ext cx="3016909" cy="1631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a:solidFill>
                  <a:schemeClr val="tx1"/>
                </a:solidFill>
                <a:latin typeface="Arial" pitchFamily="34" charset="0"/>
                <a:cs typeface="Angsana New" pitchFamily="18" charset="-34"/>
              </a:defRPr>
            </a:lvl1pPr>
            <a:lvl2pPr marL="742950" indent="-285750" eaLnBrk="0" hangingPunct="0">
              <a:defRPr sz="2800">
                <a:solidFill>
                  <a:schemeClr val="tx1"/>
                </a:solidFill>
                <a:latin typeface="Arial" pitchFamily="34" charset="0"/>
                <a:cs typeface="Angsana New" pitchFamily="18" charset="-34"/>
              </a:defRPr>
            </a:lvl2pPr>
            <a:lvl3pPr marL="1143000" indent="-228600" eaLnBrk="0" hangingPunct="0">
              <a:defRPr sz="2800">
                <a:solidFill>
                  <a:schemeClr val="tx1"/>
                </a:solidFill>
                <a:latin typeface="Arial" pitchFamily="34" charset="0"/>
                <a:cs typeface="Angsana New" pitchFamily="18" charset="-34"/>
              </a:defRPr>
            </a:lvl3pPr>
            <a:lvl4pPr marL="1600200" indent="-228600" eaLnBrk="0" hangingPunct="0">
              <a:defRPr sz="2800">
                <a:solidFill>
                  <a:schemeClr val="tx1"/>
                </a:solidFill>
                <a:latin typeface="Arial" pitchFamily="34" charset="0"/>
                <a:cs typeface="Angsana New" pitchFamily="18" charset="-34"/>
              </a:defRPr>
            </a:lvl4pPr>
            <a:lvl5pPr marL="2057400" indent="-228600" eaLnBrk="0" hangingPunct="0">
              <a:defRPr sz="2800">
                <a:solidFill>
                  <a:schemeClr val="tx1"/>
                </a:solidFill>
                <a:latin typeface="Arial" pitchFamily="34" charset="0"/>
                <a:cs typeface="Angsana New" pitchFamily="18" charset="-34"/>
              </a:defRPr>
            </a:lvl5pPr>
            <a:lvl6pPr marL="2514600" indent="-228600" eaLnBrk="0" fontAlgn="base" hangingPunct="0">
              <a:spcBef>
                <a:spcPct val="0"/>
              </a:spcBef>
              <a:spcAft>
                <a:spcPct val="0"/>
              </a:spcAft>
              <a:defRPr sz="2800">
                <a:solidFill>
                  <a:schemeClr val="tx1"/>
                </a:solidFill>
                <a:latin typeface="Arial" pitchFamily="34" charset="0"/>
                <a:cs typeface="Angsana New" pitchFamily="18" charset="-34"/>
              </a:defRPr>
            </a:lvl6pPr>
            <a:lvl7pPr marL="2971800" indent="-228600" eaLnBrk="0" fontAlgn="base" hangingPunct="0">
              <a:spcBef>
                <a:spcPct val="0"/>
              </a:spcBef>
              <a:spcAft>
                <a:spcPct val="0"/>
              </a:spcAft>
              <a:defRPr sz="2800">
                <a:solidFill>
                  <a:schemeClr val="tx1"/>
                </a:solidFill>
                <a:latin typeface="Arial" pitchFamily="34" charset="0"/>
                <a:cs typeface="Angsana New" pitchFamily="18" charset="-34"/>
              </a:defRPr>
            </a:lvl7pPr>
            <a:lvl8pPr marL="3429000" indent="-228600" eaLnBrk="0" fontAlgn="base" hangingPunct="0">
              <a:spcBef>
                <a:spcPct val="0"/>
              </a:spcBef>
              <a:spcAft>
                <a:spcPct val="0"/>
              </a:spcAft>
              <a:defRPr sz="2800">
                <a:solidFill>
                  <a:schemeClr val="tx1"/>
                </a:solidFill>
                <a:latin typeface="Arial" pitchFamily="34" charset="0"/>
                <a:cs typeface="Angsana New" pitchFamily="18" charset="-34"/>
              </a:defRPr>
            </a:lvl8pPr>
            <a:lvl9pPr marL="3886200" indent="-228600" eaLnBrk="0" fontAlgn="base" hangingPunct="0">
              <a:spcBef>
                <a:spcPct val="0"/>
              </a:spcBef>
              <a:spcAft>
                <a:spcPct val="0"/>
              </a:spcAft>
              <a:defRPr sz="2800">
                <a:solidFill>
                  <a:schemeClr val="tx1"/>
                </a:solidFill>
                <a:latin typeface="Arial" pitchFamily="34" charset="0"/>
                <a:cs typeface="Angsana New" pitchFamily="18" charset="-3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2000" b="1" i="0" u="none" strike="noStrike" kern="1200" cap="none" spc="0" normalizeH="0" baseline="0" noProof="0" dirty="0">
                <a:ln>
                  <a:noFill/>
                </a:ln>
                <a:solidFill>
                  <a:prstClr val="black"/>
                </a:solidFill>
                <a:effectLst/>
                <a:uLnTx/>
                <a:uFillTx/>
                <a:latin typeface="AngsanaUPC" panose="02020603050405020304" pitchFamily="18" charset="-34"/>
                <a:ea typeface="+mn-ea"/>
                <a:cs typeface="AngsanaUPC" panose="02020603050405020304" pitchFamily="18" charset="-34"/>
              </a:rPr>
              <a:t>ช่วงปลายการเปลี่ยนแปลง</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2000" b="1" i="0" u="none" strike="noStrike" kern="1200" cap="none" spc="0" normalizeH="0" baseline="0" noProof="0" dirty="0">
                <a:ln>
                  <a:noFill/>
                </a:ln>
                <a:solidFill>
                  <a:prstClr val="black"/>
                </a:solidFill>
                <a:effectLst/>
                <a:uLnTx/>
                <a:uFillTx/>
                <a:latin typeface="AngsanaUPC" panose="02020603050405020304" pitchFamily="18" charset="-34"/>
                <a:ea typeface="+mn-ea"/>
                <a:cs typeface="AngsanaUPC" panose="02020603050405020304" pitchFamily="18" charset="-34"/>
              </a:rPr>
              <a:t>ไม่มีผลหรือการเปลี่ยนเพิ่มเติม </a:t>
            </a:r>
            <a:endParaRPr kumimoji="0" lang="th-TH" sz="2000" b="1" i="0" u="none" strike="noStrike" kern="1200" cap="none" spc="0" normalizeH="0" baseline="0" noProof="0" dirty="0" smtClean="0">
              <a:ln>
                <a:noFill/>
              </a:ln>
              <a:solidFill>
                <a:prstClr val="black"/>
              </a:solidFill>
              <a:effectLst/>
              <a:uLnTx/>
              <a:uFillTx/>
              <a:latin typeface="AngsanaUPC" panose="02020603050405020304" pitchFamily="18" charset="-34"/>
              <a:ea typeface="+mn-ea"/>
              <a:cs typeface="AngsanaUPC" panose="02020603050405020304" pitchFamily="18" charset="-3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2000" b="1" i="0" u="none" strike="noStrike" kern="1200" cap="none" spc="0" normalizeH="0" baseline="0" noProof="0" dirty="0" smtClean="0">
                <a:ln>
                  <a:noFill/>
                </a:ln>
                <a:solidFill>
                  <a:prstClr val="black"/>
                </a:solidFill>
                <a:effectLst/>
                <a:uLnTx/>
                <a:uFillTx/>
                <a:latin typeface="AngsanaUPC" panose="02020603050405020304" pitchFamily="18" charset="-34"/>
                <a:ea typeface="+mn-ea"/>
                <a:cs typeface="AngsanaUPC" panose="02020603050405020304" pitchFamily="18" charset="-34"/>
              </a:rPr>
              <a:t>อย่าง</a:t>
            </a:r>
            <a:r>
              <a:rPr kumimoji="0" lang="th-TH" sz="2000" b="1" i="0" u="none" strike="noStrike" kern="1200" cap="none" spc="0" normalizeH="0" baseline="0" noProof="0" dirty="0">
                <a:ln>
                  <a:noFill/>
                </a:ln>
                <a:solidFill>
                  <a:prstClr val="black"/>
                </a:solidFill>
                <a:effectLst/>
                <a:uLnTx/>
                <a:uFillTx/>
                <a:latin typeface="AngsanaUPC" panose="02020603050405020304" pitchFamily="18" charset="-34"/>
                <a:ea typeface="+mn-ea"/>
                <a:cs typeface="AngsanaUPC" panose="02020603050405020304" pitchFamily="18" charset="-34"/>
              </a:rPr>
              <a:t>มีนัยยะสำคัญ</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ngsanaUPC" panose="02020603050405020304" pitchFamily="18" charset="-34"/>
                <a:ea typeface="+mn-ea"/>
                <a:cs typeface="AngsanaUPC" panose="02020603050405020304" pitchFamily="18" charset="-34"/>
              </a:rPr>
              <a:t>Diminishing retur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ngsanaUPC" panose="02020603050405020304" pitchFamily="18" charset="-34"/>
                <a:ea typeface="+mn-ea"/>
                <a:cs typeface="AngsanaUPC" panose="02020603050405020304" pitchFamily="18" charset="-34"/>
              </a:rPr>
              <a:t>Theoretical limit</a:t>
            </a:r>
            <a:endParaRPr kumimoji="0" lang="th-TH" sz="2000" b="1" i="0" u="none" strike="noStrike" kern="1200" cap="none" spc="0" normalizeH="0" baseline="0" noProof="0" dirty="0">
              <a:ln>
                <a:noFill/>
              </a:ln>
              <a:solidFill>
                <a:prstClr val="black"/>
              </a:solidFill>
              <a:effectLst/>
              <a:uLnTx/>
              <a:uFillTx/>
              <a:latin typeface="AngsanaUPC" panose="02020603050405020304" pitchFamily="18" charset="-34"/>
              <a:ea typeface="+mn-ea"/>
              <a:cs typeface="AngsanaUPC" panose="02020603050405020304" pitchFamily="18" charset="-34"/>
            </a:endParaRPr>
          </a:p>
        </p:txBody>
      </p:sp>
      <p:grpSp>
        <p:nvGrpSpPr>
          <p:cNvPr id="3" name="Group 2"/>
          <p:cNvGrpSpPr/>
          <p:nvPr/>
        </p:nvGrpSpPr>
        <p:grpSpPr>
          <a:xfrm>
            <a:off x="104775" y="102260"/>
            <a:ext cx="8413863" cy="584775"/>
            <a:chOff x="104775" y="102260"/>
            <a:chExt cx="8413863" cy="584775"/>
          </a:xfrm>
        </p:grpSpPr>
        <p:sp>
          <p:nvSpPr>
            <p:cNvPr id="18443" name="Text Box 11"/>
            <p:cNvSpPr txBox="1">
              <a:spLocks noChangeArrowheads="1"/>
            </p:cNvSpPr>
            <p:nvPr/>
          </p:nvSpPr>
          <p:spPr bwMode="auto">
            <a:xfrm>
              <a:off x="104775" y="102260"/>
              <a:ext cx="211147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a:solidFill>
                    <a:schemeClr val="tx1"/>
                  </a:solidFill>
                  <a:latin typeface="Arial" pitchFamily="34" charset="0"/>
                  <a:cs typeface="Angsana New" pitchFamily="18" charset="-34"/>
                </a:defRPr>
              </a:lvl1pPr>
              <a:lvl2pPr marL="742950" indent="-285750" eaLnBrk="0" hangingPunct="0">
                <a:defRPr sz="2800">
                  <a:solidFill>
                    <a:schemeClr val="tx1"/>
                  </a:solidFill>
                  <a:latin typeface="Arial" pitchFamily="34" charset="0"/>
                  <a:cs typeface="Angsana New" pitchFamily="18" charset="-34"/>
                </a:defRPr>
              </a:lvl2pPr>
              <a:lvl3pPr marL="1143000" indent="-228600" eaLnBrk="0" hangingPunct="0">
                <a:defRPr sz="2800">
                  <a:solidFill>
                    <a:schemeClr val="tx1"/>
                  </a:solidFill>
                  <a:latin typeface="Arial" pitchFamily="34" charset="0"/>
                  <a:cs typeface="Angsana New" pitchFamily="18" charset="-34"/>
                </a:defRPr>
              </a:lvl3pPr>
              <a:lvl4pPr marL="1600200" indent="-228600" eaLnBrk="0" hangingPunct="0">
                <a:defRPr sz="2800">
                  <a:solidFill>
                    <a:schemeClr val="tx1"/>
                  </a:solidFill>
                  <a:latin typeface="Arial" pitchFamily="34" charset="0"/>
                  <a:cs typeface="Angsana New" pitchFamily="18" charset="-34"/>
                </a:defRPr>
              </a:lvl4pPr>
              <a:lvl5pPr marL="2057400" indent="-228600" eaLnBrk="0" hangingPunct="0">
                <a:defRPr sz="2800">
                  <a:solidFill>
                    <a:schemeClr val="tx1"/>
                  </a:solidFill>
                  <a:latin typeface="Arial" pitchFamily="34" charset="0"/>
                  <a:cs typeface="Angsana New" pitchFamily="18" charset="-34"/>
                </a:defRPr>
              </a:lvl5pPr>
              <a:lvl6pPr marL="2514600" indent="-228600" eaLnBrk="0" fontAlgn="base" hangingPunct="0">
                <a:spcBef>
                  <a:spcPct val="0"/>
                </a:spcBef>
                <a:spcAft>
                  <a:spcPct val="0"/>
                </a:spcAft>
                <a:defRPr sz="2800">
                  <a:solidFill>
                    <a:schemeClr val="tx1"/>
                  </a:solidFill>
                  <a:latin typeface="Arial" pitchFamily="34" charset="0"/>
                  <a:cs typeface="Angsana New" pitchFamily="18" charset="-34"/>
                </a:defRPr>
              </a:lvl6pPr>
              <a:lvl7pPr marL="2971800" indent="-228600" eaLnBrk="0" fontAlgn="base" hangingPunct="0">
                <a:spcBef>
                  <a:spcPct val="0"/>
                </a:spcBef>
                <a:spcAft>
                  <a:spcPct val="0"/>
                </a:spcAft>
                <a:defRPr sz="2800">
                  <a:solidFill>
                    <a:schemeClr val="tx1"/>
                  </a:solidFill>
                  <a:latin typeface="Arial" pitchFamily="34" charset="0"/>
                  <a:cs typeface="Angsana New" pitchFamily="18" charset="-34"/>
                </a:defRPr>
              </a:lvl7pPr>
              <a:lvl8pPr marL="3429000" indent="-228600" eaLnBrk="0" fontAlgn="base" hangingPunct="0">
                <a:spcBef>
                  <a:spcPct val="0"/>
                </a:spcBef>
                <a:spcAft>
                  <a:spcPct val="0"/>
                </a:spcAft>
                <a:defRPr sz="2800">
                  <a:solidFill>
                    <a:schemeClr val="tx1"/>
                  </a:solidFill>
                  <a:latin typeface="Arial" pitchFamily="34" charset="0"/>
                  <a:cs typeface="Angsana New" pitchFamily="18" charset="-34"/>
                </a:defRPr>
              </a:lvl8pPr>
              <a:lvl9pPr marL="3886200" indent="-228600" eaLnBrk="0" fontAlgn="base" hangingPunct="0">
                <a:spcBef>
                  <a:spcPct val="0"/>
                </a:spcBef>
                <a:spcAft>
                  <a:spcPct val="0"/>
                </a:spcAft>
                <a:defRPr sz="2800">
                  <a:solidFill>
                    <a:schemeClr val="tx1"/>
                  </a:solidFill>
                  <a:latin typeface="Arial" pitchFamily="34" charset="0"/>
                  <a:cs typeface="Angsana New" pitchFamily="18" charset="-3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th-TH" sz="3200" b="1" i="1" u="none" strike="noStrike" kern="1200" cap="none" spc="0" normalizeH="0" baseline="0" noProof="0" dirty="0">
                  <a:ln>
                    <a:noFill/>
                  </a:ln>
                  <a:solidFill>
                    <a:prstClr val="black"/>
                  </a:solidFill>
                  <a:effectLst/>
                  <a:uLnTx/>
                  <a:uFillTx/>
                  <a:latin typeface="AngsanaUPC" panose="02020603050405020304" pitchFamily="18" charset="-34"/>
                  <a:ea typeface="+mn-ea"/>
                  <a:cs typeface="AngsanaUPC" panose="02020603050405020304" pitchFamily="18" charset="-34"/>
                </a:rPr>
                <a:t> </a:t>
              </a:r>
              <a:r>
                <a:rPr kumimoji="0" lang="en-US" sz="3200" b="1" i="1" u="none" strike="noStrike" kern="1200" cap="none" spc="0" normalizeH="0" baseline="0" noProof="0" dirty="0">
                  <a:ln>
                    <a:noFill/>
                  </a:ln>
                  <a:solidFill>
                    <a:prstClr val="black"/>
                  </a:solidFill>
                  <a:effectLst/>
                  <a:uLnTx/>
                  <a:uFillTx/>
                  <a:latin typeface="AngsanaUPC" panose="02020603050405020304" pitchFamily="18" charset="-34"/>
                  <a:ea typeface="+mn-ea"/>
                  <a:cs typeface="AngsanaUPC" panose="02020603050405020304" pitchFamily="18" charset="-34"/>
                </a:rPr>
                <a:t>Theoretical limit</a:t>
              </a:r>
              <a:endParaRPr kumimoji="0" lang="th-TH" sz="3200" b="1" i="1" u="none" strike="noStrike" kern="1200" cap="none" spc="0" normalizeH="0" baseline="0" noProof="0" dirty="0">
                <a:ln>
                  <a:noFill/>
                </a:ln>
                <a:solidFill>
                  <a:prstClr val="black"/>
                </a:solidFill>
                <a:effectLst/>
                <a:uLnTx/>
                <a:uFillTx/>
                <a:latin typeface="AngsanaUPC" panose="02020603050405020304" pitchFamily="18" charset="-34"/>
                <a:ea typeface="+mn-ea"/>
                <a:cs typeface="AngsanaUPC" panose="02020603050405020304" pitchFamily="18" charset="-34"/>
              </a:endParaRPr>
            </a:p>
          </p:txBody>
        </p:sp>
        <p:sp>
          <p:nvSpPr>
            <p:cNvPr id="16" name="Line 10"/>
            <p:cNvSpPr>
              <a:spLocks noChangeShapeType="1"/>
            </p:cNvSpPr>
            <p:nvPr/>
          </p:nvSpPr>
          <p:spPr bwMode="auto">
            <a:xfrm>
              <a:off x="294290" y="685800"/>
              <a:ext cx="8224348" cy="0"/>
            </a:xfrm>
            <a:prstGeom prst="line">
              <a:avLst/>
            </a:prstGeom>
            <a:noFill/>
            <a:ln w="38100">
              <a:solidFill>
                <a:schemeClr val="bg2"/>
              </a:solidFill>
              <a:prstDash val="sysDot"/>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1800" b="1" i="0" u="none" strike="noStrike" kern="1200" cap="none" spc="0" normalizeH="0" baseline="0" noProof="0">
                <a:ln>
                  <a:noFill/>
                </a:ln>
                <a:solidFill>
                  <a:prstClr val="black"/>
                </a:solidFill>
                <a:effectLst/>
                <a:uLnTx/>
                <a:uFillTx/>
                <a:latin typeface="AngsanaUPC" panose="02020603050405020304" pitchFamily="18" charset="-34"/>
                <a:ea typeface="+mn-ea"/>
                <a:cs typeface="AngsanaUPC" panose="02020603050405020304" pitchFamily="18" charset="-34"/>
              </a:endParaRPr>
            </a:p>
          </p:txBody>
        </p:sp>
      </p:grpSp>
      <p:cxnSp>
        <p:nvCxnSpPr>
          <p:cNvPr id="5" name="Straight Arrow Connector 4"/>
          <p:cNvCxnSpPr/>
          <p:nvPr/>
        </p:nvCxnSpPr>
        <p:spPr>
          <a:xfrm>
            <a:off x="838200" y="5700252"/>
            <a:ext cx="2885768" cy="0"/>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3723968" y="5700252"/>
            <a:ext cx="0" cy="1036749"/>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3723968" y="1934047"/>
            <a:ext cx="1749555" cy="0"/>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V="1">
            <a:off x="5473522" y="1954161"/>
            <a:ext cx="0" cy="374609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5473522" y="749300"/>
            <a:ext cx="3060879" cy="0"/>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H="1" flipV="1">
            <a:off x="8534401" y="749302"/>
            <a:ext cx="4481" cy="120052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 name="Oval 3"/>
          <p:cNvSpPr/>
          <p:nvPr/>
        </p:nvSpPr>
        <p:spPr>
          <a:xfrm>
            <a:off x="3477344" y="5474550"/>
            <a:ext cx="437882" cy="437882"/>
          </a:xfrm>
          <a:prstGeom prst="ellipse">
            <a:avLst/>
          </a:prstGeom>
          <a:noFill/>
          <a:ln w="254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h-TH" sz="1800" b="1" i="0" u="none" strike="noStrike" kern="1200" cap="none" spc="0" normalizeH="0" baseline="0" noProof="0" dirty="0">
              <a:ln>
                <a:noFill/>
              </a:ln>
              <a:solidFill>
                <a:prstClr val="white"/>
              </a:solidFill>
              <a:effectLst/>
              <a:uLnTx/>
              <a:uFillTx/>
              <a:latin typeface="AngsanaUPC" panose="02020603050405020304" pitchFamily="18" charset="-34"/>
              <a:ea typeface="+mn-ea"/>
              <a:cs typeface="TH Sarabun New"/>
            </a:endParaRPr>
          </a:p>
        </p:txBody>
      </p:sp>
      <p:cxnSp>
        <p:nvCxnSpPr>
          <p:cNvPr id="17" name="Straight Arrow Connector 16"/>
          <p:cNvCxnSpPr>
            <a:stCxn id="4" idx="5"/>
          </p:cNvCxnSpPr>
          <p:nvPr/>
        </p:nvCxnSpPr>
        <p:spPr>
          <a:xfrm>
            <a:off x="3851100" y="5848306"/>
            <a:ext cx="407001" cy="368139"/>
          </a:xfrm>
          <a:prstGeom prst="straightConnector1">
            <a:avLst/>
          </a:prstGeom>
          <a:noFill/>
          <a:ln w="25400">
            <a:solidFill>
              <a:srgbClr val="7030A0"/>
            </a:solidFill>
            <a:headEnd type="triangle"/>
          </a:ln>
        </p:spPr>
        <p:style>
          <a:lnRef idx="2">
            <a:schemeClr val="accent1">
              <a:shade val="50000"/>
            </a:schemeClr>
          </a:lnRef>
          <a:fillRef idx="1">
            <a:schemeClr val="accent1"/>
          </a:fillRef>
          <a:effectRef idx="0">
            <a:schemeClr val="accent1"/>
          </a:effectRef>
          <a:fontRef idx="minor">
            <a:schemeClr val="lt1"/>
          </a:fontRef>
        </p:style>
      </p:cxnSp>
      <p:sp>
        <p:nvSpPr>
          <p:cNvPr id="28" name="Oval 27"/>
          <p:cNvSpPr/>
          <p:nvPr/>
        </p:nvSpPr>
        <p:spPr>
          <a:xfrm>
            <a:off x="5220543" y="1762259"/>
            <a:ext cx="437882" cy="437882"/>
          </a:xfrm>
          <a:prstGeom prst="ellipse">
            <a:avLst/>
          </a:prstGeom>
          <a:noFill/>
          <a:ln w="254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h-TH" sz="1800" b="1" i="0" u="none" strike="noStrike" kern="1200" cap="none" spc="0" normalizeH="0" baseline="0" noProof="0" dirty="0">
              <a:ln>
                <a:noFill/>
              </a:ln>
              <a:solidFill>
                <a:prstClr val="white"/>
              </a:solidFill>
              <a:effectLst/>
              <a:uLnTx/>
              <a:uFillTx/>
              <a:latin typeface="AngsanaUPC" panose="02020603050405020304" pitchFamily="18" charset="-34"/>
              <a:ea typeface="+mn-ea"/>
              <a:cs typeface="TH Sarabun New"/>
            </a:endParaRPr>
          </a:p>
        </p:txBody>
      </p:sp>
      <p:cxnSp>
        <p:nvCxnSpPr>
          <p:cNvPr id="29" name="Straight Arrow Connector 28"/>
          <p:cNvCxnSpPr/>
          <p:nvPr/>
        </p:nvCxnSpPr>
        <p:spPr>
          <a:xfrm flipH="1" flipV="1">
            <a:off x="4940032" y="1421853"/>
            <a:ext cx="407001" cy="368139"/>
          </a:xfrm>
          <a:prstGeom prst="straightConnector1">
            <a:avLst/>
          </a:prstGeom>
          <a:noFill/>
          <a:ln w="25400">
            <a:solidFill>
              <a:srgbClr val="7030A0"/>
            </a:solidFill>
            <a:headEnd type="triangle"/>
          </a:ln>
        </p:spPr>
        <p:style>
          <a:lnRef idx="2">
            <a:schemeClr val="accent1">
              <a:shade val="50000"/>
            </a:schemeClr>
          </a:lnRef>
          <a:fillRef idx="1">
            <a:schemeClr val="accent1"/>
          </a:fillRef>
          <a:effectRef idx="0">
            <a:schemeClr val="accent1"/>
          </a:effectRef>
          <a:fontRef idx="minor">
            <a:schemeClr val="lt1"/>
          </a:fontRef>
        </p:style>
      </p:cxnSp>
      <p:sp>
        <p:nvSpPr>
          <p:cNvPr id="30" name="TextBox 29"/>
          <p:cNvSpPr txBox="1"/>
          <p:nvPr/>
        </p:nvSpPr>
        <p:spPr>
          <a:xfrm>
            <a:off x="1979712" y="973561"/>
            <a:ext cx="3130274" cy="759182"/>
          </a:xfrm>
          <a:prstGeom prst="rect">
            <a:avLst/>
          </a:prstGeom>
          <a:noFill/>
        </p:spPr>
        <p:txBody>
          <a:bodyPr wrap="square" rtlCol="0">
            <a:spAutoFit/>
          </a:bodyPr>
          <a:lstStyle/>
          <a:p>
            <a:pPr marL="0" marR="0" lvl="0" indent="0" algn="ctr" defTabSz="914400" rtl="0" eaLnBrk="1" fontAlgn="auto" latinLnBrk="0" hangingPunct="1">
              <a:lnSpc>
                <a:spcPts val="2600"/>
              </a:lnSpc>
              <a:spcBef>
                <a:spcPts val="0"/>
              </a:spcBef>
              <a:spcAft>
                <a:spcPts val="0"/>
              </a:spcAft>
              <a:buClrTx/>
              <a:buSzTx/>
              <a:buFontTx/>
              <a:buNone/>
              <a:tabLst/>
              <a:defRPr/>
            </a:pPr>
            <a:r>
              <a:rPr kumimoji="0" lang="th-TH" sz="2400" b="1" i="0" u="none" strike="noStrike" kern="1200" cap="none" spc="0" normalizeH="0" baseline="0" noProof="0" dirty="0" smtClean="0">
                <a:ln>
                  <a:noFill/>
                </a:ln>
                <a:solidFill>
                  <a:srgbClr val="7030A0"/>
                </a:solidFill>
                <a:effectLst/>
                <a:uLnTx/>
                <a:uFillTx/>
                <a:latin typeface="AngsanaUPC" panose="02020603050405020304" pitchFamily="18" charset="-34"/>
                <a:ea typeface="+mn-ea"/>
                <a:cs typeface="AngsanaUPC" panose="02020603050405020304" pitchFamily="18" charset="-34"/>
              </a:rPr>
              <a:t>จุดเปลี่ยนที่ต้องระวัง คือ การติดสุข </a:t>
            </a:r>
          </a:p>
          <a:p>
            <a:pPr marL="0" marR="0" lvl="0" indent="0" algn="ctr" defTabSz="914400" rtl="0" eaLnBrk="1" fontAlgn="auto" latinLnBrk="0" hangingPunct="1">
              <a:lnSpc>
                <a:spcPts val="2600"/>
              </a:lnSpc>
              <a:spcBef>
                <a:spcPts val="0"/>
              </a:spcBef>
              <a:spcAft>
                <a:spcPts val="0"/>
              </a:spcAft>
              <a:buClrTx/>
              <a:buSzTx/>
              <a:buFontTx/>
              <a:buNone/>
              <a:tabLst/>
              <a:defRPr/>
            </a:pPr>
            <a:r>
              <a:rPr kumimoji="0" lang="th-TH" sz="2400" b="1" i="0" u="none" strike="noStrike" kern="1200" cap="none" spc="0" normalizeH="0" baseline="0" noProof="0" dirty="0" smtClean="0">
                <a:ln>
                  <a:noFill/>
                </a:ln>
                <a:solidFill>
                  <a:srgbClr val="7030A0"/>
                </a:solidFill>
                <a:effectLst/>
                <a:uLnTx/>
                <a:uFillTx/>
                <a:latin typeface="AngsanaUPC" panose="02020603050405020304" pitchFamily="18" charset="-34"/>
                <a:ea typeface="+mn-ea"/>
                <a:cs typeface="AngsanaUPC" panose="02020603050405020304" pitchFamily="18" charset="-34"/>
              </a:rPr>
              <a:t>อยู่ใน </a:t>
            </a:r>
            <a:r>
              <a:rPr kumimoji="0" lang="en-US" sz="2400" b="1" i="0" u="none" strike="noStrike" kern="1200" cap="none" spc="0" normalizeH="0" baseline="0" noProof="0" dirty="0" smtClean="0">
                <a:ln>
                  <a:noFill/>
                </a:ln>
                <a:solidFill>
                  <a:srgbClr val="7030A0"/>
                </a:solidFill>
                <a:effectLst/>
                <a:uLnTx/>
                <a:uFillTx/>
                <a:latin typeface="AngsanaUPC" panose="02020603050405020304" pitchFamily="18" charset="-34"/>
                <a:ea typeface="+mn-ea"/>
                <a:cs typeface="AngsanaUPC" panose="02020603050405020304" pitchFamily="18" charset="-34"/>
              </a:rPr>
              <a:t>Comfort zone </a:t>
            </a:r>
            <a:r>
              <a:rPr kumimoji="0" lang="th-TH" sz="2400" b="1" i="0" u="none" strike="noStrike" kern="1200" cap="none" spc="0" normalizeH="0" baseline="0" noProof="0" dirty="0" smtClean="0">
                <a:ln>
                  <a:noFill/>
                </a:ln>
                <a:solidFill>
                  <a:srgbClr val="7030A0"/>
                </a:solidFill>
                <a:effectLst/>
                <a:uLnTx/>
                <a:uFillTx/>
                <a:latin typeface="AngsanaUPC" panose="02020603050405020304" pitchFamily="18" charset="-34"/>
                <a:ea typeface="+mn-ea"/>
                <a:cs typeface="AngsanaUPC" panose="02020603050405020304" pitchFamily="18" charset="-34"/>
              </a:rPr>
              <a:t>นานเกินไป</a:t>
            </a:r>
            <a:endParaRPr kumimoji="0" lang="th-TH" sz="2400" b="1" i="0" u="none" strike="noStrike" kern="1200" cap="none" spc="0" normalizeH="0" baseline="0" noProof="0" dirty="0">
              <a:ln>
                <a:noFill/>
              </a:ln>
              <a:solidFill>
                <a:srgbClr val="7030A0"/>
              </a:solidFill>
              <a:effectLst/>
              <a:uLnTx/>
              <a:uFillTx/>
              <a:latin typeface="AngsanaUPC" panose="02020603050405020304" pitchFamily="18" charset="-34"/>
              <a:ea typeface="+mn-ea"/>
              <a:cs typeface="AngsanaUPC" panose="02020603050405020304" pitchFamily="18" charset="-34"/>
            </a:endParaRPr>
          </a:p>
        </p:txBody>
      </p:sp>
      <p:sp>
        <p:nvSpPr>
          <p:cNvPr id="8" name="Freeform 7"/>
          <p:cNvSpPr/>
          <p:nvPr/>
        </p:nvSpPr>
        <p:spPr>
          <a:xfrm>
            <a:off x="1067374" y="5715087"/>
            <a:ext cx="2186421" cy="793264"/>
          </a:xfrm>
          <a:custGeom>
            <a:avLst/>
            <a:gdLst>
              <a:gd name="connsiteX0" fmla="*/ 2178424 w 2178424"/>
              <a:gd name="connsiteY0" fmla="*/ 140962 h 793144"/>
              <a:gd name="connsiteX1" fmla="*/ 1674159 w 2178424"/>
              <a:gd name="connsiteY1" fmla="*/ 26662 h 793144"/>
              <a:gd name="connsiteX2" fmla="*/ 1143000 w 2178424"/>
              <a:gd name="connsiteY2" fmla="*/ 19939 h 793144"/>
              <a:gd name="connsiteX3" fmla="*/ 611841 w 2178424"/>
              <a:gd name="connsiteY3" fmla="*/ 255262 h 793144"/>
              <a:gd name="connsiteX4" fmla="*/ 0 w 2178424"/>
              <a:gd name="connsiteY4" fmla="*/ 793144 h 793144"/>
              <a:gd name="connsiteX0" fmla="*/ 2186421 w 2186421"/>
              <a:gd name="connsiteY0" fmla="*/ 143748 h 793264"/>
              <a:gd name="connsiteX1" fmla="*/ 1674159 w 2186421"/>
              <a:gd name="connsiteY1" fmla="*/ 26782 h 793264"/>
              <a:gd name="connsiteX2" fmla="*/ 1143000 w 2186421"/>
              <a:gd name="connsiteY2" fmla="*/ 20059 h 793264"/>
              <a:gd name="connsiteX3" fmla="*/ 611841 w 2186421"/>
              <a:gd name="connsiteY3" fmla="*/ 255382 h 793264"/>
              <a:gd name="connsiteX4" fmla="*/ 0 w 2186421"/>
              <a:gd name="connsiteY4" fmla="*/ 793264 h 793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6421" h="793264">
                <a:moveTo>
                  <a:pt x="2186421" y="143748"/>
                </a:moveTo>
                <a:cubicBezTo>
                  <a:pt x="2020574" y="96683"/>
                  <a:pt x="1848062" y="47397"/>
                  <a:pt x="1674159" y="26782"/>
                </a:cubicBezTo>
                <a:cubicBezTo>
                  <a:pt x="1500256" y="6167"/>
                  <a:pt x="1320053" y="-18041"/>
                  <a:pt x="1143000" y="20059"/>
                </a:cubicBezTo>
                <a:cubicBezTo>
                  <a:pt x="965947" y="58159"/>
                  <a:pt x="802341" y="126515"/>
                  <a:pt x="611841" y="255382"/>
                </a:cubicBezTo>
                <a:cubicBezTo>
                  <a:pt x="421341" y="384249"/>
                  <a:pt x="210670" y="588756"/>
                  <a:pt x="0" y="793264"/>
                </a:cubicBezTo>
              </a:path>
            </a:pathLst>
          </a:custGeom>
          <a:noFill/>
          <a:ln w="31750">
            <a:solidFill>
              <a:schemeClr val="tx1"/>
            </a:solidFill>
            <a:tailEnd type="stealth" w="lg" len="lg"/>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h-TH" sz="1800" b="1" i="0" u="none" strike="noStrike" kern="1200" cap="none" spc="0" normalizeH="0" baseline="0" noProof="0" dirty="0">
              <a:ln>
                <a:noFill/>
              </a:ln>
              <a:solidFill>
                <a:prstClr val="white"/>
              </a:solidFill>
              <a:effectLst/>
              <a:uLnTx/>
              <a:uFillTx/>
              <a:latin typeface="AngsanaUPC" panose="02020603050405020304" pitchFamily="18" charset="-34"/>
              <a:ea typeface="+mn-ea"/>
              <a:cs typeface="TH Sarabun New"/>
            </a:endParaRPr>
          </a:p>
        </p:txBody>
      </p:sp>
      <p:sp>
        <p:nvSpPr>
          <p:cNvPr id="11" name="Freeform 10"/>
          <p:cNvSpPr/>
          <p:nvPr/>
        </p:nvSpPr>
        <p:spPr>
          <a:xfrm>
            <a:off x="1172779" y="5830750"/>
            <a:ext cx="2107531" cy="771389"/>
          </a:xfrm>
          <a:custGeom>
            <a:avLst/>
            <a:gdLst>
              <a:gd name="connsiteX0" fmla="*/ 0 w 2298788"/>
              <a:gd name="connsiteY0" fmla="*/ 771389 h 771389"/>
              <a:gd name="connsiteX1" fmla="*/ 1139750 w 2298788"/>
              <a:gd name="connsiteY1" fmla="*/ 546040 h 771389"/>
              <a:gd name="connsiteX2" fmla="*/ 2049817 w 2298788"/>
              <a:gd name="connsiteY2" fmla="*/ 255685 h 771389"/>
              <a:gd name="connsiteX3" fmla="*/ 2296835 w 2298788"/>
              <a:gd name="connsiteY3" fmla="*/ 78006 h 771389"/>
              <a:gd name="connsiteX4" fmla="*/ 2145157 w 2298788"/>
              <a:gd name="connsiteY4" fmla="*/ 0 h 771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788" h="771389">
                <a:moveTo>
                  <a:pt x="0" y="771389"/>
                </a:moveTo>
                <a:cubicBezTo>
                  <a:pt x="399057" y="701690"/>
                  <a:pt x="798114" y="631991"/>
                  <a:pt x="1139750" y="546040"/>
                </a:cubicBezTo>
                <a:cubicBezTo>
                  <a:pt x="1481386" y="460089"/>
                  <a:pt x="1856969" y="333691"/>
                  <a:pt x="2049817" y="255685"/>
                </a:cubicBezTo>
                <a:cubicBezTo>
                  <a:pt x="2242665" y="177679"/>
                  <a:pt x="2280945" y="120620"/>
                  <a:pt x="2296835" y="78006"/>
                </a:cubicBezTo>
                <a:cubicBezTo>
                  <a:pt x="2312725" y="35392"/>
                  <a:pt x="2228941" y="17696"/>
                  <a:pt x="2145157" y="0"/>
                </a:cubicBezTo>
              </a:path>
            </a:pathLst>
          </a:custGeom>
          <a:noFill/>
          <a:ln w="31750">
            <a:solidFill>
              <a:schemeClr val="tx1"/>
            </a:solidFill>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h-TH" sz="1800" b="1" i="0" u="none" strike="noStrike" kern="1200" cap="none" spc="0" normalizeH="0" baseline="0" noProof="0" dirty="0">
              <a:ln>
                <a:noFill/>
              </a:ln>
              <a:solidFill>
                <a:prstClr val="white"/>
              </a:solidFill>
              <a:effectLst/>
              <a:uLnTx/>
              <a:uFillTx/>
              <a:latin typeface="AngsanaUPC" panose="02020603050405020304" pitchFamily="18" charset="-34"/>
              <a:ea typeface="+mn-ea"/>
              <a:cs typeface="TH Sarabun New"/>
            </a:endParaRPr>
          </a:p>
        </p:txBody>
      </p:sp>
      <p:sp>
        <p:nvSpPr>
          <p:cNvPr id="6" name="Slide Number Placeholder 5"/>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92B0ED-4054-42B7-A893-2D57CE8DC8A6}" type="slidenum">
              <a:rPr kumimoji="0" lang="th-TH"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th-TH" sz="1600" b="0" i="0" u="none" strike="noStrike" kern="1200" cap="none" spc="0" normalizeH="0" baseline="0" noProof="0" dirty="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grpSp>
        <p:nvGrpSpPr>
          <p:cNvPr id="7" name="Group 6"/>
          <p:cNvGrpSpPr/>
          <p:nvPr/>
        </p:nvGrpSpPr>
        <p:grpSpPr>
          <a:xfrm>
            <a:off x="4143151" y="5842299"/>
            <a:ext cx="3137796" cy="720080"/>
            <a:chOff x="4143151" y="5842299"/>
            <a:chExt cx="3137796" cy="720080"/>
          </a:xfrm>
        </p:grpSpPr>
        <p:sp>
          <p:nvSpPr>
            <p:cNvPr id="18" name="TextBox 17"/>
            <p:cNvSpPr txBox="1"/>
            <p:nvPr/>
          </p:nvSpPr>
          <p:spPr>
            <a:xfrm>
              <a:off x="4406442" y="5891464"/>
              <a:ext cx="2874505" cy="609398"/>
            </a:xfrm>
            <a:prstGeom prst="rect">
              <a:avLst/>
            </a:prstGeom>
            <a:solidFill>
              <a:srgbClr val="FF4611"/>
            </a:solidFill>
            <a:ln w="12700">
              <a:noFill/>
              <a:miter lim="800000"/>
              <a:headEnd/>
              <a:tailEnd/>
            </a:ln>
            <a:effectLst/>
            <a:scene3d>
              <a:camera prst="orthographicFront"/>
              <a:lightRig rig="threePt" dir="t"/>
            </a:scene3d>
            <a:sp3d>
              <a:bevelT/>
            </a:sp3d>
          </p:spPr>
          <p:txBody>
            <a:bodyPr wrap="square">
              <a:spAutoFit/>
            </a:bodyPr>
            <a:lstStyle>
              <a:defPPr>
                <a:defRPr lang="en-US"/>
              </a:defPPr>
              <a:lvl1pPr algn="ctr" eaLnBrk="0" hangingPunct="0">
                <a:lnSpc>
                  <a:spcPct val="70000"/>
                </a:lnSpc>
                <a:defRPr sz="2400">
                  <a:solidFill>
                    <a:prstClr val="white"/>
                  </a:solidFill>
                  <a:effectLst>
                    <a:outerShdw blurRad="38100" dist="38100" dir="2700000" algn="tl">
                      <a:srgbClr val="000000"/>
                    </a:outerShdw>
                  </a:effectLst>
                  <a:latin typeface="DilleniaUPC" pitchFamily="18" charset="-34"/>
                  <a:cs typeface="DilleniaUPC" pitchFamily="18" charset="-34"/>
                </a:defRPr>
              </a:lvl1pPr>
            </a:lstStyle>
            <a:p>
              <a:pPr marL="0" marR="0" lvl="0" indent="0" algn="ctr" defTabSz="914400" rtl="0" eaLnBrk="0" fontAlgn="base" latinLnBrk="0" hangingPunct="0">
                <a:lnSpc>
                  <a:spcPct val="70000"/>
                </a:lnSpc>
                <a:spcBef>
                  <a:spcPct val="0"/>
                </a:spcBef>
                <a:spcAft>
                  <a:spcPct val="0"/>
                </a:spcAft>
                <a:buClrTx/>
                <a:buSzTx/>
                <a:buFontTx/>
                <a:buNone/>
                <a:tabLst/>
                <a:defRPr/>
              </a:pPr>
              <a:r>
                <a:rPr kumimoji="0" lang="th-TH" sz="2400" b="1" i="0" u="none" strike="noStrike" kern="1200" cap="none" spc="0" normalizeH="0" baseline="0" noProof="0" dirty="0">
                  <a:ln>
                    <a:noFill/>
                  </a:ln>
                  <a:solidFill>
                    <a:prstClr val="white"/>
                  </a:solidFill>
                  <a:effectLst/>
                  <a:uLnTx/>
                  <a:uFillTx/>
                  <a:latin typeface="DilleniaUPC" pitchFamily="18" charset="-34"/>
                  <a:ea typeface="+mn-ea"/>
                  <a:cs typeface="DilleniaUPC" pitchFamily="18" charset="-34"/>
                </a:rPr>
                <a:t>การก้าวข้ามจุดเปลี่ยน ต้องอาศัย</a:t>
              </a:r>
            </a:p>
            <a:p>
              <a:pPr marL="0" marR="0" lvl="0" indent="0" algn="ctr" defTabSz="914400" rtl="0" eaLnBrk="0" fontAlgn="base" latinLnBrk="0" hangingPunct="0">
                <a:lnSpc>
                  <a:spcPct val="70000"/>
                </a:lnSpc>
                <a:spcBef>
                  <a:spcPct val="0"/>
                </a:spcBef>
                <a:spcAft>
                  <a:spcPct val="0"/>
                </a:spcAft>
                <a:buClrTx/>
                <a:buSzTx/>
                <a:buFontTx/>
                <a:buNone/>
                <a:tabLst/>
                <a:defRPr/>
              </a:pPr>
              <a:r>
                <a:rPr kumimoji="0" lang="th-TH" sz="2400" b="1" i="0" u="none" strike="noStrike" kern="1200" cap="none" spc="0" normalizeH="0" baseline="0" noProof="0" dirty="0">
                  <a:ln>
                    <a:noFill/>
                  </a:ln>
                  <a:solidFill>
                    <a:prstClr val="white"/>
                  </a:solidFill>
                  <a:effectLst/>
                  <a:uLnTx/>
                  <a:uFillTx/>
                  <a:latin typeface="DilleniaUPC" pitchFamily="18" charset="-34"/>
                  <a:ea typeface="+mn-ea"/>
                  <a:cs typeface="DilleniaUPC" pitchFamily="18" charset="-34"/>
                </a:rPr>
                <a:t>เวลา ความมุ่งมั่น และความต่อเนื่อง</a:t>
              </a:r>
            </a:p>
          </p:txBody>
        </p:sp>
        <p:pic>
          <p:nvPicPr>
            <p:cNvPr id="32" name="Picture 3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43151" y="5842299"/>
              <a:ext cx="440049" cy="720080"/>
            </a:xfrm>
            <a:prstGeom prst="rect">
              <a:avLst/>
            </a:prstGeom>
          </p:spPr>
        </p:pic>
      </p:grpSp>
    </p:spTree>
    <p:extLst>
      <p:ext uri="{BB962C8B-B14F-4D97-AF65-F5344CB8AC3E}">
        <p14:creationId xmlns:p14="http://schemas.microsoft.com/office/powerpoint/2010/main" val="1384053827"/>
      </p:ext>
    </p:extLst>
  </p:cSld>
  <p:clrMapOvr>
    <a:masterClrMapping/>
  </p:clrMapOvr>
  <p:transition>
    <p:strips dir="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8434"/>
                                        </p:tgtEl>
                                        <p:attrNameLst>
                                          <p:attrName>style.visibility</p:attrName>
                                        </p:attrNameLst>
                                      </p:cBhvr>
                                      <p:to>
                                        <p:strVal val="visible"/>
                                      </p:to>
                                    </p:set>
                                    <p:animEffect transition="in" filter="wipe(down)">
                                      <p:cBhvr>
                                        <p:cTn id="7" dur="500"/>
                                        <p:tgtEl>
                                          <p:spTgt spid="1843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down)">
                                      <p:cBhvr>
                                        <p:cTn id="12" dur="2000"/>
                                        <p:tgtEl>
                                          <p:spTgt spid="2"/>
                                        </p:tgtEl>
                                      </p:cBhvr>
                                    </p:animEffect>
                                  </p:childTnLst>
                                </p:cTn>
                              </p:par>
                            </p:childTnLst>
                          </p:cTn>
                        </p:par>
                        <p:par>
                          <p:cTn id="13" fill="hold">
                            <p:stCondLst>
                              <p:cond delay="2000"/>
                            </p:stCondLst>
                            <p:childTnLst>
                              <p:par>
                                <p:cTn id="14" presetID="22" presetClass="entr" presetSubtype="8" fill="hold" grpId="0" nodeType="afterEffect">
                                  <p:stCondLst>
                                    <p:cond delay="0"/>
                                  </p:stCondLst>
                                  <p:childTnLst>
                                    <p:set>
                                      <p:cBhvr>
                                        <p:cTn id="15" dur="1" fill="hold">
                                          <p:stCondLst>
                                            <p:cond delay="0"/>
                                          </p:stCondLst>
                                        </p:cTn>
                                        <p:tgtEl>
                                          <p:spTgt spid="18439"/>
                                        </p:tgtEl>
                                        <p:attrNameLst>
                                          <p:attrName>style.visibility</p:attrName>
                                        </p:attrNameLst>
                                      </p:cBhvr>
                                      <p:to>
                                        <p:strVal val="visible"/>
                                      </p:to>
                                    </p:set>
                                    <p:animEffect transition="in" filter="wipe(left)">
                                      <p:cBhvr>
                                        <p:cTn id="16" dur="500"/>
                                        <p:tgtEl>
                                          <p:spTgt spid="18439"/>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wipe(left)">
                                      <p:cBhvr>
                                        <p:cTn id="21" dur="500"/>
                                        <p:tgtEl>
                                          <p:spTgt spid="5"/>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nodeType="clickEffect">
                                  <p:stCondLst>
                                    <p:cond delay="0"/>
                                  </p:stCondLst>
                                  <p:childTnLst>
                                    <p:set>
                                      <p:cBhvr>
                                        <p:cTn id="25" dur="1" fill="hold">
                                          <p:stCondLst>
                                            <p:cond delay="0"/>
                                          </p:stCondLst>
                                        </p:cTn>
                                        <p:tgtEl>
                                          <p:spTgt spid="19"/>
                                        </p:tgtEl>
                                        <p:attrNameLst>
                                          <p:attrName>style.visibility</p:attrName>
                                        </p:attrNameLst>
                                      </p:cBhvr>
                                      <p:to>
                                        <p:strVal val="visible"/>
                                      </p:to>
                                    </p:set>
                                    <p:animEffect transition="in" filter="wipe(down)">
                                      <p:cBhvr>
                                        <p:cTn id="26" dur="500"/>
                                        <p:tgtEl>
                                          <p:spTgt spid="19"/>
                                        </p:tgtEl>
                                      </p:cBhvr>
                                    </p:animEffect>
                                  </p:childTnLst>
                                </p:cTn>
                              </p:par>
                            </p:childTnLst>
                          </p:cTn>
                        </p:par>
                      </p:childTnLst>
                    </p:cTn>
                  </p:par>
                  <p:par>
                    <p:cTn id="27" fill="hold">
                      <p:stCondLst>
                        <p:cond delay="indefinite"/>
                      </p:stCondLst>
                      <p:childTnLst>
                        <p:par>
                          <p:cTn id="28" fill="hold">
                            <p:stCondLst>
                              <p:cond delay="0"/>
                            </p:stCondLst>
                            <p:childTnLst>
                              <p:par>
                                <p:cTn id="29" presetID="21" presetClass="entr" presetSubtype="1" fill="hold" grpId="0" nodeType="clickEffect">
                                  <p:stCondLst>
                                    <p:cond delay="0"/>
                                  </p:stCondLst>
                                  <p:childTnLst>
                                    <p:set>
                                      <p:cBhvr>
                                        <p:cTn id="30" dur="1" fill="hold">
                                          <p:stCondLst>
                                            <p:cond delay="0"/>
                                          </p:stCondLst>
                                        </p:cTn>
                                        <p:tgtEl>
                                          <p:spTgt spid="4"/>
                                        </p:tgtEl>
                                        <p:attrNameLst>
                                          <p:attrName>style.visibility</p:attrName>
                                        </p:attrNameLst>
                                      </p:cBhvr>
                                      <p:to>
                                        <p:strVal val="visible"/>
                                      </p:to>
                                    </p:set>
                                    <p:animEffect transition="in" filter="wheel(1)">
                                      <p:cBhvr>
                                        <p:cTn id="31" dur="2000"/>
                                        <p:tgtEl>
                                          <p:spTgt spid="4"/>
                                        </p:tgtEl>
                                      </p:cBhvr>
                                    </p:animEffect>
                                  </p:childTnLst>
                                </p:cTn>
                              </p:par>
                            </p:childTnLst>
                          </p:cTn>
                        </p:par>
                        <p:par>
                          <p:cTn id="32" fill="hold">
                            <p:stCondLst>
                              <p:cond delay="2000"/>
                            </p:stCondLst>
                            <p:childTnLst>
                              <p:par>
                                <p:cTn id="33" presetID="22" presetClass="entr" presetSubtype="4" fill="hold" nodeType="after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wipe(down)">
                                      <p:cBhvr>
                                        <p:cTn id="35" dur="500"/>
                                        <p:tgtEl>
                                          <p:spTgt spid="17"/>
                                        </p:tgtEl>
                                      </p:cBhvr>
                                    </p:animEffect>
                                  </p:childTnLst>
                                </p:cTn>
                              </p:par>
                            </p:childTnLst>
                          </p:cTn>
                        </p:par>
                        <p:par>
                          <p:cTn id="36" fill="hold">
                            <p:stCondLst>
                              <p:cond delay="2500"/>
                            </p:stCondLst>
                            <p:childTnLst>
                              <p:par>
                                <p:cTn id="37" presetID="22" presetClass="entr" presetSubtype="8" fill="hold" nodeType="afterEffect">
                                  <p:stCondLst>
                                    <p:cond delay="0"/>
                                  </p:stCondLst>
                                  <p:childTnLst>
                                    <p:set>
                                      <p:cBhvr>
                                        <p:cTn id="38" dur="1" fill="hold">
                                          <p:stCondLst>
                                            <p:cond delay="0"/>
                                          </p:stCondLst>
                                        </p:cTn>
                                        <p:tgtEl>
                                          <p:spTgt spid="7"/>
                                        </p:tgtEl>
                                        <p:attrNameLst>
                                          <p:attrName>style.visibility</p:attrName>
                                        </p:attrNameLst>
                                      </p:cBhvr>
                                      <p:to>
                                        <p:strVal val="visible"/>
                                      </p:to>
                                    </p:set>
                                    <p:animEffect transition="in" filter="wipe(left)">
                                      <p:cBhvr>
                                        <p:cTn id="39" dur="500"/>
                                        <p:tgtEl>
                                          <p:spTgt spid="7"/>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4" fill="hold" grpId="0" nodeType="click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wipe(down)">
                                      <p:cBhvr>
                                        <p:cTn id="44" dur="500"/>
                                        <p:tgtEl>
                                          <p:spTgt spid="11"/>
                                        </p:tgtEl>
                                      </p:cBhvr>
                                    </p:animEffect>
                                  </p:childTnLst>
                                </p:cTn>
                              </p:par>
                            </p:childTnLst>
                          </p:cTn>
                        </p:par>
                        <p:par>
                          <p:cTn id="45" fill="hold">
                            <p:stCondLst>
                              <p:cond delay="500"/>
                            </p:stCondLst>
                            <p:childTnLst>
                              <p:par>
                                <p:cTn id="46" presetID="22" presetClass="entr" presetSubtype="2" fill="hold" grpId="0" nodeType="afterEffect">
                                  <p:stCondLst>
                                    <p:cond delay="0"/>
                                  </p:stCondLst>
                                  <p:childTnLst>
                                    <p:set>
                                      <p:cBhvr>
                                        <p:cTn id="47" dur="1" fill="hold">
                                          <p:stCondLst>
                                            <p:cond delay="0"/>
                                          </p:stCondLst>
                                        </p:cTn>
                                        <p:tgtEl>
                                          <p:spTgt spid="8"/>
                                        </p:tgtEl>
                                        <p:attrNameLst>
                                          <p:attrName>style.visibility</p:attrName>
                                        </p:attrNameLst>
                                      </p:cBhvr>
                                      <p:to>
                                        <p:strVal val="visible"/>
                                      </p:to>
                                    </p:set>
                                    <p:animEffect transition="in" filter="wipe(right)">
                                      <p:cBhvr>
                                        <p:cTn id="48" dur="500"/>
                                        <p:tgtEl>
                                          <p:spTgt spid="8"/>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4" fill="hold" grpId="0" nodeType="clickEffect">
                                  <p:stCondLst>
                                    <p:cond delay="0"/>
                                  </p:stCondLst>
                                  <p:childTnLst>
                                    <p:set>
                                      <p:cBhvr>
                                        <p:cTn id="52" dur="1" fill="hold">
                                          <p:stCondLst>
                                            <p:cond delay="0"/>
                                          </p:stCondLst>
                                        </p:cTn>
                                        <p:tgtEl>
                                          <p:spTgt spid="14"/>
                                        </p:tgtEl>
                                        <p:attrNameLst>
                                          <p:attrName>style.visibility</p:attrName>
                                        </p:attrNameLst>
                                      </p:cBhvr>
                                      <p:to>
                                        <p:strVal val="visible"/>
                                      </p:to>
                                    </p:set>
                                    <p:animEffect transition="in" filter="wipe(down)">
                                      <p:cBhvr>
                                        <p:cTn id="53" dur="2000"/>
                                        <p:tgtEl>
                                          <p:spTgt spid="14"/>
                                        </p:tgtEl>
                                      </p:cBhvr>
                                    </p:animEffect>
                                  </p:childTnLst>
                                </p:cTn>
                              </p:par>
                            </p:childTnLst>
                          </p:cTn>
                        </p:par>
                        <p:par>
                          <p:cTn id="54" fill="hold">
                            <p:stCondLst>
                              <p:cond delay="2000"/>
                            </p:stCondLst>
                            <p:childTnLst>
                              <p:par>
                                <p:cTn id="55" presetID="22" presetClass="entr" presetSubtype="8" fill="hold" grpId="0" nodeType="afterEffect">
                                  <p:stCondLst>
                                    <p:cond delay="0"/>
                                  </p:stCondLst>
                                  <p:childTnLst>
                                    <p:set>
                                      <p:cBhvr>
                                        <p:cTn id="56" dur="1" fill="hold">
                                          <p:stCondLst>
                                            <p:cond delay="0"/>
                                          </p:stCondLst>
                                        </p:cTn>
                                        <p:tgtEl>
                                          <p:spTgt spid="18440"/>
                                        </p:tgtEl>
                                        <p:attrNameLst>
                                          <p:attrName>style.visibility</p:attrName>
                                        </p:attrNameLst>
                                      </p:cBhvr>
                                      <p:to>
                                        <p:strVal val="visible"/>
                                      </p:to>
                                    </p:set>
                                    <p:animEffect transition="in" filter="wipe(left)">
                                      <p:cBhvr>
                                        <p:cTn id="57" dur="500"/>
                                        <p:tgtEl>
                                          <p:spTgt spid="18440"/>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8" fill="hold" nodeType="clickEffect">
                                  <p:stCondLst>
                                    <p:cond delay="0"/>
                                  </p:stCondLst>
                                  <p:childTnLst>
                                    <p:set>
                                      <p:cBhvr>
                                        <p:cTn id="61" dur="1" fill="hold">
                                          <p:stCondLst>
                                            <p:cond delay="0"/>
                                          </p:stCondLst>
                                        </p:cTn>
                                        <p:tgtEl>
                                          <p:spTgt spid="22"/>
                                        </p:tgtEl>
                                        <p:attrNameLst>
                                          <p:attrName>style.visibility</p:attrName>
                                        </p:attrNameLst>
                                      </p:cBhvr>
                                      <p:to>
                                        <p:strVal val="visible"/>
                                      </p:to>
                                    </p:set>
                                    <p:animEffect transition="in" filter="wipe(left)">
                                      <p:cBhvr>
                                        <p:cTn id="62" dur="500"/>
                                        <p:tgtEl>
                                          <p:spTgt spid="22"/>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4" fill="hold" nodeType="clickEffect">
                                  <p:stCondLst>
                                    <p:cond delay="0"/>
                                  </p:stCondLst>
                                  <p:childTnLst>
                                    <p:set>
                                      <p:cBhvr>
                                        <p:cTn id="66" dur="1" fill="hold">
                                          <p:stCondLst>
                                            <p:cond delay="0"/>
                                          </p:stCondLst>
                                        </p:cTn>
                                        <p:tgtEl>
                                          <p:spTgt spid="24"/>
                                        </p:tgtEl>
                                        <p:attrNameLst>
                                          <p:attrName>style.visibility</p:attrName>
                                        </p:attrNameLst>
                                      </p:cBhvr>
                                      <p:to>
                                        <p:strVal val="visible"/>
                                      </p:to>
                                    </p:set>
                                    <p:animEffect transition="in" filter="wipe(down)">
                                      <p:cBhvr>
                                        <p:cTn id="67" dur="500"/>
                                        <p:tgtEl>
                                          <p:spTgt spid="24"/>
                                        </p:tgtEl>
                                      </p:cBhvr>
                                    </p:animEffect>
                                  </p:childTnLst>
                                </p:cTn>
                              </p:par>
                            </p:childTnLst>
                          </p:cTn>
                        </p:par>
                      </p:childTnLst>
                    </p:cTn>
                  </p:par>
                  <p:par>
                    <p:cTn id="68" fill="hold">
                      <p:stCondLst>
                        <p:cond delay="indefinite"/>
                      </p:stCondLst>
                      <p:childTnLst>
                        <p:par>
                          <p:cTn id="69" fill="hold">
                            <p:stCondLst>
                              <p:cond delay="0"/>
                            </p:stCondLst>
                            <p:childTnLst>
                              <p:par>
                                <p:cTn id="70" presetID="21" presetClass="entr" presetSubtype="1" fill="hold" grpId="0" nodeType="clickEffect">
                                  <p:stCondLst>
                                    <p:cond delay="0"/>
                                  </p:stCondLst>
                                  <p:childTnLst>
                                    <p:set>
                                      <p:cBhvr>
                                        <p:cTn id="71" dur="1" fill="hold">
                                          <p:stCondLst>
                                            <p:cond delay="0"/>
                                          </p:stCondLst>
                                        </p:cTn>
                                        <p:tgtEl>
                                          <p:spTgt spid="28"/>
                                        </p:tgtEl>
                                        <p:attrNameLst>
                                          <p:attrName>style.visibility</p:attrName>
                                        </p:attrNameLst>
                                      </p:cBhvr>
                                      <p:to>
                                        <p:strVal val="visible"/>
                                      </p:to>
                                    </p:set>
                                    <p:animEffect transition="in" filter="wheel(1)">
                                      <p:cBhvr>
                                        <p:cTn id="72" dur="2000"/>
                                        <p:tgtEl>
                                          <p:spTgt spid="28"/>
                                        </p:tgtEl>
                                      </p:cBhvr>
                                    </p:animEffect>
                                  </p:childTnLst>
                                </p:cTn>
                              </p:par>
                            </p:childTnLst>
                          </p:cTn>
                        </p:par>
                        <p:par>
                          <p:cTn id="73" fill="hold">
                            <p:stCondLst>
                              <p:cond delay="2000"/>
                            </p:stCondLst>
                            <p:childTnLst>
                              <p:par>
                                <p:cTn id="74" presetID="22" presetClass="entr" presetSubtype="1" fill="hold" nodeType="afterEffect">
                                  <p:stCondLst>
                                    <p:cond delay="0"/>
                                  </p:stCondLst>
                                  <p:childTnLst>
                                    <p:set>
                                      <p:cBhvr>
                                        <p:cTn id="75" dur="1" fill="hold">
                                          <p:stCondLst>
                                            <p:cond delay="0"/>
                                          </p:stCondLst>
                                        </p:cTn>
                                        <p:tgtEl>
                                          <p:spTgt spid="29"/>
                                        </p:tgtEl>
                                        <p:attrNameLst>
                                          <p:attrName>style.visibility</p:attrName>
                                        </p:attrNameLst>
                                      </p:cBhvr>
                                      <p:to>
                                        <p:strVal val="visible"/>
                                      </p:to>
                                    </p:set>
                                    <p:animEffect transition="in" filter="wipe(up)">
                                      <p:cBhvr>
                                        <p:cTn id="76" dur="500"/>
                                        <p:tgtEl>
                                          <p:spTgt spid="29"/>
                                        </p:tgtEl>
                                      </p:cBhvr>
                                    </p:animEffect>
                                  </p:childTnLst>
                                </p:cTn>
                              </p:par>
                              <p:par>
                                <p:cTn id="77" presetID="22" presetClass="entr" presetSubtype="8" fill="hold" grpId="0" nodeType="withEffect">
                                  <p:stCondLst>
                                    <p:cond delay="0"/>
                                  </p:stCondLst>
                                  <p:childTnLst>
                                    <p:set>
                                      <p:cBhvr>
                                        <p:cTn id="78" dur="1" fill="hold">
                                          <p:stCondLst>
                                            <p:cond delay="0"/>
                                          </p:stCondLst>
                                        </p:cTn>
                                        <p:tgtEl>
                                          <p:spTgt spid="30"/>
                                        </p:tgtEl>
                                        <p:attrNameLst>
                                          <p:attrName>style.visibility</p:attrName>
                                        </p:attrNameLst>
                                      </p:cBhvr>
                                      <p:to>
                                        <p:strVal val="visible"/>
                                      </p:to>
                                    </p:set>
                                    <p:animEffect transition="in" filter="wipe(left)">
                                      <p:cBhvr>
                                        <p:cTn id="79" dur="500"/>
                                        <p:tgtEl>
                                          <p:spTgt spid="30"/>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4" fill="hold" grpId="0" nodeType="clickEffect">
                                  <p:stCondLst>
                                    <p:cond delay="0"/>
                                  </p:stCondLst>
                                  <p:childTnLst>
                                    <p:set>
                                      <p:cBhvr>
                                        <p:cTn id="83" dur="1" fill="hold">
                                          <p:stCondLst>
                                            <p:cond delay="0"/>
                                          </p:stCondLst>
                                        </p:cTn>
                                        <p:tgtEl>
                                          <p:spTgt spid="15"/>
                                        </p:tgtEl>
                                        <p:attrNameLst>
                                          <p:attrName>style.visibility</p:attrName>
                                        </p:attrNameLst>
                                      </p:cBhvr>
                                      <p:to>
                                        <p:strVal val="visible"/>
                                      </p:to>
                                    </p:set>
                                    <p:animEffect transition="in" filter="wipe(down)">
                                      <p:cBhvr>
                                        <p:cTn id="84" dur="2000"/>
                                        <p:tgtEl>
                                          <p:spTgt spid="15"/>
                                        </p:tgtEl>
                                      </p:cBhvr>
                                    </p:animEffect>
                                  </p:childTnLst>
                                </p:cTn>
                              </p:par>
                            </p:childTnLst>
                          </p:cTn>
                        </p:par>
                        <p:par>
                          <p:cTn id="85" fill="hold">
                            <p:stCondLst>
                              <p:cond delay="2000"/>
                            </p:stCondLst>
                            <p:childTnLst>
                              <p:par>
                                <p:cTn id="86" presetID="22" presetClass="entr" presetSubtype="8" fill="hold" grpId="0" nodeType="afterEffect">
                                  <p:stCondLst>
                                    <p:cond delay="0"/>
                                  </p:stCondLst>
                                  <p:childTnLst>
                                    <p:set>
                                      <p:cBhvr>
                                        <p:cTn id="87" dur="1" fill="hold">
                                          <p:stCondLst>
                                            <p:cond delay="0"/>
                                          </p:stCondLst>
                                        </p:cTn>
                                        <p:tgtEl>
                                          <p:spTgt spid="18441"/>
                                        </p:tgtEl>
                                        <p:attrNameLst>
                                          <p:attrName>style.visibility</p:attrName>
                                        </p:attrNameLst>
                                      </p:cBhvr>
                                      <p:to>
                                        <p:strVal val="visible"/>
                                      </p:to>
                                    </p:set>
                                    <p:animEffect transition="in" filter="wipe(left)">
                                      <p:cBhvr>
                                        <p:cTn id="88" dur="500"/>
                                        <p:tgtEl>
                                          <p:spTgt spid="18441"/>
                                        </p:tgtEl>
                                      </p:cBhvr>
                                    </p:animEffect>
                                  </p:childTnLst>
                                </p:cTn>
                              </p:par>
                              <p:par>
                                <p:cTn id="89" presetID="22" presetClass="entr" presetSubtype="8" fill="hold" nodeType="withEffect">
                                  <p:stCondLst>
                                    <p:cond delay="0"/>
                                  </p:stCondLst>
                                  <p:childTnLst>
                                    <p:set>
                                      <p:cBhvr>
                                        <p:cTn id="90" dur="1" fill="hold">
                                          <p:stCondLst>
                                            <p:cond delay="0"/>
                                          </p:stCondLst>
                                        </p:cTn>
                                        <p:tgtEl>
                                          <p:spTgt spid="3"/>
                                        </p:tgtEl>
                                        <p:attrNameLst>
                                          <p:attrName>style.visibility</p:attrName>
                                        </p:attrNameLst>
                                      </p:cBhvr>
                                      <p:to>
                                        <p:strVal val="visible"/>
                                      </p:to>
                                    </p:set>
                                    <p:animEffect transition="in" filter="wipe(left)">
                                      <p:cBhvr>
                                        <p:cTn id="91" dur="500"/>
                                        <p:tgtEl>
                                          <p:spTgt spid="3"/>
                                        </p:tgtEl>
                                      </p:cBhvr>
                                    </p:animEffect>
                                  </p:childTnLst>
                                </p:cTn>
                              </p:par>
                            </p:childTnLst>
                          </p:cTn>
                        </p:par>
                      </p:childTnLst>
                    </p:cTn>
                  </p:par>
                  <p:par>
                    <p:cTn id="92" fill="hold">
                      <p:stCondLst>
                        <p:cond delay="indefinite"/>
                      </p:stCondLst>
                      <p:childTnLst>
                        <p:par>
                          <p:cTn id="93" fill="hold">
                            <p:stCondLst>
                              <p:cond delay="0"/>
                            </p:stCondLst>
                            <p:childTnLst>
                              <p:par>
                                <p:cTn id="94" presetID="22" presetClass="entr" presetSubtype="8" fill="hold" nodeType="clickEffect">
                                  <p:stCondLst>
                                    <p:cond delay="0"/>
                                  </p:stCondLst>
                                  <p:childTnLst>
                                    <p:set>
                                      <p:cBhvr>
                                        <p:cTn id="95" dur="1" fill="hold">
                                          <p:stCondLst>
                                            <p:cond delay="0"/>
                                          </p:stCondLst>
                                        </p:cTn>
                                        <p:tgtEl>
                                          <p:spTgt spid="26"/>
                                        </p:tgtEl>
                                        <p:attrNameLst>
                                          <p:attrName>style.visibility</p:attrName>
                                        </p:attrNameLst>
                                      </p:cBhvr>
                                      <p:to>
                                        <p:strVal val="visible"/>
                                      </p:to>
                                    </p:set>
                                    <p:animEffect transition="in" filter="wipe(left)">
                                      <p:cBhvr>
                                        <p:cTn id="96" dur="500"/>
                                        <p:tgtEl>
                                          <p:spTgt spid="26"/>
                                        </p:tgtEl>
                                      </p:cBhvr>
                                    </p:animEffect>
                                  </p:childTnLst>
                                </p:cTn>
                              </p:par>
                            </p:childTnLst>
                          </p:cTn>
                        </p:par>
                      </p:childTnLst>
                    </p:cTn>
                  </p:par>
                  <p:par>
                    <p:cTn id="97" fill="hold">
                      <p:stCondLst>
                        <p:cond delay="indefinite"/>
                      </p:stCondLst>
                      <p:childTnLst>
                        <p:par>
                          <p:cTn id="98" fill="hold">
                            <p:stCondLst>
                              <p:cond delay="0"/>
                            </p:stCondLst>
                            <p:childTnLst>
                              <p:par>
                                <p:cTn id="99" presetID="22" presetClass="entr" presetSubtype="4" fill="hold" nodeType="clickEffect">
                                  <p:stCondLst>
                                    <p:cond delay="0"/>
                                  </p:stCondLst>
                                  <p:childTnLst>
                                    <p:set>
                                      <p:cBhvr>
                                        <p:cTn id="100" dur="1" fill="hold">
                                          <p:stCondLst>
                                            <p:cond delay="0"/>
                                          </p:stCondLst>
                                        </p:cTn>
                                        <p:tgtEl>
                                          <p:spTgt spid="27"/>
                                        </p:tgtEl>
                                        <p:attrNameLst>
                                          <p:attrName>style.visibility</p:attrName>
                                        </p:attrNameLst>
                                      </p:cBhvr>
                                      <p:to>
                                        <p:strVal val="visible"/>
                                      </p:to>
                                    </p:set>
                                    <p:animEffect transition="in" filter="wipe(down)">
                                      <p:cBhvr>
                                        <p:cTn id="101"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434" grpId="0" animBg="1"/>
      <p:bldP spid="2" grpId="0" animBg="1"/>
      <p:bldP spid="18439" grpId="0"/>
      <p:bldP spid="14" grpId="0" animBg="1"/>
      <p:bldP spid="18440" grpId="0"/>
      <p:bldP spid="15" grpId="0" animBg="1"/>
      <p:bldP spid="18441" grpId="0"/>
      <p:bldP spid="4" grpId="0" animBg="1"/>
      <p:bldP spid="28" grpId="0" animBg="1"/>
      <p:bldP spid="30" grpId="0"/>
      <p:bldP spid="8" grpId="0" animBg="1"/>
      <p:bldP spid="11"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Freeform 2"/>
          <p:cNvSpPr>
            <a:spLocks/>
          </p:cNvSpPr>
          <p:nvPr/>
        </p:nvSpPr>
        <p:spPr bwMode="auto">
          <a:xfrm>
            <a:off x="762000" y="5029200"/>
            <a:ext cx="3429000" cy="1676400"/>
          </a:xfrm>
          <a:custGeom>
            <a:avLst/>
            <a:gdLst>
              <a:gd name="T0" fmla="*/ 0 w 3120"/>
              <a:gd name="T1" fmla="*/ 2147483647 h 2640"/>
              <a:gd name="T2" fmla="*/ 2147483647 w 3120"/>
              <a:gd name="T3" fmla="*/ 2147483647 h 2640"/>
              <a:gd name="T4" fmla="*/ 2147483647 w 3120"/>
              <a:gd name="T5" fmla="*/ 2147483647 h 2640"/>
              <a:gd name="T6" fmla="*/ 2147483647 w 3120"/>
              <a:gd name="T7" fmla="*/ 0 h 2640"/>
              <a:gd name="T8" fmla="*/ 0 60000 65536"/>
              <a:gd name="T9" fmla="*/ 0 60000 65536"/>
              <a:gd name="T10" fmla="*/ 0 60000 65536"/>
              <a:gd name="T11" fmla="*/ 0 60000 65536"/>
              <a:gd name="T12" fmla="*/ 0 w 3120"/>
              <a:gd name="T13" fmla="*/ 0 h 2640"/>
              <a:gd name="T14" fmla="*/ 3120 w 3120"/>
              <a:gd name="T15" fmla="*/ 2640 h 2640"/>
            </a:gdLst>
            <a:ahLst/>
            <a:cxnLst>
              <a:cxn ang="T8">
                <a:pos x="T0" y="T1"/>
              </a:cxn>
              <a:cxn ang="T9">
                <a:pos x="T2" y="T3"/>
              </a:cxn>
              <a:cxn ang="T10">
                <a:pos x="T4" y="T5"/>
              </a:cxn>
              <a:cxn ang="T11">
                <a:pos x="T6" y="T7"/>
              </a:cxn>
            </a:cxnLst>
            <a:rect l="T12" t="T13" r="T14" b="T15"/>
            <a:pathLst>
              <a:path w="3120" h="2640">
                <a:moveTo>
                  <a:pt x="0" y="2640"/>
                </a:moveTo>
                <a:cubicBezTo>
                  <a:pt x="468" y="2552"/>
                  <a:pt x="936" y="2464"/>
                  <a:pt x="1248" y="2112"/>
                </a:cubicBezTo>
                <a:cubicBezTo>
                  <a:pt x="1560" y="1760"/>
                  <a:pt x="1560" y="880"/>
                  <a:pt x="1872" y="528"/>
                </a:cubicBezTo>
                <a:cubicBezTo>
                  <a:pt x="2184" y="176"/>
                  <a:pt x="2912" y="88"/>
                  <a:pt x="3120" y="0"/>
                </a:cubicBezTo>
              </a:path>
            </a:pathLst>
          </a:custGeom>
          <a:noFill/>
          <a:ln w="5080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prstClr val="black"/>
              </a:solidFill>
              <a:effectLst/>
              <a:uLnTx/>
              <a:uFillTx/>
              <a:latin typeface="AngsanaUPC" pitchFamily="18" charset="-34"/>
              <a:ea typeface="+mn-ea"/>
              <a:cs typeface="AngsanaUPC" pitchFamily="18" charset="-34"/>
            </a:endParaRPr>
          </a:p>
        </p:txBody>
      </p:sp>
      <p:sp>
        <p:nvSpPr>
          <p:cNvPr id="21507" name="Freeform 3"/>
          <p:cNvSpPr>
            <a:spLocks/>
          </p:cNvSpPr>
          <p:nvPr/>
        </p:nvSpPr>
        <p:spPr bwMode="auto">
          <a:xfrm>
            <a:off x="2819400" y="990600"/>
            <a:ext cx="3429000" cy="3505200"/>
          </a:xfrm>
          <a:custGeom>
            <a:avLst/>
            <a:gdLst>
              <a:gd name="T0" fmla="*/ 0 w 3120"/>
              <a:gd name="T1" fmla="*/ 2147483647 h 2640"/>
              <a:gd name="T2" fmla="*/ 2147483647 w 3120"/>
              <a:gd name="T3" fmla="*/ 2147483647 h 2640"/>
              <a:gd name="T4" fmla="*/ 2147483647 w 3120"/>
              <a:gd name="T5" fmla="*/ 2147483647 h 2640"/>
              <a:gd name="T6" fmla="*/ 2147483647 w 3120"/>
              <a:gd name="T7" fmla="*/ 0 h 2640"/>
              <a:gd name="T8" fmla="*/ 0 60000 65536"/>
              <a:gd name="T9" fmla="*/ 0 60000 65536"/>
              <a:gd name="T10" fmla="*/ 0 60000 65536"/>
              <a:gd name="T11" fmla="*/ 0 60000 65536"/>
              <a:gd name="T12" fmla="*/ 0 w 3120"/>
              <a:gd name="T13" fmla="*/ 0 h 2640"/>
              <a:gd name="T14" fmla="*/ 3120 w 3120"/>
              <a:gd name="T15" fmla="*/ 2640 h 2640"/>
            </a:gdLst>
            <a:ahLst/>
            <a:cxnLst>
              <a:cxn ang="T8">
                <a:pos x="T0" y="T1"/>
              </a:cxn>
              <a:cxn ang="T9">
                <a:pos x="T2" y="T3"/>
              </a:cxn>
              <a:cxn ang="T10">
                <a:pos x="T4" y="T5"/>
              </a:cxn>
              <a:cxn ang="T11">
                <a:pos x="T6" y="T7"/>
              </a:cxn>
            </a:cxnLst>
            <a:rect l="T12" t="T13" r="T14" b="T15"/>
            <a:pathLst>
              <a:path w="3120" h="2640">
                <a:moveTo>
                  <a:pt x="0" y="2640"/>
                </a:moveTo>
                <a:cubicBezTo>
                  <a:pt x="468" y="2552"/>
                  <a:pt x="936" y="2464"/>
                  <a:pt x="1248" y="2112"/>
                </a:cubicBezTo>
                <a:cubicBezTo>
                  <a:pt x="1560" y="1760"/>
                  <a:pt x="1560" y="880"/>
                  <a:pt x="1872" y="528"/>
                </a:cubicBezTo>
                <a:cubicBezTo>
                  <a:pt x="2184" y="176"/>
                  <a:pt x="2912" y="88"/>
                  <a:pt x="3120" y="0"/>
                </a:cubicBezTo>
              </a:path>
            </a:pathLst>
          </a:custGeom>
          <a:noFill/>
          <a:ln w="50800">
            <a:solidFill>
              <a:schemeClr val="accent6"/>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prstClr val="black"/>
              </a:solidFill>
              <a:effectLst/>
              <a:uLnTx/>
              <a:uFillTx/>
              <a:latin typeface="AngsanaUPC" pitchFamily="18" charset="-34"/>
              <a:ea typeface="+mn-ea"/>
              <a:cs typeface="AngsanaUPC" pitchFamily="18" charset="-34"/>
            </a:endParaRPr>
          </a:p>
        </p:txBody>
      </p:sp>
      <p:sp>
        <p:nvSpPr>
          <p:cNvPr id="21508" name="Freeform 4"/>
          <p:cNvSpPr>
            <a:spLocks/>
          </p:cNvSpPr>
          <p:nvPr/>
        </p:nvSpPr>
        <p:spPr bwMode="auto">
          <a:xfrm>
            <a:off x="838200" y="4953000"/>
            <a:ext cx="7696200" cy="1752600"/>
          </a:xfrm>
          <a:custGeom>
            <a:avLst/>
            <a:gdLst>
              <a:gd name="T0" fmla="*/ 0 w 3120"/>
              <a:gd name="T1" fmla="*/ 2147483647 h 2640"/>
              <a:gd name="T2" fmla="*/ 2147483647 w 3120"/>
              <a:gd name="T3" fmla="*/ 2147483647 h 2640"/>
              <a:gd name="T4" fmla="*/ 2147483647 w 3120"/>
              <a:gd name="T5" fmla="*/ 2147483647 h 2640"/>
              <a:gd name="T6" fmla="*/ 2147483647 w 3120"/>
              <a:gd name="T7" fmla="*/ 0 h 2640"/>
              <a:gd name="T8" fmla="*/ 0 60000 65536"/>
              <a:gd name="T9" fmla="*/ 0 60000 65536"/>
              <a:gd name="T10" fmla="*/ 0 60000 65536"/>
              <a:gd name="T11" fmla="*/ 0 60000 65536"/>
              <a:gd name="T12" fmla="*/ 0 w 3120"/>
              <a:gd name="T13" fmla="*/ 0 h 2640"/>
              <a:gd name="T14" fmla="*/ 3120 w 3120"/>
              <a:gd name="T15" fmla="*/ 2640 h 2640"/>
            </a:gdLst>
            <a:ahLst/>
            <a:cxnLst>
              <a:cxn ang="T8">
                <a:pos x="T0" y="T1"/>
              </a:cxn>
              <a:cxn ang="T9">
                <a:pos x="T2" y="T3"/>
              </a:cxn>
              <a:cxn ang="T10">
                <a:pos x="T4" y="T5"/>
              </a:cxn>
              <a:cxn ang="T11">
                <a:pos x="T6" y="T7"/>
              </a:cxn>
            </a:cxnLst>
            <a:rect l="T12" t="T13" r="T14" b="T15"/>
            <a:pathLst>
              <a:path w="3120" h="2640">
                <a:moveTo>
                  <a:pt x="0" y="2640"/>
                </a:moveTo>
                <a:cubicBezTo>
                  <a:pt x="468" y="2552"/>
                  <a:pt x="936" y="2464"/>
                  <a:pt x="1248" y="2112"/>
                </a:cubicBezTo>
                <a:cubicBezTo>
                  <a:pt x="1560" y="1760"/>
                  <a:pt x="1560" y="880"/>
                  <a:pt x="1872" y="528"/>
                </a:cubicBezTo>
                <a:cubicBezTo>
                  <a:pt x="2184" y="176"/>
                  <a:pt x="2912" y="88"/>
                  <a:pt x="3120" y="0"/>
                </a:cubicBezTo>
              </a:path>
            </a:pathLst>
          </a:custGeom>
          <a:noFill/>
          <a:ln w="9525">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prstClr val="black"/>
              </a:solidFill>
              <a:effectLst/>
              <a:uLnTx/>
              <a:uFillTx/>
              <a:latin typeface="AngsanaUPC" pitchFamily="18" charset="-34"/>
              <a:ea typeface="+mn-ea"/>
              <a:cs typeface="AngsanaUPC" pitchFamily="18" charset="-34"/>
            </a:endParaRPr>
          </a:p>
        </p:txBody>
      </p:sp>
      <p:sp>
        <p:nvSpPr>
          <p:cNvPr id="21509" name="Text Box 5"/>
          <p:cNvSpPr txBox="1">
            <a:spLocks noChangeArrowheads="1"/>
          </p:cNvSpPr>
          <p:nvPr/>
        </p:nvSpPr>
        <p:spPr bwMode="auto">
          <a:xfrm>
            <a:off x="6783388" y="5516563"/>
            <a:ext cx="2065337"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a:solidFill>
                  <a:schemeClr val="tx1"/>
                </a:solidFill>
                <a:latin typeface="Arial" pitchFamily="34" charset="0"/>
                <a:cs typeface="Angsana New" pitchFamily="18" charset="-34"/>
              </a:defRPr>
            </a:lvl1pPr>
            <a:lvl2pPr marL="742950" indent="-285750" eaLnBrk="0" hangingPunct="0">
              <a:defRPr sz="2800">
                <a:solidFill>
                  <a:schemeClr val="tx1"/>
                </a:solidFill>
                <a:latin typeface="Arial" pitchFamily="34" charset="0"/>
                <a:cs typeface="Angsana New" pitchFamily="18" charset="-34"/>
              </a:defRPr>
            </a:lvl2pPr>
            <a:lvl3pPr marL="1143000" indent="-228600" eaLnBrk="0" hangingPunct="0">
              <a:defRPr sz="2800">
                <a:solidFill>
                  <a:schemeClr val="tx1"/>
                </a:solidFill>
                <a:latin typeface="Arial" pitchFamily="34" charset="0"/>
                <a:cs typeface="Angsana New" pitchFamily="18" charset="-34"/>
              </a:defRPr>
            </a:lvl3pPr>
            <a:lvl4pPr marL="1600200" indent="-228600" eaLnBrk="0" hangingPunct="0">
              <a:defRPr sz="2800">
                <a:solidFill>
                  <a:schemeClr val="tx1"/>
                </a:solidFill>
                <a:latin typeface="Arial" pitchFamily="34" charset="0"/>
                <a:cs typeface="Angsana New" pitchFamily="18" charset="-34"/>
              </a:defRPr>
            </a:lvl4pPr>
            <a:lvl5pPr marL="2057400" indent="-228600" eaLnBrk="0" hangingPunct="0">
              <a:defRPr sz="2800">
                <a:solidFill>
                  <a:schemeClr val="tx1"/>
                </a:solidFill>
                <a:latin typeface="Arial" pitchFamily="34" charset="0"/>
                <a:cs typeface="Angsana New" pitchFamily="18" charset="-34"/>
              </a:defRPr>
            </a:lvl5pPr>
            <a:lvl6pPr marL="2514600" indent="-228600" eaLnBrk="0" fontAlgn="base" hangingPunct="0">
              <a:spcBef>
                <a:spcPct val="0"/>
              </a:spcBef>
              <a:spcAft>
                <a:spcPct val="0"/>
              </a:spcAft>
              <a:defRPr sz="2800">
                <a:solidFill>
                  <a:schemeClr val="tx1"/>
                </a:solidFill>
                <a:latin typeface="Arial" pitchFamily="34" charset="0"/>
                <a:cs typeface="Angsana New" pitchFamily="18" charset="-34"/>
              </a:defRPr>
            </a:lvl6pPr>
            <a:lvl7pPr marL="2971800" indent="-228600" eaLnBrk="0" fontAlgn="base" hangingPunct="0">
              <a:spcBef>
                <a:spcPct val="0"/>
              </a:spcBef>
              <a:spcAft>
                <a:spcPct val="0"/>
              </a:spcAft>
              <a:defRPr sz="2800">
                <a:solidFill>
                  <a:schemeClr val="tx1"/>
                </a:solidFill>
                <a:latin typeface="Arial" pitchFamily="34" charset="0"/>
                <a:cs typeface="Angsana New" pitchFamily="18" charset="-34"/>
              </a:defRPr>
            </a:lvl7pPr>
            <a:lvl8pPr marL="3429000" indent="-228600" eaLnBrk="0" fontAlgn="base" hangingPunct="0">
              <a:spcBef>
                <a:spcPct val="0"/>
              </a:spcBef>
              <a:spcAft>
                <a:spcPct val="0"/>
              </a:spcAft>
              <a:defRPr sz="2800">
                <a:solidFill>
                  <a:schemeClr val="tx1"/>
                </a:solidFill>
                <a:latin typeface="Arial" pitchFamily="34" charset="0"/>
                <a:cs typeface="Angsana New" pitchFamily="18" charset="-34"/>
              </a:defRPr>
            </a:lvl8pPr>
            <a:lvl9pPr marL="3886200" indent="-228600" eaLnBrk="0" fontAlgn="base" hangingPunct="0">
              <a:spcBef>
                <a:spcPct val="0"/>
              </a:spcBef>
              <a:spcAft>
                <a:spcPct val="0"/>
              </a:spcAft>
              <a:defRPr sz="2800">
                <a:solidFill>
                  <a:schemeClr val="tx1"/>
                </a:solidFill>
                <a:latin typeface="Arial" pitchFamily="34" charset="0"/>
                <a:cs typeface="Angsana New" pitchFamily="18" charset="-34"/>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h-TH" sz="2800" b="1" i="0" u="none" strike="noStrike" kern="1200" cap="none" spc="0" normalizeH="0" baseline="0" noProof="0" dirty="0">
                <a:ln>
                  <a:noFill/>
                </a:ln>
                <a:solidFill>
                  <a:prstClr val="black"/>
                </a:solidFill>
                <a:effectLst/>
                <a:uLnTx/>
                <a:uFillTx/>
                <a:latin typeface="BrowalliaUPC" pitchFamily="34" charset="-34"/>
                <a:ea typeface="+mn-ea"/>
                <a:cs typeface="BrowalliaUPC" pitchFamily="34" charset="-34"/>
              </a:rPr>
              <a:t>ผู้บริหาร ผู้จัดการ</a:t>
            </a:r>
            <a:endParaRPr kumimoji="0" lang="en-US" sz="2800" b="1" i="0" u="none" strike="noStrike" kern="1200" cap="none" spc="0" normalizeH="0" baseline="0" noProof="0" dirty="0">
              <a:ln>
                <a:noFill/>
              </a:ln>
              <a:solidFill>
                <a:prstClr val="black"/>
              </a:solidFill>
              <a:effectLst/>
              <a:uLnTx/>
              <a:uFillTx/>
              <a:latin typeface="BrowalliaUPC" pitchFamily="34" charset="-34"/>
              <a:ea typeface="+mn-ea"/>
              <a:cs typeface="BrowalliaUPC" pitchFamily="34" charset="-34"/>
            </a:endParaRPr>
          </a:p>
        </p:txBody>
      </p:sp>
      <p:sp>
        <p:nvSpPr>
          <p:cNvPr id="21510" name="Text Box 6"/>
          <p:cNvSpPr txBox="1">
            <a:spLocks noChangeArrowheads="1"/>
          </p:cNvSpPr>
          <p:nvPr/>
        </p:nvSpPr>
        <p:spPr bwMode="auto">
          <a:xfrm>
            <a:off x="6461125" y="76200"/>
            <a:ext cx="65881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a:solidFill>
                  <a:schemeClr val="tx1"/>
                </a:solidFill>
                <a:latin typeface="Arial" pitchFamily="34" charset="0"/>
                <a:cs typeface="Angsana New" pitchFamily="18" charset="-34"/>
              </a:defRPr>
            </a:lvl1pPr>
            <a:lvl2pPr marL="742950" indent="-285750" eaLnBrk="0" hangingPunct="0">
              <a:defRPr sz="2800">
                <a:solidFill>
                  <a:schemeClr val="tx1"/>
                </a:solidFill>
                <a:latin typeface="Arial" pitchFamily="34" charset="0"/>
                <a:cs typeface="Angsana New" pitchFamily="18" charset="-34"/>
              </a:defRPr>
            </a:lvl2pPr>
            <a:lvl3pPr marL="1143000" indent="-228600" eaLnBrk="0" hangingPunct="0">
              <a:defRPr sz="2800">
                <a:solidFill>
                  <a:schemeClr val="tx1"/>
                </a:solidFill>
                <a:latin typeface="Arial" pitchFamily="34" charset="0"/>
                <a:cs typeface="Angsana New" pitchFamily="18" charset="-34"/>
              </a:defRPr>
            </a:lvl3pPr>
            <a:lvl4pPr marL="1600200" indent="-228600" eaLnBrk="0" hangingPunct="0">
              <a:defRPr sz="2800">
                <a:solidFill>
                  <a:schemeClr val="tx1"/>
                </a:solidFill>
                <a:latin typeface="Arial" pitchFamily="34" charset="0"/>
                <a:cs typeface="Angsana New" pitchFamily="18" charset="-34"/>
              </a:defRPr>
            </a:lvl4pPr>
            <a:lvl5pPr marL="2057400" indent="-228600" eaLnBrk="0" hangingPunct="0">
              <a:defRPr sz="2800">
                <a:solidFill>
                  <a:schemeClr val="tx1"/>
                </a:solidFill>
                <a:latin typeface="Arial" pitchFamily="34" charset="0"/>
                <a:cs typeface="Angsana New" pitchFamily="18" charset="-34"/>
              </a:defRPr>
            </a:lvl5pPr>
            <a:lvl6pPr marL="2514600" indent="-228600" eaLnBrk="0" fontAlgn="base" hangingPunct="0">
              <a:spcBef>
                <a:spcPct val="0"/>
              </a:spcBef>
              <a:spcAft>
                <a:spcPct val="0"/>
              </a:spcAft>
              <a:defRPr sz="2800">
                <a:solidFill>
                  <a:schemeClr val="tx1"/>
                </a:solidFill>
                <a:latin typeface="Arial" pitchFamily="34" charset="0"/>
                <a:cs typeface="Angsana New" pitchFamily="18" charset="-34"/>
              </a:defRPr>
            </a:lvl6pPr>
            <a:lvl7pPr marL="2971800" indent="-228600" eaLnBrk="0" fontAlgn="base" hangingPunct="0">
              <a:spcBef>
                <a:spcPct val="0"/>
              </a:spcBef>
              <a:spcAft>
                <a:spcPct val="0"/>
              </a:spcAft>
              <a:defRPr sz="2800">
                <a:solidFill>
                  <a:schemeClr val="tx1"/>
                </a:solidFill>
                <a:latin typeface="Arial" pitchFamily="34" charset="0"/>
                <a:cs typeface="Angsana New" pitchFamily="18" charset="-34"/>
              </a:defRPr>
            </a:lvl7pPr>
            <a:lvl8pPr marL="3429000" indent="-228600" eaLnBrk="0" fontAlgn="base" hangingPunct="0">
              <a:spcBef>
                <a:spcPct val="0"/>
              </a:spcBef>
              <a:spcAft>
                <a:spcPct val="0"/>
              </a:spcAft>
              <a:defRPr sz="2800">
                <a:solidFill>
                  <a:schemeClr val="tx1"/>
                </a:solidFill>
                <a:latin typeface="Arial" pitchFamily="34" charset="0"/>
                <a:cs typeface="Angsana New" pitchFamily="18" charset="-34"/>
              </a:defRPr>
            </a:lvl8pPr>
            <a:lvl9pPr marL="3886200" indent="-228600" eaLnBrk="0" fontAlgn="base" hangingPunct="0">
              <a:spcBef>
                <a:spcPct val="0"/>
              </a:spcBef>
              <a:spcAft>
                <a:spcPct val="0"/>
              </a:spcAft>
              <a:defRPr sz="2800">
                <a:solidFill>
                  <a:schemeClr val="tx1"/>
                </a:solidFill>
                <a:latin typeface="Arial" pitchFamily="34" charset="0"/>
                <a:cs typeface="Angsana New" pitchFamily="18" charset="-34"/>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h-TH" sz="2800" b="1" i="0" u="none" strike="noStrike" kern="1200" cap="none" spc="0" normalizeH="0" baseline="0" noProof="0">
                <a:ln>
                  <a:noFill/>
                </a:ln>
                <a:solidFill>
                  <a:prstClr val="black"/>
                </a:solidFill>
                <a:effectLst/>
                <a:uLnTx/>
                <a:uFillTx/>
                <a:latin typeface="BrowalliaUPC" pitchFamily="34" charset="-34"/>
                <a:ea typeface="+mn-ea"/>
                <a:cs typeface="BrowalliaUPC" pitchFamily="34" charset="-34"/>
              </a:rPr>
              <a:t>ผู้นำ</a:t>
            </a:r>
            <a:endParaRPr kumimoji="0" lang="en-US" sz="2800" b="1" i="0" u="none" strike="noStrike" kern="1200" cap="none" spc="0" normalizeH="0" baseline="0" noProof="0">
              <a:ln>
                <a:noFill/>
              </a:ln>
              <a:solidFill>
                <a:prstClr val="black"/>
              </a:solidFill>
              <a:effectLst/>
              <a:uLnTx/>
              <a:uFillTx/>
              <a:latin typeface="BrowalliaUPC" pitchFamily="34" charset="-34"/>
              <a:ea typeface="+mn-ea"/>
              <a:cs typeface="BrowalliaUPC" pitchFamily="34" charset="-34"/>
            </a:endParaRPr>
          </a:p>
        </p:txBody>
      </p:sp>
      <p:sp>
        <p:nvSpPr>
          <p:cNvPr id="21511" name="Freeform 7"/>
          <p:cNvSpPr>
            <a:spLocks/>
          </p:cNvSpPr>
          <p:nvPr/>
        </p:nvSpPr>
        <p:spPr bwMode="auto">
          <a:xfrm>
            <a:off x="1939740" y="2933700"/>
            <a:ext cx="3429000" cy="2895600"/>
          </a:xfrm>
          <a:custGeom>
            <a:avLst/>
            <a:gdLst>
              <a:gd name="T0" fmla="*/ 0 w 3120"/>
              <a:gd name="T1" fmla="*/ 2147483647 h 2640"/>
              <a:gd name="T2" fmla="*/ 2147483647 w 3120"/>
              <a:gd name="T3" fmla="*/ 2147483647 h 2640"/>
              <a:gd name="T4" fmla="*/ 2147483647 w 3120"/>
              <a:gd name="T5" fmla="*/ 2147483647 h 2640"/>
              <a:gd name="T6" fmla="*/ 2147483647 w 3120"/>
              <a:gd name="T7" fmla="*/ 0 h 2640"/>
              <a:gd name="T8" fmla="*/ 0 60000 65536"/>
              <a:gd name="T9" fmla="*/ 0 60000 65536"/>
              <a:gd name="T10" fmla="*/ 0 60000 65536"/>
              <a:gd name="T11" fmla="*/ 0 60000 65536"/>
              <a:gd name="T12" fmla="*/ 0 w 3120"/>
              <a:gd name="T13" fmla="*/ 0 h 2640"/>
              <a:gd name="T14" fmla="*/ 3120 w 3120"/>
              <a:gd name="T15" fmla="*/ 2640 h 2640"/>
            </a:gdLst>
            <a:ahLst/>
            <a:cxnLst>
              <a:cxn ang="T8">
                <a:pos x="T0" y="T1"/>
              </a:cxn>
              <a:cxn ang="T9">
                <a:pos x="T2" y="T3"/>
              </a:cxn>
              <a:cxn ang="T10">
                <a:pos x="T4" y="T5"/>
              </a:cxn>
              <a:cxn ang="T11">
                <a:pos x="T6" y="T7"/>
              </a:cxn>
            </a:cxnLst>
            <a:rect l="T12" t="T13" r="T14" b="T15"/>
            <a:pathLst>
              <a:path w="3120" h="2640">
                <a:moveTo>
                  <a:pt x="0" y="2640"/>
                </a:moveTo>
                <a:cubicBezTo>
                  <a:pt x="468" y="2552"/>
                  <a:pt x="936" y="2464"/>
                  <a:pt x="1248" y="2112"/>
                </a:cubicBezTo>
                <a:cubicBezTo>
                  <a:pt x="1560" y="1760"/>
                  <a:pt x="1560" y="880"/>
                  <a:pt x="1872" y="528"/>
                </a:cubicBezTo>
                <a:cubicBezTo>
                  <a:pt x="2184" y="176"/>
                  <a:pt x="2912" y="88"/>
                  <a:pt x="3120" y="0"/>
                </a:cubicBezTo>
              </a:path>
            </a:pathLst>
          </a:custGeom>
          <a:noFill/>
          <a:ln w="50800">
            <a:solidFill>
              <a:srgbClr val="0000FF"/>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prstClr val="black"/>
              </a:solidFill>
              <a:effectLst/>
              <a:uLnTx/>
              <a:uFillTx/>
              <a:latin typeface="AngsanaUPC" pitchFamily="18" charset="-34"/>
              <a:ea typeface="+mn-ea"/>
              <a:cs typeface="AngsanaUPC" pitchFamily="18" charset="-34"/>
            </a:endParaRPr>
          </a:p>
        </p:txBody>
      </p:sp>
      <p:sp>
        <p:nvSpPr>
          <p:cNvPr id="21512" name="Freeform 8"/>
          <p:cNvSpPr>
            <a:spLocks/>
          </p:cNvSpPr>
          <p:nvPr/>
        </p:nvSpPr>
        <p:spPr bwMode="auto">
          <a:xfrm>
            <a:off x="762000" y="5029200"/>
            <a:ext cx="5181600" cy="1676400"/>
          </a:xfrm>
          <a:custGeom>
            <a:avLst/>
            <a:gdLst>
              <a:gd name="T0" fmla="*/ 0 w 3120"/>
              <a:gd name="T1" fmla="*/ 2147483647 h 2640"/>
              <a:gd name="T2" fmla="*/ 2147483647 w 3120"/>
              <a:gd name="T3" fmla="*/ 2147483647 h 2640"/>
              <a:gd name="T4" fmla="*/ 2147483647 w 3120"/>
              <a:gd name="T5" fmla="*/ 2147483647 h 2640"/>
              <a:gd name="T6" fmla="*/ 2147483647 w 3120"/>
              <a:gd name="T7" fmla="*/ 0 h 2640"/>
              <a:gd name="T8" fmla="*/ 0 60000 65536"/>
              <a:gd name="T9" fmla="*/ 0 60000 65536"/>
              <a:gd name="T10" fmla="*/ 0 60000 65536"/>
              <a:gd name="T11" fmla="*/ 0 60000 65536"/>
              <a:gd name="T12" fmla="*/ 0 w 3120"/>
              <a:gd name="T13" fmla="*/ 0 h 2640"/>
              <a:gd name="T14" fmla="*/ 3120 w 3120"/>
              <a:gd name="T15" fmla="*/ 2640 h 2640"/>
            </a:gdLst>
            <a:ahLst/>
            <a:cxnLst>
              <a:cxn ang="T8">
                <a:pos x="T0" y="T1"/>
              </a:cxn>
              <a:cxn ang="T9">
                <a:pos x="T2" y="T3"/>
              </a:cxn>
              <a:cxn ang="T10">
                <a:pos x="T4" y="T5"/>
              </a:cxn>
              <a:cxn ang="T11">
                <a:pos x="T6" y="T7"/>
              </a:cxn>
            </a:cxnLst>
            <a:rect l="T12" t="T13" r="T14" b="T15"/>
            <a:pathLst>
              <a:path w="3120" h="2640">
                <a:moveTo>
                  <a:pt x="0" y="2640"/>
                </a:moveTo>
                <a:cubicBezTo>
                  <a:pt x="468" y="2552"/>
                  <a:pt x="936" y="2464"/>
                  <a:pt x="1248" y="2112"/>
                </a:cubicBezTo>
                <a:cubicBezTo>
                  <a:pt x="1560" y="1760"/>
                  <a:pt x="1560" y="880"/>
                  <a:pt x="1872" y="528"/>
                </a:cubicBezTo>
                <a:cubicBezTo>
                  <a:pt x="2184" y="176"/>
                  <a:pt x="2912" y="88"/>
                  <a:pt x="3120" y="0"/>
                </a:cubicBezTo>
              </a:path>
            </a:pathLst>
          </a:custGeom>
          <a:noFill/>
          <a:ln w="19050">
            <a:solidFill>
              <a:srgbClr val="0000FF"/>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prstClr val="black"/>
              </a:solidFill>
              <a:effectLst/>
              <a:uLnTx/>
              <a:uFillTx/>
              <a:latin typeface="AngsanaUPC" pitchFamily="18" charset="-34"/>
              <a:ea typeface="+mn-ea"/>
              <a:cs typeface="AngsanaUPC" pitchFamily="18" charset="-34"/>
            </a:endParaRPr>
          </a:p>
        </p:txBody>
      </p:sp>
      <p:sp>
        <p:nvSpPr>
          <p:cNvPr id="21513" name="Freeform 9"/>
          <p:cNvSpPr>
            <a:spLocks/>
          </p:cNvSpPr>
          <p:nvPr/>
        </p:nvSpPr>
        <p:spPr bwMode="auto">
          <a:xfrm>
            <a:off x="838200" y="5715000"/>
            <a:ext cx="5029200" cy="990600"/>
          </a:xfrm>
          <a:custGeom>
            <a:avLst/>
            <a:gdLst>
              <a:gd name="T0" fmla="*/ 0 w 2784"/>
              <a:gd name="T1" fmla="*/ 2147483647 h 1536"/>
              <a:gd name="T2" fmla="*/ 2147483647 w 2784"/>
              <a:gd name="T3" fmla="*/ 2147483647 h 1536"/>
              <a:gd name="T4" fmla="*/ 2147483647 w 2784"/>
              <a:gd name="T5" fmla="*/ 2147483647 h 1536"/>
              <a:gd name="T6" fmla="*/ 2147483647 w 2784"/>
              <a:gd name="T7" fmla="*/ 2147483647 h 1536"/>
              <a:gd name="T8" fmla="*/ 0 60000 65536"/>
              <a:gd name="T9" fmla="*/ 0 60000 65536"/>
              <a:gd name="T10" fmla="*/ 0 60000 65536"/>
              <a:gd name="T11" fmla="*/ 0 60000 65536"/>
              <a:gd name="T12" fmla="*/ 0 w 2784"/>
              <a:gd name="T13" fmla="*/ 0 h 1536"/>
              <a:gd name="T14" fmla="*/ 2784 w 2784"/>
              <a:gd name="T15" fmla="*/ 1536 h 1536"/>
            </a:gdLst>
            <a:ahLst/>
            <a:cxnLst>
              <a:cxn ang="T8">
                <a:pos x="T0" y="T1"/>
              </a:cxn>
              <a:cxn ang="T9">
                <a:pos x="T2" y="T3"/>
              </a:cxn>
              <a:cxn ang="T10">
                <a:pos x="T4" y="T5"/>
              </a:cxn>
              <a:cxn ang="T11">
                <a:pos x="T6" y="T7"/>
              </a:cxn>
            </a:cxnLst>
            <a:rect l="T12" t="T13" r="T14" b="T15"/>
            <a:pathLst>
              <a:path w="2784" h="1536">
                <a:moveTo>
                  <a:pt x="0" y="1536"/>
                </a:moveTo>
                <a:cubicBezTo>
                  <a:pt x="484" y="1460"/>
                  <a:pt x="968" y="1384"/>
                  <a:pt x="1248" y="1152"/>
                </a:cubicBezTo>
                <a:cubicBezTo>
                  <a:pt x="1528" y="920"/>
                  <a:pt x="1424" y="288"/>
                  <a:pt x="1680" y="144"/>
                </a:cubicBezTo>
                <a:cubicBezTo>
                  <a:pt x="1936" y="0"/>
                  <a:pt x="2600" y="264"/>
                  <a:pt x="2784" y="288"/>
                </a:cubicBez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prstClr val="black"/>
              </a:solidFill>
              <a:effectLst/>
              <a:uLnTx/>
              <a:uFillTx/>
              <a:latin typeface="AngsanaUPC" pitchFamily="18" charset="-34"/>
              <a:ea typeface="+mn-ea"/>
              <a:cs typeface="AngsanaUPC" pitchFamily="18" charset="-34"/>
            </a:endParaRPr>
          </a:p>
        </p:txBody>
      </p:sp>
      <p:sp>
        <p:nvSpPr>
          <p:cNvPr id="21514" name="Freeform 10"/>
          <p:cNvSpPr>
            <a:spLocks/>
          </p:cNvSpPr>
          <p:nvPr/>
        </p:nvSpPr>
        <p:spPr bwMode="auto">
          <a:xfrm>
            <a:off x="3429000" y="0"/>
            <a:ext cx="2362200" cy="2514600"/>
          </a:xfrm>
          <a:custGeom>
            <a:avLst/>
            <a:gdLst>
              <a:gd name="T0" fmla="*/ 0 w 1344"/>
              <a:gd name="T1" fmla="*/ 2147483647 h 1584"/>
              <a:gd name="T2" fmla="*/ 2147483647 w 1344"/>
              <a:gd name="T3" fmla="*/ 2147483647 h 1584"/>
              <a:gd name="T4" fmla="*/ 2147483647 w 1344"/>
              <a:gd name="T5" fmla="*/ 0 h 1584"/>
              <a:gd name="T6" fmla="*/ 0 60000 65536"/>
              <a:gd name="T7" fmla="*/ 0 60000 65536"/>
              <a:gd name="T8" fmla="*/ 0 60000 65536"/>
              <a:gd name="T9" fmla="*/ 0 w 1344"/>
              <a:gd name="T10" fmla="*/ 0 h 1584"/>
              <a:gd name="T11" fmla="*/ 1344 w 1344"/>
              <a:gd name="T12" fmla="*/ 1584 h 1584"/>
            </a:gdLst>
            <a:ahLst/>
            <a:cxnLst>
              <a:cxn ang="T6">
                <a:pos x="T0" y="T1"/>
              </a:cxn>
              <a:cxn ang="T7">
                <a:pos x="T2" y="T3"/>
              </a:cxn>
              <a:cxn ang="T8">
                <a:pos x="T4" y="T5"/>
              </a:cxn>
            </a:cxnLst>
            <a:rect l="T9" t="T10" r="T11" b="T12"/>
            <a:pathLst>
              <a:path w="1344" h="1584">
                <a:moveTo>
                  <a:pt x="0" y="1584"/>
                </a:moveTo>
                <a:cubicBezTo>
                  <a:pt x="320" y="1500"/>
                  <a:pt x="640" y="1416"/>
                  <a:pt x="864" y="1152"/>
                </a:cubicBezTo>
                <a:cubicBezTo>
                  <a:pt x="1088" y="888"/>
                  <a:pt x="1216" y="444"/>
                  <a:pt x="1344" y="0"/>
                </a:cubicBezTo>
              </a:path>
            </a:pathLst>
          </a:custGeom>
          <a:noFill/>
          <a:ln w="57150">
            <a:solidFill>
              <a:srgbClr val="CC0099"/>
            </a:solidFill>
            <a:prstDash val="sysDot"/>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a:ln>
                <a:noFill/>
              </a:ln>
              <a:solidFill>
                <a:prstClr val="black"/>
              </a:solidFill>
              <a:effectLst/>
              <a:uLnTx/>
              <a:uFillTx/>
              <a:latin typeface="AngsanaUPC" pitchFamily="18" charset="-34"/>
              <a:ea typeface="+mn-ea"/>
              <a:cs typeface="AngsanaUPC" pitchFamily="18" charset="-34"/>
            </a:endParaRPr>
          </a:p>
        </p:txBody>
      </p:sp>
      <p:sp>
        <p:nvSpPr>
          <p:cNvPr id="21515" name="Text Box 11"/>
          <p:cNvSpPr txBox="1">
            <a:spLocks noChangeArrowheads="1"/>
          </p:cNvSpPr>
          <p:nvPr/>
        </p:nvSpPr>
        <p:spPr bwMode="auto">
          <a:xfrm>
            <a:off x="4195763" y="4648200"/>
            <a:ext cx="50482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a:solidFill>
                  <a:schemeClr val="tx1"/>
                </a:solidFill>
                <a:latin typeface="Arial" pitchFamily="34" charset="0"/>
                <a:cs typeface="Angsana New" pitchFamily="18" charset="-34"/>
              </a:defRPr>
            </a:lvl1pPr>
            <a:lvl2pPr marL="742950" indent="-285750" eaLnBrk="0" hangingPunct="0">
              <a:defRPr sz="2800">
                <a:solidFill>
                  <a:schemeClr val="tx1"/>
                </a:solidFill>
                <a:latin typeface="Arial" pitchFamily="34" charset="0"/>
                <a:cs typeface="Angsana New" pitchFamily="18" charset="-34"/>
              </a:defRPr>
            </a:lvl2pPr>
            <a:lvl3pPr marL="1143000" indent="-228600" eaLnBrk="0" hangingPunct="0">
              <a:defRPr sz="2800">
                <a:solidFill>
                  <a:schemeClr val="tx1"/>
                </a:solidFill>
                <a:latin typeface="Arial" pitchFamily="34" charset="0"/>
                <a:cs typeface="Angsana New" pitchFamily="18" charset="-34"/>
              </a:defRPr>
            </a:lvl3pPr>
            <a:lvl4pPr marL="1600200" indent="-228600" eaLnBrk="0" hangingPunct="0">
              <a:defRPr sz="2800">
                <a:solidFill>
                  <a:schemeClr val="tx1"/>
                </a:solidFill>
                <a:latin typeface="Arial" pitchFamily="34" charset="0"/>
                <a:cs typeface="Angsana New" pitchFamily="18" charset="-34"/>
              </a:defRPr>
            </a:lvl4pPr>
            <a:lvl5pPr marL="2057400" indent="-228600" eaLnBrk="0" hangingPunct="0">
              <a:defRPr sz="2800">
                <a:solidFill>
                  <a:schemeClr val="tx1"/>
                </a:solidFill>
                <a:latin typeface="Arial" pitchFamily="34" charset="0"/>
                <a:cs typeface="Angsana New" pitchFamily="18" charset="-34"/>
              </a:defRPr>
            </a:lvl5pPr>
            <a:lvl6pPr marL="2514600" indent="-228600" eaLnBrk="0" fontAlgn="base" hangingPunct="0">
              <a:spcBef>
                <a:spcPct val="0"/>
              </a:spcBef>
              <a:spcAft>
                <a:spcPct val="0"/>
              </a:spcAft>
              <a:defRPr sz="2800">
                <a:solidFill>
                  <a:schemeClr val="tx1"/>
                </a:solidFill>
                <a:latin typeface="Arial" pitchFamily="34" charset="0"/>
                <a:cs typeface="Angsana New" pitchFamily="18" charset="-34"/>
              </a:defRPr>
            </a:lvl6pPr>
            <a:lvl7pPr marL="2971800" indent="-228600" eaLnBrk="0" fontAlgn="base" hangingPunct="0">
              <a:spcBef>
                <a:spcPct val="0"/>
              </a:spcBef>
              <a:spcAft>
                <a:spcPct val="0"/>
              </a:spcAft>
              <a:defRPr sz="2800">
                <a:solidFill>
                  <a:schemeClr val="tx1"/>
                </a:solidFill>
                <a:latin typeface="Arial" pitchFamily="34" charset="0"/>
                <a:cs typeface="Angsana New" pitchFamily="18" charset="-34"/>
              </a:defRPr>
            </a:lvl7pPr>
            <a:lvl8pPr marL="3429000" indent="-228600" eaLnBrk="0" fontAlgn="base" hangingPunct="0">
              <a:spcBef>
                <a:spcPct val="0"/>
              </a:spcBef>
              <a:spcAft>
                <a:spcPct val="0"/>
              </a:spcAft>
              <a:defRPr sz="2800">
                <a:solidFill>
                  <a:schemeClr val="tx1"/>
                </a:solidFill>
                <a:latin typeface="Arial" pitchFamily="34" charset="0"/>
                <a:cs typeface="Angsana New" pitchFamily="18" charset="-34"/>
              </a:defRPr>
            </a:lvl8pPr>
            <a:lvl9pPr marL="3886200" indent="-228600" eaLnBrk="0" fontAlgn="base" hangingPunct="0">
              <a:spcBef>
                <a:spcPct val="0"/>
              </a:spcBef>
              <a:spcAft>
                <a:spcPct val="0"/>
              </a:spcAft>
              <a:defRPr sz="2800">
                <a:solidFill>
                  <a:schemeClr val="tx1"/>
                </a:solidFill>
                <a:latin typeface="Arial" pitchFamily="34" charset="0"/>
                <a:cs typeface="Angsana New" pitchFamily="18" charset="-34"/>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h-TH" sz="2400" b="1" i="0" u="none" strike="noStrike" kern="1200" cap="none" spc="0" normalizeH="0" baseline="0" noProof="0">
                <a:ln>
                  <a:noFill/>
                </a:ln>
                <a:solidFill>
                  <a:prstClr val="black"/>
                </a:solidFill>
                <a:effectLst/>
                <a:uLnTx/>
                <a:uFillTx/>
                <a:latin typeface="BrowalliaUPC" pitchFamily="34" charset="-34"/>
                <a:ea typeface="+mn-ea"/>
                <a:cs typeface="BrowalliaUPC" pitchFamily="34" charset="-34"/>
              </a:rPr>
              <a:t>เก่ง</a:t>
            </a:r>
            <a:endParaRPr kumimoji="0" lang="en-US" sz="2400" b="1" i="0" u="none" strike="noStrike" kern="1200" cap="none" spc="0" normalizeH="0" baseline="0" noProof="0">
              <a:ln>
                <a:noFill/>
              </a:ln>
              <a:solidFill>
                <a:prstClr val="black"/>
              </a:solidFill>
              <a:effectLst/>
              <a:uLnTx/>
              <a:uFillTx/>
              <a:latin typeface="BrowalliaUPC" pitchFamily="34" charset="-34"/>
              <a:ea typeface="+mn-ea"/>
              <a:cs typeface="BrowalliaUPC" pitchFamily="34" charset="-34"/>
            </a:endParaRPr>
          </a:p>
        </p:txBody>
      </p:sp>
      <p:sp>
        <p:nvSpPr>
          <p:cNvPr id="21516" name="Text Box 12"/>
          <p:cNvSpPr txBox="1">
            <a:spLocks noChangeArrowheads="1"/>
          </p:cNvSpPr>
          <p:nvPr/>
        </p:nvSpPr>
        <p:spPr bwMode="auto">
          <a:xfrm>
            <a:off x="7396163" y="4648200"/>
            <a:ext cx="749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a:solidFill>
                  <a:schemeClr val="tx1"/>
                </a:solidFill>
                <a:latin typeface="Arial" pitchFamily="34" charset="0"/>
                <a:cs typeface="Angsana New" pitchFamily="18" charset="-34"/>
              </a:defRPr>
            </a:lvl1pPr>
            <a:lvl2pPr marL="742950" indent="-285750" eaLnBrk="0" hangingPunct="0">
              <a:defRPr sz="2800">
                <a:solidFill>
                  <a:schemeClr val="tx1"/>
                </a:solidFill>
                <a:latin typeface="Arial" pitchFamily="34" charset="0"/>
                <a:cs typeface="Angsana New" pitchFamily="18" charset="-34"/>
              </a:defRPr>
            </a:lvl2pPr>
            <a:lvl3pPr marL="1143000" indent="-228600" eaLnBrk="0" hangingPunct="0">
              <a:defRPr sz="2800">
                <a:solidFill>
                  <a:schemeClr val="tx1"/>
                </a:solidFill>
                <a:latin typeface="Arial" pitchFamily="34" charset="0"/>
                <a:cs typeface="Angsana New" pitchFamily="18" charset="-34"/>
              </a:defRPr>
            </a:lvl3pPr>
            <a:lvl4pPr marL="1600200" indent="-228600" eaLnBrk="0" hangingPunct="0">
              <a:defRPr sz="2800">
                <a:solidFill>
                  <a:schemeClr val="tx1"/>
                </a:solidFill>
                <a:latin typeface="Arial" pitchFamily="34" charset="0"/>
                <a:cs typeface="Angsana New" pitchFamily="18" charset="-34"/>
              </a:defRPr>
            </a:lvl4pPr>
            <a:lvl5pPr marL="2057400" indent="-228600" eaLnBrk="0" hangingPunct="0">
              <a:defRPr sz="2800">
                <a:solidFill>
                  <a:schemeClr val="tx1"/>
                </a:solidFill>
                <a:latin typeface="Arial" pitchFamily="34" charset="0"/>
                <a:cs typeface="Angsana New" pitchFamily="18" charset="-34"/>
              </a:defRPr>
            </a:lvl5pPr>
            <a:lvl6pPr marL="2514600" indent="-228600" eaLnBrk="0" fontAlgn="base" hangingPunct="0">
              <a:spcBef>
                <a:spcPct val="0"/>
              </a:spcBef>
              <a:spcAft>
                <a:spcPct val="0"/>
              </a:spcAft>
              <a:defRPr sz="2800">
                <a:solidFill>
                  <a:schemeClr val="tx1"/>
                </a:solidFill>
                <a:latin typeface="Arial" pitchFamily="34" charset="0"/>
                <a:cs typeface="Angsana New" pitchFamily="18" charset="-34"/>
              </a:defRPr>
            </a:lvl6pPr>
            <a:lvl7pPr marL="2971800" indent="-228600" eaLnBrk="0" fontAlgn="base" hangingPunct="0">
              <a:spcBef>
                <a:spcPct val="0"/>
              </a:spcBef>
              <a:spcAft>
                <a:spcPct val="0"/>
              </a:spcAft>
              <a:defRPr sz="2800">
                <a:solidFill>
                  <a:schemeClr val="tx1"/>
                </a:solidFill>
                <a:latin typeface="Arial" pitchFamily="34" charset="0"/>
                <a:cs typeface="Angsana New" pitchFamily="18" charset="-34"/>
              </a:defRPr>
            </a:lvl7pPr>
            <a:lvl8pPr marL="3429000" indent="-228600" eaLnBrk="0" fontAlgn="base" hangingPunct="0">
              <a:spcBef>
                <a:spcPct val="0"/>
              </a:spcBef>
              <a:spcAft>
                <a:spcPct val="0"/>
              </a:spcAft>
              <a:defRPr sz="2800">
                <a:solidFill>
                  <a:schemeClr val="tx1"/>
                </a:solidFill>
                <a:latin typeface="Arial" pitchFamily="34" charset="0"/>
                <a:cs typeface="Angsana New" pitchFamily="18" charset="-34"/>
              </a:defRPr>
            </a:lvl8pPr>
            <a:lvl9pPr marL="3886200" indent="-228600" eaLnBrk="0" fontAlgn="base" hangingPunct="0">
              <a:spcBef>
                <a:spcPct val="0"/>
              </a:spcBef>
              <a:spcAft>
                <a:spcPct val="0"/>
              </a:spcAft>
              <a:defRPr sz="2800">
                <a:solidFill>
                  <a:schemeClr val="tx1"/>
                </a:solidFill>
                <a:latin typeface="Arial" pitchFamily="34" charset="0"/>
                <a:cs typeface="Angsana New" pitchFamily="18" charset="-34"/>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h-TH" sz="2400" b="1" i="0" u="none" strike="noStrike" kern="1200" cap="none" spc="0" normalizeH="0" baseline="0" noProof="0" dirty="0">
                <a:ln>
                  <a:noFill/>
                </a:ln>
                <a:solidFill>
                  <a:prstClr val="black"/>
                </a:solidFill>
                <a:effectLst/>
                <a:uLnTx/>
                <a:uFillTx/>
                <a:latin typeface="BrowalliaUPC" pitchFamily="34" charset="-34"/>
                <a:ea typeface="+mn-ea"/>
                <a:cs typeface="BrowalliaUPC" pitchFamily="34" charset="-34"/>
              </a:rPr>
              <a:t>ไม่เก่ง</a:t>
            </a:r>
            <a:endParaRPr kumimoji="0" lang="en-US" sz="2400" b="1" i="0" u="none" strike="noStrike" kern="1200" cap="none" spc="0" normalizeH="0" baseline="0" noProof="0" dirty="0">
              <a:ln>
                <a:noFill/>
              </a:ln>
              <a:solidFill>
                <a:prstClr val="black"/>
              </a:solidFill>
              <a:effectLst/>
              <a:uLnTx/>
              <a:uFillTx/>
              <a:latin typeface="BrowalliaUPC" pitchFamily="34" charset="-34"/>
              <a:ea typeface="+mn-ea"/>
              <a:cs typeface="BrowalliaUPC" pitchFamily="34" charset="-34"/>
            </a:endParaRPr>
          </a:p>
        </p:txBody>
      </p:sp>
      <p:sp>
        <p:nvSpPr>
          <p:cNvPr id="21517" name="Text Box 13"/>
          <p:cNvSpPr txBox="1">
            <a:spLocks noChangeArrowheads="1"/>
          </p:cNvSpPr>
          <p:nvPr/>
        </p:nvSpPr>
        <p:spPr bwMode="auto">
          <a:xfrm>
            <a:off x="5719763" y="5867400"/>
            <a:ext cx="45561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a:solidFill>
                  <a:schemeClr val="tx1"/>
                </a:solidFill>
                <a:latin typeface="Arial" pitchFamily="34" charset="0"/>
                <a:cs typeface="Angsana New" pitchFamily="18" charset="-34"/>
              </a:defRPr>
            </a:lvl1pPr>
            <a:lvl2pPr marL="742950" indent="-285750" eaLnBrk="0" hangingPunct="0">
              <a:defRPr sz="2800">
                <a:solidFill>
                  <a:schemeClr val="tx1"/>
                </a:solidFill>
                <a:latin typeface="Arial" pitchFamily="34" charset="0"/>
                <a:cs typeface="Angsana New" pitchFamily="18" charset="-34"/>
              </a:defRPr>
            </a:lvl2pPr>
            <a:lvl3pPr marL="1143000" indent="-228600" eaLnBrk="0" hangingPunct="0">
              <a:defRPr sz="2800">
                <a:solidFill>
                  <a:schemeClr val="tx1"/>
                </a:solidFill>
                <a:latin typeface="Arial" pitchFamily="34" charset="0"/>
                <a:cs typeface="Angsana New" pitchFamily="18" charset="-34"/>
              </a:defRPr>
            </a:lvl3pPr>
            <a:lvl4pPr marL="1600200" indent="-228600" eaLnBrk="0" hangingPunct="0">
              <a:defRPr sz="2800">
                <a:solidFill>
                  <a:schemeClr val="tx1"/>
                </a:solidFill>
                <a:latin typeface="Arial" pitchFamily="34" charset="0"/>
                <a:cs typeface="Angsana New" pitchFamily="18" charset="-34"/>
              </a:defRPr>
            </a:lvl4pPr>
            <a:lvl5pPr marL="2057400" indent="-228600" eaLnBrk="0" hangingPunct="0">
              <a:defRPr sz="2800">
                <a:solidFill>
                  <a:schemeClr val="tx1"/>
                </a:solidFill>
                <a:latin typeface="Arial" pitchFamily="34" charset="0"/>
                <a:cs typeface="Angsana New" pitchFamily="18" charset="-34"/>
              </a:defRPr>
            </a:lvl5pPr>
            <a:lvl6pPr marL="2514600" indent="-228600" eaLnBrk="0" fontAlgn="base" hangingPunct="0">
              <a:spcBef>
                <a:spcPct val="0"/>
              </a:spcBef>
              <a:spcAft>
                <a:spcPct val="0"/>
              </a:spcAft>
              <a:defRPr sz="2800">
                <a:solidFill>
                  <a:schemeClr val="tx1"/>
                </a:solidFill>
                <a:latin typeface="Arial" pitchFamily="34" charset="0"/>
                <a:cs typeface="Angsana New" pitchFamily="18" charset="-34"/>
              </a:defRPr>
            </a:lvl6pPr>
            <a:lvl7pPr marL="2971800" indent="-228600" eaLnBrk="0" fontAlgn="base" hangingPunct="0">
              <a:spcBef>
                <a:spcPct val="0"/>
              </a:spcBef>
              <a:spcAft>
                <a:spcPct val="0"/>
              </a:spcAft>
              <a:defRPr sz="2800">
                <a:solidFill>
                  <a:schemeClr val="tx1"/>
                </a:solidFill>
                <a:latin typeface="Arial" pitchFamily="34" charset="0"/>
                <a:cs typeface="Angsana New" pitchFamily="18" charset="-34"/>
              </a:defRPr>
            </a:lvl7pPr>
            <a:lvl8pPr marL="3429000" indent="-228600" eaLnBrk="0" fontAlgn="base" hangingPunct="0">
              <a:spcBef>
                <a:spcPct val="0"/>
              </a:spcBef>
              <a:spcAft>
                <a:spcPct val="0"/>
              </a:spcAft>
              <a:defRPr sz="2800">
                <a:solidFill>
                  <a:schemeClr val="tx1"/>
                </a:solidFill>
                <a:latin typeface="Arial" pitchFamily="34" charset="0"/>
                <a:cs typeface="Angsana New" pitchFamily="18" charset="-34"/>
              </a:defRPr>
            </a:lvl8pPr>
            <a:lvl9pPr marL="3886200" indent="-228600" eaLnBrk="0" fontAlgn="base" hangingPunct="0">
              <a:spcBef>
                <a:spcPct val="0"/>
              </a:spcBef>
              <a:spcAft>
                <a:spcPct val="0"/>
              </a:spcAft>
              <a:defRPr sz="2800">
                <a:solidFill>
                  <a:schemeClr val="tx1"/>
                </a:solidFill>
                <a:latin typeface="Arial" pitchFamily="34" charset="0"/>
                <a:cs typeface="Angsana New" pitchFamily="18" charset="-34"/>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h-TH" sz="2400" b="1" i="0" u="none" strike="noStrike" kern="1200" cap="none" spc="0" normalizeH="0" baseline="0" noProof="0">
                <a:ln>
                  <a:noFill/>
                </a:ln>
                <a:solidFill>
                  <a:prstClr val="black"/>
                </a:solidFill>
                <a:effectLst/>
                <a:uLnTx/>
                <a:uFillTx/>
                <a:latin typeface="BrowalliaUPC" pitchFamily="34" charset="-34"/>
                <a:ea typeface="+mn-ea"/>
                <a:cs typeface="BrowalliaUPC" pitchFamily="34" charset="-34"/>
              </a:rPr>
              <a:t>แย่</a:t>
            </a:r>
            <a:endParaRPr kumimoji="0" lang="en-US" sz="2400" b="1" i="0" u="none" strike="noStrike" kern="1200" cap="none" spc="0" normalizeH="0" baseline="0" noProof="0">
              <a:ln>
                <a:noFill/>
              </a:ln>
              <a:solidFill>
                <a:prstClr val="black"/>
              </a:solidFill>
              <a:effectLst/>
              <a:uLnTx/>
              <a:uFillTx/>
              <a:latin typeface="BrowalliaUPC" pitchFamily="34" charset="-34"/>
              <a:ea typeface="+mn-ea"/>
              <a:cs typeface="BrowalliaUPC" pitchFamily="34" charset="-34"/>
            </a:endParaRPr>
          </a:p>
        </p:txBody>
      </p:sp>
      <p:sp>
        <p:nvSpPr>
          <p:cNvPr id="21518" name="Text Box 14"/>
          <p:cNvSpPr txBox="1">
            <a:spLocks noChangeArrowheads="1"/>
          </p:cNvSpPr>
          <p:nvPr/>
        </p:nvSpPr>
        <p:spPr bwMode="auto">
          <a:xfrm>
            <a:off x="5414963" y="4648200"/>
            <a:ext cx="1093787"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a:solidFill>
                  <a:schemeClr val="tx1"/>
                </a:solidFill>
                <a:latin typeface="Arial" pitchFamily="34" charset="0"/>
                <a:cs typeface="Angsana New" pitchFamily="18" charset="-34"/>
              </a:defRPr>
            </a:lvl1pPr>
            <a:lvl2pPr marL="742950" indent="-285750" eaLnBrk="0" hangingPunct="0">
              <a:defRPr sz="2800">
                <a:solidFill>
                  <a:schemeClr val="tx1"/>
                </a:solidFill>
                <a:latin typeface="Arial" pitchFamily="34" charset="0"/>
                <a:cs typeface="Angsana New" pitchFamily="18" charset="-34"/>
              </a:defRPr>
            </a:lvl2pPr>
            <a:lvl3pPr marL="1143000" indent="-228600" eaLnBrk="0" hangingPunct="0">
              <a:defRPr sz="2800">
                <a:solidFill>
                  <a:schemeClr val="tx1"/>
                </a:solidFill>
                <a:latin typeface="Arial" pitchFamily="34" charset="0"/>
                <a:cs typeface="Angsana New" pitchFamily="18" charset="-34"/>
              </a:defRPr>
            </a:lvl3pPr>
            <a:lvl4pPr marL="1600200" indent="-228600" eaLnBrk="0" hangingPunct="0">
              <a:defRPr sz="2800">
                <a:solidFill>
                  <a:schemeClr val="tx1"/>
                </a:solidFill>
                <a:latin typeface="Arial" pitchFamily="34" charset="0"/>
                <a:cs typeface="Angsana New" pitchFamily="18" charset="-34"/>
              </a:defRPr>
            </a:lvl4pPr>
            <a:lvl5pPr marL="2057400" indent="-228600" eaLnBrk="0" hangingPunct="0">
              <a:defRPr sz="2800">
                <a:solidFill>
                  <a:schemeClr val="tx1"/>
                </a:solidFill>
                <a:latin typeface="Arial" pitchFamily="34" charset="0"/>
                <a:cs typeface="Angsana New" pitchFamily="18" charset="-34"/>
              </a:defRPr>
            </a:lvl5pPr>
            <a:lvl6pPr marL="2514600" indent="-228600" eaLnBrk="0" fontAlgn="base" hangingPunct="0">
              <a:spcBef>
                <a:spcPct val="0"/>
              </a:spcBef>
              <a:spcAft>
                <a:spcPct val="0"/>
              </a:spcAft>
              <a:defRPr sz="2800">
                <a:solidFill>
                  <a:schemeClr val="tx1"/>
                </a:solidFill>
                <a:latin typeface="Arial" pitchFamily="34" charset="0"/>
                <a:cs typeface="Angsana New" pitchFamily="18" charset="-34"/>
              </a:defRPr>
            </a:lvl6pPr>
            <a:lvl7pPr marL="2971800" indent="-228600" eaLnBrk="0" fontAlgn="base" hangingPunct="0">
              <a:spcBef>
                <a:spcPct val="0"/>
              </a:spcBef>
              <a:spcAft>
                <a:spcPct val="0"/>
              </a:spcAft>
              <a:defRPr sz="2800">
                <a:solidFill>
                  <a:schemeClr val="tx1"/>
                </a:solidFill>
                <a:latin typeface="Arial" pitchFamily="34" charset="0"/>
                <a:cs typeface="Angsana New" pitchFamily="18" charset="-34"/>
              </a:defRPr>
            </a:lvl7pPr>
            <a:lvl8pPr marL="3429000" indent="-228600" eaLnBrk="0" fontAlgn="base" hangingPunct="0">
              <a:spcBef>
                <a:spcPct val="0"/>
              </a:spcBef>
              <a:spcAft>
                <a:spcPct val="0"/>
              </a:spcAft>
              <a:defRPr sz="2800">
                <a:solidFill>
                  <a:schemeClr val="tx1"/>
                </a:solidFill>
                <a:latin typeface="Arial" pitchFamily="34" charset="0"/>
                <a:cs typeface="Angsana New" pitchFamily="18" charset="-34"/>
              </a:defRPr>
            </a:lvl8pPr>
            <a:lvl9pPr marL="3886200" indent="-228600" eaLnBrk="0" fontAlgn="base" hangingPunct="0">
              <a:spcBef>
                <a:spcPct val="0"/>
              </a:spcBef>
              <a:spcAft>
                <a:spcPct val="0"/>
              </a:spcAft>
              <a:defRPr sz="2800">
                <a:solidFill>
                  <a:schemeClr val="tx1"/>
                </a:solidFill>
                <a:latin typeface="Arial" pitchFamily="34" charset="0"/>
                <a:cs typeface="Angsana New" pitchFamily="18" charset="-34"/>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h-TH" sz="2400" b="1" i="0" u="none" strike="noStrike" kern="1200" cap="none" spc="0" normalizeH="0" baseline="0" noProof="0">
                <a:ln>
                  <a:noFill/>
                </a:ln>
                <a:solidFill>
                  <a:prstClr val="black"/>
                </a:solidFill>
                <a:effectLst/>
                <a:uLnTx/>
                <a:uFillTx/>
                <a:latin typeface="BrowalliaUPC" pitchFamily="34" charset="-34"/>
                <a:ea typeface="+mn-ea"/>
                <a:cs typeface="BrowalliaUPC" pitchFamily="34" charset="-34"/>
              </a:rPr>
              <a:t>ปานกลาง</a:t>
            </a:r>
            <a:endParaRPr kumimoji="0" lang="en-US" sz="2400" b="1" i="0" u="none" strike="noStrike" kern="1200" cap="none" spc="0" normalizeH="0" baseline="0" noProof="0">
              <a:ln>
                <a:noFill/>
              </a:ln>
              <a:solidFill>
                <a:prstClr val="black"/>
              </a:solidFill>
              <a:effectLst/>
              <a:uLnTx/>
              <a:uFillTx/>
              <a:latin typeface="BrowalliaUPC" pitchFamily="34" charset="-34"/>
              <a:ea typeface="+mn-ea"/>
              <a:cs typeface="BrowalliaUPC" pitchFamily="34" charset="-34"/>
            </a:endParaRPr>
          </a:p>
        </p:txBody>
      </p:sp>
      <p:sp>
        <p:nvSpPr>
          <p:cNvPr id="21519" name="Text Box 15"/>
          <p:cNvSpPr txBox="1">
            <a:spLocks noChangeArrowheads="1"/>
          </p:cNvSpPr>
          <p:nvPr/>
        </p:nvSpPr>
        <p:spPr bwMode="auto">
          <a:xfrm>
            <a:off x="152400" y="120650"/>
            <a:ext cx="4926013"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Arial" pitchFamily="34" charset="0"/>
                <a:cs typeface="Angsana New" pitchFamily="18" charset="-34"/>
              </a:defRPr>
            </a:lvl1pPr>
            <a:lvl2pPr marL="742950" indent="-285750" eaLnBrk="0" hangingPunct="0">
              <a:defRPr sz="2800">
                <a:solidFill>
                  <a:schemeClr val="tx1"/>
                </a:solidFill>
                <a:latin typeface="Arial" pitchFamily="34" charset="0"/>
                <a:cs typeface="Angsana New" pitchFamily="18" charset="-34"/>
              </a:defRPr>
            </a:lvl2pPr>
            <a:lvl3pPr marL="1143000" indent="-228600" eaLnBrk="0" hangingPunct="0">
              <a:defRPr sz="2800">
                <a:solidFill>
                  <a:schemeClr val="tx1"/>
                </a:solidFill>
                <a:latin typeface="Arial" pitchFamily="34" charset="0"/>
                <a:cs typeface="Angsana New" pitchFamily="18" charset="-34"/>
              </a:defRPr>
            </a:lvl3pPr>
            <a:lvl4pPr marL="1600200" indent="-228600" eaLnBrk="0" hangingPunct="0">
              <a:defRPr sz="2800">
                <a:solidFill>
                  <a:schemeClr val="tx1"/>
                </a:solidFill>
                <a:latin typeface="Arial" pitchFamily="34" charset="0"/>
                <a:cs typeface="Angsana New" pitchFamily="18" charset="-34"/>
              </a:defRPr>
            </a:lvl4pPr>
            <a:lvl5pPr marL="2057400" indent="-228600" eaLnBrk="0" hangingPunct="0">
              <a:defRPr sz="2800">
                <a:solidFill>
                  <a:schemeClr val="tx1"/>
                </a:solidFill>
                <a:latin typeface="Arial" pitchFamily="34" charset="0"/>
                <a:cs typeface="Angsana New" pitchFamily="18" charset="-34"/>
              </a:defRPr>
            </a:lvl5pPr>
            <a:lvl6pPr marL="2514600" indent="-228600" eaLnBrk="0" fontAlgn="base" hangingPunct="0">
              <a:spcBef>
                <a:spcPct val="0"/>
              </a:spcBef>
              <a:spcAft>
                <a:spcPct val="0"/>
              </a:spcAft>
              <a:defRPr sz="2800">
                <a:solidFill>
                  <a:schemeClr val="tx1"/>
                </a:solidFill>
                <a:latin typeface="Arial" pitchFamily="34" charset="0"/>
                <a:cs typeface="Angsana New" pitchFamily="18" charset="-34"/>
              </a:defRPr>
            </a:lvl6pPr>
            <a:lvl7pPr marL="2971800" indent="-228600" eaLnBrk="0" fontAlgn="base" hangingPunct="0">
              <a:spcBef>
                <a:spcPct val="0"/>
              </a:spcBef>
              <a:spcAft>
                <a:spcPct val="0"/>
              </a:spcAft>
              <a:defRPr sz="2800">
                <a:solidFill>
                  <a:schemeClr val="tx1"/>
                </a:solidFill>
                <a:latin typeface="Arial" pitchFamily="34" charset="0"/>
                <a:cs typeface="Angsana New" pitchFamily="18" charset="-34"/>
              </a:defRPr>
            </a:lvl7pPr>
            <a:lvl8pPr marL="3429000" indent="-228600" eaLnBrk="0" fontAlgn="base" hangingPunct="0">
              <a:spcBef>
                <a:spcPct val="0"/>
              </a:spcBef>
              <a:spcAft>
                <a:spcPct val="0"/>
              </a:spcAft>
              <a:defRPr sz="2800">
                <a:solidFill>
                  <a:schemeClr val="tx1"/>
                </a:solidFill>
                <a:latin typeface="Arial" pitchFamily="34" charset="0"/>
                <a:cs typeface="Angsana New" pitchFamily="18" charset="-34"/>
              </a:defRPr>
            </a:lvl8pPr>
            <a:lvl9pPr marL="3886200" indent="-228600" eaLnBrk="0" fontAlgn="base" hangingPunct="0">
              <a:spcBef>
                <a:spcPct val="0"/>
              </a:spcBef>
              <a:spcAft>
                <a:spcPct val="0"/>
              </a:spcAft>
              <a:defRPr sz="2800">
                <a:solidFill>
                  <a:schemeClr val="tx1"/>
                </a:solidFill>
                <a:latin typeface="Arial" pitchFamily="34" charset="0"/>
                <a:cs typeface="Angsana New" pitchFamily="18" charset="-34"/>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h-TH" sz="2800" b="1" i="1" u="none" strike="noStrike" kern="1200" cap="none" spc="0" normalizeH="0" baseline="0" noProof="0" dirty="0">
                <a:ln>
                  <a:noFill/>
                </a:ln>
                <a:solidFill>
                  <a:prstClr val="black"/>
                </a:solidFill>
                <a:effectLst/>
                <a:uLnTx/>
                <a:uFillTx/>
                <a:latin typeface="BrowalliaUPC" pitchFamily="34" charset="-34"/>
                <a:ea typeface="+mn-ea"/>
                <a:cs typeface="BrowalliaUPC" pitchFamily="34" charset="-34"/>
              </a:rPr>
              <a:t>ผู้นำที่เก่งจะสร้าง </a:t>
            </a:r>
            <a:r>
              <a:rPr kumimoji="0" lang="en-US" sz="2800" b="1" i="1" u="none" strike="noStrike" kern="1200" cap="none" spc="0" normalizeH="0" baseline="0" noProof="0" dirty="0">
                <a:ln>
                  <a:noFill/>
                </a:ln>
                <a:solidFill>
                  <a:prstClr val="black"/>
                </a:solidFill>
                <a:effectLst/>
                <a:uLnTx/>
                <a:uFillTx/>
                <a:latin typeface="BrowalliaUPC" pitchFamily="34" charset="-34"/>
                <a:ea typeface="+mn-ea"/>
                <a:cs typeface="BrowalliaUPC" pitchFamily="34" charset="-34"/>
              </a:rPr>
              <a:t>quantum jump</a:t>
            </a:r>
            <a:r>
              <a:rPr kumimoji="0" lang="th-TH" sz="2800" b="1" i="1" u="none" strike="noStrike" kern="1200" cap="none" spc="0" normalizeH="0" baseline="0" noProof="0" dirty="0">
                <a:ln>
                  <a:noFill/>
                </a:ln>
                <a:solidFill>
                  <a:prstClr val="black"/>
                </a:solidFill>
                <a:effectLst/>
                <a:uLnTx/>
                <a:uFillTx/>
                <a:latin typeface="BrowalliaUPC" pitchFamily="34" charset="-34"/>
                <a:ea typeface="+mn-ea"/>
                <a:cs typeface="BrowalliaUPC" pitchFamily="34" charset="-34"/>
              </a:rPr>
              <a:t>ได้มาก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th-TH" sz="2800" b="1" i="1" u="none" strike="noStrike" kern="1200" cap="none" spc="0" normalizeH="0" baseline="0" noProof="0" dirty="0">
                <a:ln>
                  <a:noFill/>
                </a:ln>
                <a:solidFill>
                  <a:prstClr val="black"/>
                </a:solidFill>
                <a:effectLst/>
                <a:uLnTx/>
                <a:uFillTx/>
                <a:latin typeface="BrowalliaUPC" pitchFamily="34" charset="-34"/>
                <a:ea typeface="+mn-ea"/>
                <a:cs typeface="BrowalliaUPC" pitchFamily="34" charset="-34"/>
              </a:rPr>
              <a:t>สร้าง </a:t>
            </a:r>
            <a:r>
              <a:rPr kumimoji="0" lang="en-US" sz="2800" b="1" i="1" u="none" strike="noStrike" kern="1200" cap="none" spc="0" normalizeH="0" baseline="0" noProof="0" dirty="0">
                <a:ln>
                  <a:noFill/>
                </a:ln>
                <a:solidFill>
                  <a:prstClr val="black"/>
                </a:solidFill>
                <a:effectLst/>
                <a:uLnTx/>
                <a:uFillTx/>
                <a:latin typeface="BrowalliaUPC" pitchFamily="34" charset="-34"/>
                <a:ea typeface="+mn-ea"/>
                <a:cs typeface="BrowalliaUPC" pitchFamily="34" charset="-34"/>
              </a:rPr>
              <a:t>S-curve</a:t>
            </a:r>
            <a:r>
              <a:rPr kumimoji="0" lang="th-TH" sz="2800" b="1" i="1" u="none" strike="noStrike" kern="1200" cap="none" spc="0" normalizeH="0" baseline="0" noProof="0" dirty="0">
                <a:ln>
                  <a:noFill/>
                </a:ln>
                <a:solidFill>
                  <a:prstClr val="black"/>
                </a:solidFill>
                <a:effectLst/>
                <a:uLnTx/>
                <a:uFillTx/>
                <a:latin typeface="BrowalliaUPC" pitchFamily="34" charset="-34"/>
                <a:ea typeface="+mn-ea"/>
                <a:cs typeface="BrowalliaUPC" pitchFamily="34" charset="-34"/>
              </a:rPr>
              <a:t> เส้นใหม่ได้เร็ว  ได้ตลอดเวลา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th-TH" sz="2800" b="1" i="1" u="none" strike="noStrike" kern="1200" cap="none" spc="0" normalizeH="0" baseline="0" noProof="0" dirty="0">
                <a:ln>
                  <a:noFill/>
                </a:ln>
                <a:solidFill>
                  <a:prstClr val="black"/>
                </a:solidFill>
                <a:effectLst/>
                <a:uLnTx/>
                <a:uFillTx/>
                <a:latin typeface="BrowalliaUPC" pitchFamily="34" charset="-34"/>
                <a:ea typeface="+mn-ea"/>
                <a:cs typeface="BrowalliaUPC" pitchFamily="34" charset="-34"/>
              </a:rPr>
              <a:t>พาคนไปสู่ </a:t>
            </a:r>
            <a:r>
              <a:rPr kumimoji="0" lang="en-US" sz="2800" b="1" i="1" u="none" strike="noStrike" kern="1200" cap="none" spc="0" normalizeH="0" baseline="0" noProof="0" dirty="0">
                <a:ln>
                  <a:noFill/>
                </a:ln>
                <a:solidFill>
                  <a:prstClr val="black"/>
                </a:solidFill>
                <a:effectLst/>
                <a:uLnTx/>
                <a:uFillTx/>
                <a:latin typeface="BrowalliaUPC" pitchFamily="34" charset="-34"/>
                <a:ea typeface="+mn-ea"/>
                <a:cs typeface="BrowalliaUPC" pitchFamily="34" charset="-34"/>
              </a:rPr>
              <a:t>S-curve </a:t>
            </a:r>
            <a:r>
              <a:rPr kumimoji="0" lang="th-TH" sz="2800" b="1" i="1" u="none" strike="noStrike" kern="1200" cap="none" spc="0" normalizeH="0" baseline="0" noProof="0" dirty="0">
                <a:ln>
                  <a:noFill/>
                </a:ln>
                <a:solidFill>
                  <a:prstClr val="black"/>
                </a:solidFill>
                <a:effectLst/>
                <a:uLnTx/>
                <a:uFillTx/>
                <a:latin typeface="BrowalliaUPC" pitchFamily="34" charset="-34"/>
                <a:ea typeface="+mn-ea"/>
                <a:cs typeface="BrowalliaUPC" pitchFamily="34" charset="-34"/>
              </a:rPr>
              <a:t>ใหม่ได้รวดเร็ว</a:t>
            </a:r>
            <a:r>
              <a:rPr kumimoji="0" lang="en-US" sz="2800" b="1" i="1" u="none" strike="noStrike" kern="1200" cap="none" spc="0" normalizeH="0" baseline="0" noProof="0" dirty="0">
                <a:ln>
                  <a:noFill/>
                </a:ln>
                <a:solidFill>
                  <a:prstClr val="black"/>
                </a:solidFill>
                <a:effectLst/>
                <a:uLnTx/>
                <a:uFillTx/>
                <a:latin typeface="BrowalliaUPC" pitchFamily="34" charset="-34"/>
                <a:ea typeface="+mn-ea"/>
                <a:cs typeface="BrowalliaUPC" pitchFamily="34" charset="-34"/>
              </a:rPr>
              <a:t> </a:t>
            </a:r>
            <a:endParaRPr kumimoji="0" lang="th-TH" sz="2800" b="1" i="1" u="none" strike="noStrike" kern="1200" cap="none" spc="0" normalizeH="0" baseline="0" noProof="0" dirty="0">
              <a:ln>
                <a:noFill/>
              </a:ln>
              <a:solidFill>
                <a:prstClr val="black"/>
              </a:solidFill>
              <a:effectLst/>
              <a:uLnTx/>
              <a:uFillTx/>
              <a:latin typeface="BrowalliaUPC" pitchFamily="34" charset="-34"/>
              <a:ea typeface="+mn-ea"/>
              <a:cs typeface="BrowalliaUPC" pitchFamily="34" charset="-34"/>
            </a:endParaRPr>
          </a:p>
        </p:txBody>
      </p:sp>
      <p:sp>
        <p:nvSpPr>
          <p:cNvPr id="21520" name="Rectangle 16"/>
          <p:cNvSpPr>
            <a:spLocks noChangeArrowheads="1"/>
          </p:cNvSpPr>
          <p:nvPr/>
        </p:nvSpPr>
        <p:spPr bwMode="auto">
          <a:xfrm>
            <a:off x="4191000" y="4191000"/>
            <a:ext cx="47561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th-TH" sz="2400" b="1" i="1" u="none" strike="noStrike" kern="1200" cap="none" spc="0" normalizeH="0" baseline="0" noProof="0" dirty="0">
                <a:ln>
                  <a:noFill/>
                </a:ln>
                <a:solidFill>
                  <a:prstClr val="black"/>
                </a:solidFill>
                <a:effectLst/>
                <a:uLnTx/>
                <a:uFillTx/>
                <a:latin typeface="BrowalliaUPC" pitchFamily="34" charset="-34"/>
                <a:ea typeface="+mn-ea"/>
                <a:cs typeface="BrowalliaUPC" pitchFamily="34" charset="-34"/>
              </a:rPr>
              <a:t>ผู้บริหารที่เก่งจะพาคนไปตาม </a:t>
            </a:r>
            <a:r>
              <a:rPr kumimoji="0" lang="en-US" sz="2400" b="1" i="1" u="none" strike="noStrike" kern="1200" cap="none" spc="0" normalizeH="0" baseline="0" noProof="0" dirty="0">
                <a:ln>
                  <a:noFill/>
                </a:ln>
                <a:solidFill>
                  <a:prstClr val="black"/>
                </a:solidFill>
                <a:effectLst/>
                <a:uLnTx/>
                <a:uFillTx/>
                <a:latin typeface="BrowalliaUPC" pitchFamily="34" charset="-34"/>
                <a:ea typeface="+mn-ea"/>
                <a:cs typeface="BrowalliaUPC" pitchFamily="34" charset="-34"/>
              </a:rPr>
              <a:t>S-curve </a:t>
            </a:r>
            <a:r>
              <a:rPr kumimoji="0" lang="th-TH" sz="2400" b="1" i="1" u="none" strike="noStrike" kern="1200" cap="none" spc="0" normalizeH="0" baseline="0" noProof="0" dirty="0">
                <a:ln>
                  <a:noFill/>
                </a:ln>
                <a:solidFill>
                  <a:prstClr val="black"/>
                </a:solidFill>
                <a:effectLst/>
                <a:uLnTx/>
                <a:uFillTx/>
                <a:latin typeface="BrowalliaUPC" pitchFamily="34" charset="-34"/>
                <a:ea typeface="+mn-ea"/>
                <a:cs typeface="BrowalliaUPC" pitchFamily="34" charset="-34"/>
              </a:rPr>
              <a:t>ได้รวดเร็ว</a:t>
            </a:r>
            <a:r>
              <a:rPr kumimoji="0" lang="en-US" sz="2400" b="1" i="0" u="none" strike="noStrike" kern="1200" cap="none" spc="0" normalizeH="0" baseline="0" noProof="0" dirty="0">
                <a:ln>
                  <a:noFill/>
                </a:ln>
                <a:solidFill>
                  <a:prstClr val="black"/>
                </a:solidFill>
                <a:effectLst/>
                <a:uLnTx/>
                <a:uFillTx/>
                <a:latin typeface="BrowalliaUPC" pitchFamily="34" charset="-34"/>
                <a:ea typeface="+mn-ea"/>
                <a:cs typeface="BrowalliaUPC" pitchFamily="34" charset="-34"/>
              </a:rPr>
              <a:t> </a:t>
            </a:r>
          </a:p>
        </p:txBody>
      </p:sp>
      <p:sp>
        <p:nvSpPr>
          <p:cNvPr id="5" name="Freeform 4"/>
          <p:cNvSpPr/>
          <p:nvPr/>
        </p:nvSpPr>
        <p:spPr>
          <a:xfrm>
            <a:off x="882280" y="77273"/>
            <a:ext cx="4971245" cy="6619741"/>
          </a:xfrm>
          <a:custGeom>
            <a:avLst/>
            <a:gdLst>
              <a:gd name="connsiteX0" fmla="*/ 0 w 4971245"/>
              <a:gd name="connsiteY0" fmla="*/ 6619741 h 6619741"/>
              <a:gd name="connsiteX1" fmla="*/ 978795 w 4971245"/>
              <a:gd name="connsiteY1" fmla="*/ 6478073 h 6619741"/>
              <a:gd name="connsiteX2" fmla="*/ 1532586 w 4971245"/>
              <a:gd name="connsiteY2" fmla="*/ 6117465 h 6619741"/>
              <a:gd name="connsiteX3" fmla="*/ 1700011 w 4971245"/>
              <a:gd name="connsiteY3" fmla="*/ 5743978 h 6619741"/>
              <a:gd name="connsiteX4" fmla="*/ 1983347 w 4971245"/>
              <a:gd name="connsiteY4" fmla="*/ 5576552 h 6619741"/>
              <a:gd name="connsiteX5" fmla="*/ 2266682 w 4971245"/>
              <a:gd name="connsiteY5" fmla="*/ 5447764 h 6619741"/>
              <a:gd name="connsiteX6" fmla="*/ 2434107 w 4971245"/>
              <a:gd name="connsiteY6" fmla="*/ 5293217 h 6619741"/>
              <a:gd name="connsiteX7" fmla="*/ 2743200 w 4971245"/>
              <a:gd name="connsiteY7" fmla="*/ 4881093 h 6619741"/>
              <a:gd name="connsiteX8" fmla="*/ 2884868 w 4971245"/>
              <a:gd name="connsiteY8" fmla="*/ 4237150 h 6619741"/>
              <a:gd name="connsiteX9" fmla="*/ 3193961 w 4971245"/>
              <a:gd name="connsiteY9" fmla="*/ 3953814 h 6619741"/>
              <a:gd name="connsiteX10" fmla="*/ 3503054 w 4971245"/>
              <a:gd name="connsiteY10" fmla="*/ 3631842 h 6619741"/>
              <a:gd name="connsiteX11" fmla="*/ 3696237 w 4971245"/>
              <a:gd name="connsiteY11" fmla="*/ 3026535 h 6619741"/>
              <a:gd name="connsiteX12" fmla="*/ 3863662 w 4971245"/>
              <a:gd name="connsiteY12" fmla="*/ 2099257 h 6619741"/>
              <a:gd name="connsiteX13" fmla="*/ 4198513 w 4971245"/>
              <a:gd name="connsiteY13" fmla="*/ 1738648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52072 w 4971245"/>
              <a:gd name="connsiteY2" fmla="*/ 6174975 h 6619741"/>
              <a:gd name="connsiteX3" fmla="*/ 1700011 w 4971245"/>
              <a:gd name="connsiteY3" fmla="*/ 5743978 h 6619741"/>
              <a:gd name="connsiteX4" fmla="*/ 1983347 w 4971245"/>
              <a:gd name="connsiteY4" fmla="*/ 5576552 h 6619741"/>
              <a:gd name="connsiteX5" fmla="*/ 2266682 w 4971245"/>
              <a:gd name="connsiteY5" fmla="*/ 5447764 h 6619741"/>
              <a:gd name="connsiteX6" fmla="*/ 2434107 w 4971245"/>
              <a:gd name="connsiteY6" fmla="*/ 5293217 h 6619741"/>
              <a:gd name="connsiteX7" fmla="*/ 2743200 w 4971245"/>
              <a:gd name="connsiteY7" fmla="*/ 4881093 h 6619741"/>
              <a:gd name="connsiteX8" fmla="*/ 2884868 w 4971245"/>
              <a:gd name="connsiteY8" fmla="*/ 4237150 h 6619741"/>
              <a:gd name="connsiteX9" fmla="*/ 3193961 w 4971245"/>
              <a:gd name="connsiteY9" fmla="*/ 3953814 h 6619741"/>
              <a:gd name="connsiteX10" fmla="*/ 3503054 w 4971245"/>
              <a:gd name="connsiteY10" fmla="*/ 3631842 h 6619741"/>
              <a:gd name="connsiteX11" fmla="*/ 3696237 w 4971245"/>
              <a:gd name="connsiteY11" fmla="*/ 3026535 h 6619741"/>
              <a:gd name="connsiteX12" fmla="*/ 3863662 w 4971245"/>
              <a:gd name="connsiteY12" fmla="*/ 2099257 h 6619741"/>
              <a:gd name="connsiteX13" fmla="*/ 4198513 w 4971245"/>
              <a:gd name="connsiteY13" fmla="*/ 1738648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00011 w 4971245"/>
              <a:gd name="connsiteY3" fmla="*/ 5743978 h 6619741"/>
              <a:gd name="connsiteX4" fmla="*/ 1983347 w 4971245"/>
              <a:gd name="connsiteY4" fmla="*/ 5576552 h 6619741"/>
              <a:gd name="connsiteX5" fmla="*/ 2266682 w 4971245"/>
              <a:gd name="connsiteY5" fmla="*/ 5447764 h 6619741"/>
              <a:gd name="connsiteX6" fmla="*/ 2434107 w 4971245"/>
              <a:gd name="connsiteY6" fmla="*/ 5293217 h 6619741"/>
              <a:gd name="connsiteX7" fmla="*/ 2743200 w 4971245"/>
              <a:gd name="connsiteY7" fmla="*/ 4881093 h 6619741"/>
              <a:gd name="connsiteX8" fmla="*/ 2884868 w 4971245"/>
              <a:gd name="connsiteY8" fmla="*/ 4237150 h 6619741"/>
              <a:gd name="connsiteX9" fmla="*/ 3193961 w 4971245"/>
              <a:gd name="connsiteY9" fmla="*/ 3953814 h 6619741"/>
              <a:gd name="connsiteX10" fmla="*/ 3503054 w 4971245"/>
              <a:gd name="connsiteY10" fmla="*/ 3631842 h 6619741"/>
              <a:gd name="connsiteX11" fmla="*/ 3696237 w 4971245"/>
              <a:gd name="connsiteY11" fmla="*/ 3026535 h 6619741"/>
              <a:gd name="connsiteX12" fmla="*/ 3863662 w 4971245"/>
              <a:gd name="connsiteY12" fmla="*/ 2099257 h 6619741"/>
              <a:gd name="connsiteX13" fmla="*/ 4198513 w 4971245"/>
              <a:gd name="connsiteY13" fmla="*/ 1738648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28766 w 4971245"/>
              <a:gd name="connsiteY3" fmla="*/ 5720974 h 6619741"/>
              <a:gd name="connsiteX4" fmla="*/ 1983347 w 4971245"/>
              <a:gd name="connsiteY4" fmla="*/ 5576552 h 6619741"/>
              <a:gd name="connsiteX5" fmla="*/ 2266682 w 4971245"/>
              <a:gd name="connsiteY5" fmla="*/ 5447764 h 6619741"/>
              <a:gd name="connsiteX6" fmla="*/ 2434107 w 4971245"/>
              <a:gd name="connsiteY6" fmla="*/ 5293217 h 6619741"/>
              <a:gd name="connsiteX7" fmla="*/ 2743200 w 4971245"/>
              <a:gd name="connsiteY7" fmla="*/ 4881093 h 6619741"/>
              <a:gd name="connsiteX8" fmla="*/ 2884868 w 4971245"/>
              <a:gd name="connsiteY8" fmla="*/ 4237150 h 6619741"/>
              <a:gd name="connsiteX9" fmla="*/ 3193961 w 4971245"/>
              <a:gd name="connsiteY9" fmla="*/ 3953814 h 6619741"/>
              <a:gd name="connsiteX10" fmla="*/ 3503054 w 4971245"/>
              <a:gd name="connsiteY10" fmla="*/ 3631842 h 6619741"/>
              <a:gd name="connsiteX11" fmla="*/ 3696237 w 4971245"/>
              <a:gd name="connsiteY11" fmla="*/ 3026535 h 6619741"/>
              <a:gd name="connsiteX12" fmla="*/ 3863662 w 4971245"/>
              <a:gd name="connsiteY12" fmla="*/ 2099257 h 6619741"/>
              <a:gd name="connsiteX13" fmla="*/ 4198513 w 4971245"/>
              <a:gd name="connsiteY13" fmla="*/ 1738648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1983347 w 4971245"/>
              <a:gd name="connsiteY4" fmla="*/ 5576552 h 6619741"/>
              <a:gd name="connsiteX5" fmla="*/ 2266682 w 4971245"/>
              <a:gd name="connsiteY5" fmla="*/ 5447764 h 6619741"/>
              <a:gd name="connsiteX6" fmla="*/ 2434107 w 4971245"/>
              <a:gd name="connsiteY6" fmla="*/ 5293217 h 6619741"/>
              <a:gd name="connsiteX7" fmla="*/ 2743200 w 4971245"/>
              <a:gd name="connsiteY7" fmla="*/ 4881093 h 6619741"/>
              <a:gd name="connsiteX8" fmla="*/ 2884868 w 4971245"/>
              <a:gd name="connsiteY8" fmla="*/ 4237150 h 6619741"/>
              <a:gd name="connsiteX9" fmla="*/ 3193961 w 4971245"/>
              <a:gd name="connsiteY9" fmla="*/ 3953814 h 6619741"/>
              <a:gd name="connsiteX10" fmla="*/ 3503054 w 4971245"/>
              <a:gd name="connsiteY10" fmla="*/ 3631842 h 6619741"/>
              <a:gd name="connsiteX11" fmla="*/ 3696237 w 4971245"/>
              <a:gd name="connsiteY11" fmla="*/ 3026535 h 6619741"/>
              <a:gd name="connsiteX12" fmla="*/ 3863662 w 4971245"/>
              <a:gd name="connsiteY12" fmla="*/ 2099257 h 6619741"/>
              <a:gd name="connsiteX13" fmla="*/ 4198513 w 4971245"/>
              <a:gd name="connsiteY13" fmla="*/ 1738648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2035106 w 4971245"/>
              <a:gd name="connsiteY4" fmla="*/ 5530545 h 6619741"/>
              <a:gd name="connsiteX5" fmla="*/ 2266682 w 4971245"/>
              <a:gd name="connsiteY5" fmla="*/ 5447764 h 6619741"/>
              <a:gd name="connsiteX6" fmla="*/ 2434107 w 4971245"/>
              <a:gd name="connsiteY6" fmla="*/ 5293217 h 6619741"/>
              <a:gd name="connsiteX7" fmla="*/ 2743200 w 4971245"/>
              <a:gd name="connsiteY7" fmla="*/ 4881093 h 6619741"/>
              <a:gd name="connsiteX8" fmla="*/ 2884868 w 4971245"/>
              <a:gd name="connsiteY8" fmla="*/ 4237150 h 6619741"/>
              <a:gd name="connsiteX9" fmla="*/ 3193961 w 4971245"/>
              <a:gd name="connsiteY9" fmla="*/ 3953814 h 6619741"/>
              <a:gd name="connsiteX10" fmla="*/ 3503054 w 4971245"/>
              <a:gd name="connsiteY10" fmla="*/ 3631842 h 6619741"/>
              <a:gd name="connsiteX11" fmla="*/ 3696237 w 4971245"/>
              <a:gd name="connsiteY11" fmla="*/ 3026535 h 6619741"/>
              <a:gd name="connsiteX12" fmla="*/ 3863662 w 4971245"/>
              <a:gd name="connsiteY12" fmla="*/ 2099257 h 6619741"/>
              <a:gd name="connsiteX13" fmla="*/ 4198513 w 4971245"/>
              <a:gd name="connsiteY13" fmla="*/ 1738648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2035106 w 4971245"/>
              <a:gd name="connsiteY4" fmla="*/ 5530545 h 6619741"/>
              <a:gd name="connsiteX5" fmla="*/ 2301188 w 4971245"/>
              <a:gd name="connsiteY5" fmla="*/ 5384503 h 6619741"/>
              <a:gd name="connsiteX6" fmla="*/ 2434107 w 4971245"/>
              <a:gd name="connsiteY6" fmla="*/ 5293217 h 6619741"/>
              <a:gd name="connsiteX7" fmla="*/ 2743200 w 4971245"/>
              <a:gd name="connsiteY7" fmla="*/ 4881093 h 6619741"/>
              <a:gd name="connsiteX8" fmla="*/ 2884868 w 4971245"/>
              <a:gd name="connsiteY8" fmla="*/ 4237150 h 6619741"/>
              <a:gd name="connsiteX9" fmla="*/ 3193961 w 4971245"/>
              <a:gd name="connsiteY9" fmla="*/ 3953814 h 6619741"/>
              <a:gd name="connsiteX10" fmla="*/ 3503054 w 4971245"/>
              <a:gd name="connsiteY10" fmla="*/ 3631842 h 6619741"/>
              <a:gd name="connsiteX11" fmla="*/ 3696237 w 4971245"/>
              <a:gd name="connsiteY11" fmla="*/ 3026535 h 6619741"/>
              <a:gd name="connsiteX12" fmla="*/ 3863662 w 4971245"/>
              <a:gd name="connsiteY12" fmla="*/ 2099257 h 6619741"/>
              <a:gd name="connsiteX13" fmla="*/ 4198513 w 4971245"/>
              <a:gd name="connsiteY13" fmla="*/ 1738648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43200 w 4971245"/>
              <a:gd name="connsiteY7" fmla="*/ 4881093 h 6619741"/>
              <a:gd name="connsiteX8" fmla="*/ 2884868 w 4971245"/>
              <a:gd name="connsiteY8" fmla="*/ 4237150 h 6619741"/>
              <a:gd name="connsiteX9" fmla="*/ 3193961 w 4971245"/>
              <a:gd name="connsiteY9" fmla="*/ 3953814 h 6619741"/>
              <a:gd name="connsiteX10" fmla="*/ 3503054 w 4971245"/>
              <a:gd name="connsiteY10" fmla="*/ 3631842 h 6619741"/>
              <a:gd name="connsiteX11" fmla="*/ 3696237 w 4971245"/>
              <a:gd name="connsiteY11" fmla="*/ 3026535 h 6619741"/>
              <a:gd name="connsiteX12" fmla="*/ 3863662 w 4971245"/>
              <a:gd name="connsiteY12" fmla="*/ 2099257 h 6619741"/>
              <a:gd name="connsiteX13" fmla="*/ 4198513 w 4971245"/>
              <a:gd name="connsiteY13" fmla="*/ 1738648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84868 w 4971245"/>
              <a:gd name="connsiteY8" fmla="*/ 4237150 h 6619741"/>
              <a:gd name="connsiteX9" fmla="*/ 3193961 w 4971245"/>
              <a:gd name="connsiteY9" fmla="*/ 3953814 h 6619741"/>
              <a:gd name="connsiteX10" fmla="*/ 3503054 w 4971245"/>
              <a:gd name="connsiteY10" fmla="*/ 3631842 h 6619741"/>
              <a:gd name="connsiteX11" fmla="*/ 3696237 w 4971245"/>
              <a:gd name="connsiteY11" fmla="*/ 3026535 h 6619741"/>
              <a:gd name="connsiteX12" fmla="*/ 3863662 w 4971245"/>
              <a:gd name="connsiteY12" fmla="*/ 2099257 h 6619741"/>
              <a:gd name="connsiteX13" fmla="*/ 4198513 w 4971245"/>
              <a:gd name="connsiteY13" fmla="*/ 1738648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93961 w 4971245"/>
              <a:gd name="connsiteY9" fmla="*/ 3953814 h 6619741"/>
              <a:gd name="connsiteX10" fmla="*/ 3503054 w 4971245"/>
              <a:gd name="connsiteY10" fmla="*/ 3631842 h 6619741"/>
              <a:gd name="connsiteX11" fmla="*/ 3696237 w 4971245"/>
              <a:gd name="connsiteY11" fmla="*/ 3026535 h 6619741"/>
              <a:gd name="connsiteX12" fmla="*/ 3863662 w 4971245"/>
              <a:gd name="connsiteY12" fmla="*/ 2099257 h 6619741"/>
              <a:gd name="connsiteX13" fmla="*/ 4198513 w 4971245"/>
              <a:gd name="connsiteY13" fmla="*/ 1738648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93961 w 4971245"/>
              <a:gd name="connsiteY9" fmla="*/ 3953814 h 6619741"/>
              <a:gd name="connsiteX10" fmla="*/ 3480050 w 4971245"/>
              <a:gd name="connsiteY10" fmla="*/ 3557079 h 6619741"/>
              <a:gd name="connsiteX11" fmla="*/ 3696237 w 4971245"/>
              <a:gd name="connsiteY11" fmla="*/ 3026535 h 6619741"/>
              <a:gd name="connsiteX12" fmla="*/ 3863662 w 4971245"/>
              <a:gd name="connsiteY12" fmla="*/ 2099257 h 6619741"/>
              <a:gd name="connsiteX13" fmla="*/ 4198513 w 4971245"/>
              <a:gd name="connsiteY13" fmla="*/ 1738648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93961 w 4971245"/>
              <a:gd name="connsiteY9" fmla="*/ 3953814 h 6619741"/>
              <a:gd name="connsiteX10" fmla="*/ 3480050 w 4971245"/>
              <a:gd name="connsiteY10" fmla="*/ 3557079 h 6619741"/>
              <a:gd name="connsiteX11" fmla="*/ 3661732 w 4971245"/>
              <a:gd name="connsiteY11" fmla="*/ 2997781 h 6619741"/>
              <a:gd name="connsiteX12" fmla="*/ 3863662 w 4971245"/>
              <a:gd name="connsiteY12" fmla="*/ 2099257 h 6619741"/>
              <a:gd name="connsiteX13" fmla="*/ 4198513 w 4971245"/>
              <a:gd name="connsiteY13" fmla="*/ 1738648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93961 w 4971245"/>
              <a:gd name="connsiteY9" fmla="*/ 3953814 h 6619741"/>
              <a:gd name="connsiteX10" fmla="*/ 3480050 w 4971245"/>
              <a:gd name="connsiteY10" fmla="*/ 3557079 h 6619741"/>
              <a:gd name="connsiteX11" fmla="*/ 3661732 w 4971245"/>
              <a:gd name="connsiteY11" fmla="*/ 2997781 h 6619741"/>
              <a:gd name="connsiteX12" fmla="*/ 3903918 w 4971245"/>
              <a:gd name="connsiteY12" fmla="*/ 1984238 h 6619741"/>
              <a:gd name="connsiteX13" fmla="*/ 4198513 w 4971245"/>
              <a:gd name="connsiteY13" fmla="*/ 1738648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93961 w 4971245"/>
              <a:gd name="connsiteY9" fmla="*/ 3953814 h 6619741"/>
              <a:gd name="connsiteX10" fmla="*/ 3480050 w 4971245"/>
              <a:gd name="connsiteY10" fmla="*/ 3557079 h 6619741"/>
              <a:gd name="connsiteX11" fmla="*/ 3661732 w 4971245"/>
              <a:gd name="connsiteY11" fmla="*/ 2997781 h 6619741"/>
              <a:gd name="connsiteX12" fmla="*/ 3886665 w 4971245"/>
              <a:gd name="connsiteY12" fmla="*/ 2070502 h 6619741"/>
              <a:gd name="connsiteX13" fmla="*/ 4198513 w 4971245"/>
              <a:gd name="connsiteY13" fmla="*/ 1738648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93961 w 4971245"/>
              <a:gd name="connsiteY9" fmla="*/ 3953814 h 6619741"/>
              <a:gd name="connsiteX10" fmla="*/ 3480050 w 4971245"/>
              <a:gd name="connsiteY10" fmla="*/ 3557079 h 6619741"/>
              <a:gd name="connsiteX11" fmla="*/ 3661732 w 4971245"/>
              <a:gd name="connsiteY11" fmla="*/ 2997781 h 6619741"/>
              <a:gd name="connsiteX12" fmla="*/ 3898167 w 4971245"/>
              <a:gd name="connsiteY12" fmla="*/ 2041747 h 6619741"/>
              <a:gd name="connsiteX13" fmla="*/ 4198513 w 4971245"/>
              <a:gd name="connsiteY13" fmla="*/ 1738648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93961 w 4971245"/>
              <a:gd name="connsiteY9" fmla="*/ 3953814 h 6619741"/>
              <a:gd name="connsiteX10" fmla="*/ 3480050 w 4971245"/>
              <a:gd name="connsiteY10" fmla="*/ 3557079 h 6619741"/>
              <a:gd name="connsiteX11" fmla="*/ 3661732 w 4971245"/>
              <a:gd name="connsiteY11" fmla="*/ 2997781 h 6619741"/>
              <a:gd name="connsiteX12" fmla="*/ 3898167 w 4971245"/>
              <a:gd name="connsiteY12" fmla="*/ 2041747 h 6619741"/>
              <a:gd name="connsiteX13" fmla="*/ 4175510 w 4971245"/>
              <a:gd name="connsiteY13" fmla="*/ 1721395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93961 w 4971245"/>
              <a:gd name="connsiteY9" fmla="*/ 3953814 h 6619741"/>
              <a:gd name="connsiteX10" fmla="*/ 3480050 w 4971245"/>
              <a:gd name="connsiteY10" fmla="*/ 3557079 h 6619741"/>
              <a:gd name="connsiteX11" fmla="*/ 3661732 w 4971245"/>
              <a:gd name="connsiteY11" fmla="*/ 2997781 h 6619741"/>
              <a:gd name="connsiteX12" fmla="*/ 3886665 w 4971245"/>
              <a:gd name="connsiteY12" fmla="*/ 2024494 h 6619741"/>
              <a:gd name="connsiteX13" fmla="*/ 4175510 w 4971245"/>
              <a:gd name="connsiteY13" fmla="*/ 1721395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93961 w 4971245"/>
              <a:gd name="connsiteY9" fmla="*/ 3953814 h 6619741"/>
              <a:gd name="connsiteX10" fmla="*/ 3480050 w 4971245"/>
              <a:gd name="connsiteY10" fmla="*/ 3557079 h 6619741"/>
              <a:gd name="connsiteX11" fmla="*/ 3661732 w 4971245"/>
              <a:gd name="connsiteY11" fmla="*/ 2997781 h 6619741"/>
              <a:gd name="connsiteX12" fmla="*/ 3886665 w 4971245"/>
              <a:gd name="connsiteY12" fmla="*/ 2024494 h 6619741"/>
              <a:gd name="connsiteX13" fmla="*/ 4043238 w 4971245"/>
              <a:gd name="connsiteY13" fmla="*/ 1853667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93961 w 4971245"/>
              <a:gd name="connsiteY9" fmla="*/ 3953814 h 6619741"/>
              <a:gd name="connsiteX10" fmla="*/ 3480050 w 4971245"/>
              <a:gd name="connsiteY10" fmla="*/ 3557079 h 6619741"/>
              <a:gd name="connsiteX11" fmla="*/ 3661732 w 4971245"/>
              <a:gd name="connsiteY11" fmla="*/ 2997781 h 6619741"/>
              <a:gd name="connsiteX12" fmla="*/ 3886665 w 4971245"/>
              <a:gd name="connsiteY12" fmla="*/ 2024494 h 6619741"/>
              <a:gd name="connsiteX13" fmla="*/ 4221517 w 4971245"/>
              <a:gd name="connsiteY13" fmla="*/ 1658135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93961 w 4971245"/>
              <a:gd name="connsiteY9" fmla="*/ 3953814 h 6619741"/>
              <a:gd name="connsiteX10" fmla="*/ 3480050 w 4971245"/>
              <a:gd name="connsiteY10" fmla="*/ 3557079 h 6619741"/>
              <a:gd name="connsiteX11" fmla="*/ 3661732 w 4971245"/>
              <a:gd name="connsiteY11" fmla="*/ 2997781 h 6619741"/>
              <a:gd name="connsiteX12" fmla="*/ 3834907 w 4971245"/>
              <a:gd name="connsiteY12" fmla="*/ 2208525 h 6619741"/>
              <a:gd name="connsiteX13" fmla="*/ 4221517 w 4971245"/>
              <a:gd name="connsiteY13" fmla="*/ 1658135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93961 w 4971245"/>
              <a:gd name="connsiteY9" fmla="*/ 3953814 h 6619741"/>
              <a:gd name="connsiteX10" fmla="*/ 3480050 w 4971245"/>
              <a:gd name="connsiteY10" fmla="*/ 3557079 h 6619741"/>
              <a:gd name="connsiteX11" fmla="*/ 3661732 w 4971245"/>
              <a:gd name="connsiteY11" fmla="*/ 2997781 h 6619741"/>
              <a:gd name="connsiteX12" fmla="*/ 3834907 w 4971245"/>
              <a:gd name="connsiteY12" fmla="*/ 2208525 h 6619741"/>
              <a:gd name="connsiteX13" fmla="*/ 4002981 w 4971245"/>
              <a:gd name="connsiteY13" fmla="*/ 1922678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93961 w 4971245"/>
              <a:gd name="connsiteY9" fmla="*/ 3953814 h 6619741"/>
              <a:gd name="connsiteX10" fmla="*/ 3480050 w 4971245"/>
              <a:gd name="connsiteY10" fmla="*/ 3557079 h 6619741"/>
              <a:gd name="connsiteX11" fmla="*/ 3661732 w 4971245"/>
              <a:gd name="connsiteY11" fmla="*/ 2997781 h 6619741"/>
              <a:gd name="connsiteX12" fmla="*/ 3834907 w 4971245"/>
              <a:gd name="connsiteY12" fmla="*/ 2208525 h 6619741"/>
              <a:gd name="connsiteX13" fmla="*/ 4002981 w 4971245"/>
              <a:gd name="connsiteY13" fmla="*/ 1922678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93961 w 4971245"/>
              <a:gd name="connsiteY9" fmla="*/ 3953814 h 6619741"/>
              <a:gd name="connsiteX10" fmla="*/ 3480050 w 4971245"/>
              <a:gd name="connsiteY10" fmla="*/ 3557079 h 6619741"/>
              <a:gd name="connsiteX11" fmla="*/ 3661732 w 4971245"/>
              <a:gd name="connsiteY11" fmla="*/ 2997781 h 6619741"/>
              <a:gd name="connsiteX12" fmla="*/ 3834907 w 4971245"/>
              <a:gd name="connsiteY12" fmla="*/ 2208525 h 6619741"/>
              <a:gd name="connsiteX13" fmla="*/ 4043238 w 4971245"/>
              <a:gd name="connsiteY13" fmla="*/ 1870920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93961 w 4971245"/>
              <a:gd name="connsiteY9" fmla="*/ 3953814 h 6619741"/>
              <a:gd name="connsiteX10" fmla="*/ 3480050 w 4971245"/>
              <a:gd name="connsiteY10" fmla="*/ 3557079 h 6619741"/>
              <a:gd name="connsiteX11" fmla="*/ 3661732 w 4971245"/>
              <a:gd name="connsiteY11" fmla="*/ 2997781 h 6619741"/>
              <a:gd name="connsiteX12" fmla="*/ 3846409 w 4971245"/>
              <a:gd name="connsiteY12" fmla="*/ 2191272 h 6619741"/>
              <a:gd name="connsiteX13" fmla="*/ 4043238 w 4971245"/>
              <a:gd name="connsiteY13" fmla="*/ 1870920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93961 w 4971245"/>
              <a:gd name="connsiteY9" fmla="*/ 3953814 h 6619741"/>
              <a:gd name="connsiteX10" fmla="*/ 3480050 w 4971245"/>
              <a:gd name="connsiteY10" fmla="*/ 3557079 h 6619741"/>
              <a:gd name="connsiteX11" fmla="*/ 3661732 w 4971245"/>
              <a:gd name="connsiteY11" fmla="*/ 2997781 h 6619741"/>
              <a:gd name="connsiteX12" fmla="*/ 3846409 w 4971245"/>
              <a:gd name="connsiteY12" fmla="*/ 2191272 h 6619741"/>
              <a:gd name="connsiteX13" fmla="*/ 4043238 w 4971245"/>
              <a:gd name="connsiteY13" fmla="*/ 1870920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93961 w 4971245"/>
              <a:gd name="connsiteY9" fmla="*/ 3953814 h 6619741"/>
              <a:gd name="connsiteX10" fmla="*/ 3480050 w 4971245"/>
              <a:gd name="connsiteY10" fmla="*/ 3557079 h 6619741"/>
              <a:gd name="connsiteX11" fmla="*/ 3661732 w 4971245"/>
              <a:gd name="connsiteY11" fmla="*/ 2997781 h 6619741"/>
              <a:gd name="connsiteX12" fmla="*/ 3846409 w 4971245"/>
              <a:gd name="connsiteY12" fmla="*/ 2191272 h 6619741"/>
              <a:gd name="connsiteX13" fmla="*/ 3922468 w 4971245"/>
              <a:gd name="connsiteY13" fmla="*/ 1980188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93961 w 4971245"/>
              <a:gd name="connsiteY9" fmla="*/ 3953814 h 6619741"/>
              <a:gd name="connsiteX10" fmla="*/ 3480050 w 4971245"/>
              <a:gd name="connsiteY10" fmla="*/ 3557079 h 6619741"/>
              <a:gd name="connsiteX11" fmla="*/ 3661732 w 4971245"/>
              <a:gd name="connsiteY11" fmla="*/ 2997781 h 6619741"/>
              <a:gd name="connsiteX12" fmla="*/ 3846409 w 4971245"/>
              <a:gd name="connsiteY12" fmla="*/ 2191272 h 6619741"/>
              <a:gd name="connsiteX13" fmla="*/ 4071992 w 4971245"/>
              <a:gd name="connsiteY13" fmla="*/ 1847916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93961 w 4971245"/>
              <a:gd name="connsiteY9" fmla="*/ 3953814 h 6619741"/>
              <a:gd name="connsiteX10" fmla="*/ 3480050 w 4971245"/>
              <a:gd name="connsiteY10" fmla="*/ 3557079 h 6619741"/>
              <a:gd name="connsiteX11" fmla="*/ 3661732 w 4971245"/>
              <a:gd name="connsiteY11" fmla="*/ 2997781 h 6619741"/>
              <a:gd name="connsiteX12" fmla="*/ 3846409 w 4971245"/>
              <a:gd name="connsiteY12" fmla="*/ 2191272 h 6619741"/>
              <a:gd name="connsiteX13" fmla="*/ 4071992 w 4971245"/>
              <a:gd name="connsiteY13" fmla="*/ 1847916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93961 w 4971245"/>
              <a:gd name="connsiteY9" fmla="*/ 3953814 h 6619741"/>
              <a:gd name="connsiteX10" fmla="*/ 3480050 w 4971245"/>
              <a:gd name="connsiteY10" fmla="*/ 3557079 h 6619741"/>
              <a:gd name="connsiteX11" fmla="*/ 3661732 w 4971245"/>
              <a:gd name="connsiteY11" fmla="*/ 2997781 h 6619741"/>
              <a:gd name="connsiteX12" fmla="*/ 3886666 w 4971245"/>
              <a:gd name="connsiteY12" fmla="*/ 2099256 h 6619741"/>
              <a:gd name="connsiteX13" fmla="*/ 4071992 w 4971245"/>
              <a:gd name="connsiteY13" fmla="*/ 1847916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93961 w 4971245"/>
              <a:gd name="connsiteY9" fmla="*/ 3953814 h 6619741"/>
              <a:gd name="connsiteX10" fmla="*/ 3480050 w 4971245"/>
              <a:gd name="connsiteY10" fmla="*/ 3557079 h 6619741"/>
              <a:gd name="connsiteX11" fmla="*/ 3661732 w 4971245"/>
              <a:gd name="connsiteY11" fmla="*/ 2997781 h 6619741"/>
              <a:gd name="connsiteX12" fmla="*/ 3886666 w 4971245"/>
              <a:gd name="connsiteY12" fmla="*/ 2099256 h 6619741"/>
              <a:gd name="connsiteX13" fmla="*/ 4071992 w 4971245"/>
              <a:gd name="connsiteY13" fmla="*/ 1847916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93961 w 4971245"/>
              <a:gd name="connsiteY9" fmla="*/ 3953814 h 6619741"/>
              <a:gd name="connsiteX10" fmla="*/ 3480050 w 4971245"/>
              <a:gd name="connsiteY10" fmla="*/ 3557079 h 6619741"/>
              <a:gd name="connsiteX11" fmla="*/ 3661732 w 4971245"/>
              <a:gd name="connsiteY11" fmla="*/ 2997781 h 6619741"/>
              <a:gd name="connsiteX12" fmla="*/ 3875164 w 4971245"/>
              <a:gd name="connsiteY12" fmla="*/ 2018742 h 6619741"/>
              <a:gd name="connsiteX13" fmla="*/ 4071992 w 4971245"/>
              <a:gd name="connsiteY13" fmla="*/ 1847916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93961 w 4971245"/>
              <a:gd name="connsiteY9" fmla="*/ 3953814 h 6619741"/>
              <a:gd name="connsiteX10" fmla="*/ 3480050 w 4971245"/>
              <a:gd name="connsiteY10" fmla="*/ 3557079 h 6619741"/>
              <a:gd name="connsiteX11" fmla="*/ 3661732 w 4971245"/>
              <a:gd name="connsiteY11" fmla="*/ 2997781 h 6619741"/>
              <a:gd name="connsiteX12" fmla="*/ 3875164 w 4971245"/>
              <a:gd name="connsiteY12" fmla="*/ 2047497 h 6619741"/>
              <a:gd name="connsiteX13" fmla="*/ 4071992 w 4971245"/>
              <a:gd name="connsiteY13" fmla="*/ 1847916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93961 w 4971245"/>
              <a:gd name="connsiteY9" fmla="*/ 3953814 h 6619741"/>
              <a:gd name="connsiteX10" fmla="*/ 3480050 w 4971245"/>
              <a:gd name="connsiteY10" fmla="*/ 3557079 h 6619741"/>
              <a:gd name="connsiteX11" fmla="*/ 3661732 w 4971245"/>
              <a:gd name="connsiteY11" fmla="*/ 2997781 h 6619741"/>
              <a:gd name="connsiteX12" fmla="*/ 3875164 w 4971245"/>
              <a:gd name="connsiteY12" fmla="*/ 2047497 h 6619741"/>
              <a:gd name="connsiteX13" fmla="*/ 4071992 w 4971245"/>
              <a:gd name="connsiteY13" fmla="*/ 1847916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93961 w 4971245"/>
              <a:gd name="connsiteY9" fmla="*/ 3953814 h 6619741"/>
              <a:gd name="connsiteX10" fmla="*/ 3480050 w 4971245"/>
              <a:gd name="connsiteY10" fmla="*/ 3557079 h 6619741"/>
              <a:gd name="connsiteX11" fmla="*/ 3661732 w 4971245"/>
              <a:gd name="connsiteY11" fmla="*/ 2997781 h 6619741"/>
              <a:gd name="connsiteX12" fmla="*/ 3857912 w 4971245"/>
              <a:gd name="connsiteY12" fmla="*/ 2197022 h 6619741"/>
              <a:gd name="connsiteX13" fmla="*/ 4071992 w 4971245"/>
              <a:gd name="connsiteY13" fmla="*/ 1847916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93961 w 4971245"/>
              <a:gd name="connsiteY9" fmla="*/ 3953814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071992 w 4971245"/>
              <a:gd name="connsiteY13" fmla="*/ 1847916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93961 w 4971245"/>
              <a:gd name="connsiteY9" fmla="*/ 3953814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734517 w 4971245"/>
              <a:gd name="connsiteY3" fmla="*/ 568071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83203 w 4971245"/>
              <a:gd name="connsiteY9" fmla="*/ 3943056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69325 w 4971245"/>
              <a:gd name="connsiteY2" fmla="*/ 6180725 h 6619741"/>
              <a:gd name="connsiteX3" fmla="*/ 1688413 w 4971245"/>
              <a:gd name="connsiteY3" fmla="*/ 5788294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83203 w 4971245"/>
              <a:gd name="connsiteY9" fmla="*/ 3943056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92377 w 4971245"/>
              <a:gd name="connsiteY2" fmla="*/ 6157673 h 6619741"/>
              <a:gd name="connsiteX3" fmla="*/ 1688413 w 4971245"/>
              <a:gd name="connsiteY3" fmla="*/ 5788294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83203 w 4971245"/>
              <a:gd name="connsiteY9" fmla="*/ 3943056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492377 w 4971245"/>
              <a:gd name="connsiteY2" fmla="*/ 6157673 h 6619741"/>
              <a:gd name="connsiteX3" fmla="*/ 1688413 w 4971245"/>
              <a:gd name="connsiteY3" fmla="*/ 5788294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83203 w 4971245"/>
              <a:gd name="connsiteY9" fmla="*/ 3943056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15429 w 4971245"/>
              <a:gd name="connsiteY2" fmla="*/ 6096201 h 6619741"/>
              <a:gd name="connsiteX3" fmla="*/ 1688413 w 4971245"/>
              <a:gd name="connsiteY3" fmla="*/ 5788294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83203 w 4971245"/>
              <a:gd name="connsiteY9" fmla="*/ 3943056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15429 w 4971245"/>
              <a:gd name="connsiteY2" fmla="*/ 6096201 h 6619741"/>
              <a:gd name="connsiteX3" fmla="*/ 1742201 w 4971245"/>
              <a:gd name="connsiteY3" fmla="*/ 5703769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83203 w 4971245"/>
              <a:gd name="connsiteY9" fmla="*/ 3943056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15429 w 4971245"/>
              <a:gd name="connsiteY2" fmla="*/ 6096201 h 6619741"/>
              <a:gd name="connsiteX3" fmla="*/ 1711465 w 4971245"/>
              <a:gd name="connsiteY3" fmla="*/ 571913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83203 w 4971245"/>
              <a:gd name="connsiteY9" fmla="*/ 3943056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15429 w 4971245"/>
              <a:gd name="connsiteY2" fmla="*/ 6096201 h 6619741"/>
              <a:gd name="connsiteX3" fmla="*/ 1711465 w 4971245"/>
              <a:gd name="connsiteY3" fmla="*/ 571913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83203 w 4971245"/>
              <a:gd name="connsiteY9" fmla="*/ 3943056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15429 w 4971245"/>
              <a:gd name="connsiteY2" fmla="*/ 6096201 h 6619741"/>
              <a:gd name="connsiteX3" fmla="*/ 1711465 w 4971245"/>
              <a:gd name="connsiteY3" fmla="*/ 5719137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83203 w 4971245"/>
              <a:gd name="connsiteY9" fmla="*/ 3943056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15429 w 4971245"/>
              <a:gd name="connsiteY2" fmla="*/ 6096201 h 6619741"/>
              <a:gd name="connsiteX3" fmla="*/ 1726833 w 4971245"/>
              <a:gd name="connsiteY3" fmla="*/ 5711453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83203 w 4971245"/>
              <a:gd name="connsiteY9" fmla="*/ 3943056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15429 w 4971245"/>
              <a:gd name="connsiteY2" fmla="*/ 6096201 h 6619741"/>
              <a:gd name="connsiteX3" fmla="*/ 1726833 w 4971245"/>
              <a:gd name="connsiteY3" fmla="*/ 5711453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83203 w 4971245"/>
              <a:gd name="connsiteY9" fmla="*/ 3943056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96201 h 6619741"/>
              <a:gd name="connsiteX3" fmla="*/ 1726833 w 4971245"/>
              <a:gd name="connsiteY3" fmla="*/ 5711453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83203 w 4971245"/>
              <a:gd name="connsiteY9" fmla="*/ 3943056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83203 w 4971245"/>
              <a:gd name="connsiteY9" fmla="*/ 3943056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35106 w 4971245"/>
              <a:gd name="connsiteY4" fmla="*/ 5530545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83203 w 4971245"/>
              <a:gd name="connsiteY9" fmla="*/ 3943056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50474 w 4971245"/>
              <a:gd name="connsiteY4" fmla="*/ 5561281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83203 w 4971245"/>
              <a:gd name="connsiteY9" fmla="*/ 3943056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1188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83203 w 4971245"/>
              <a:gd name="connsiteY9" fmla="*/ 3943056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83203 w 4971245"/>
              <a:gd name="connsiteY9" fmla="*/ 3943056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206255 w 4971245"/>
              <a:gd name="connsiteY9" fmla="*/ 3966108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90619 w 4971245"/>
              <a:gd name="connsiteY8" fmla="*/ 4191143 h 6619741"/>
              <a:gd name="connsiteX9" fmla="*/ 3183203 w 4971245"/>
              <a:gd name="connsiteY9" fmla="*/ 3958424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98303 w 4971245"/>
              <a:gd name="connsiteY8" fmla="*/ 4244931 h 6619741"/>
              <a:gd name="connsiteX9" fmla="*/ 3183203 w 4971245"/>
              <a:gd name="connsiteY9" fmla="*/ 3958424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98303 w 4971245"/>
              <a:gd name="connsiteY8" fmla="*/ 4221879 h 6619741"/>
              <a:gd name="connsiteX9" fmla="*/ 3183203 w 4971245"/>
              <a:gd name="connsiteY9" fmla="*/ 3958424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75250 w 4971245"/>
              <a:gd name="connsiteY8" fmla="*/ 4191143 h 6619741"/>
              <a:gd name="connsiteX9" fmla="*/ 3183203 w 4971245"/>
              <a:gd name="connsiteY9" fmla="*/ 3958424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82935 w 4971245"/>
              <a:gd name="connsiteY8" fmla="*/ 4206511 h 6619741"/>
              <a:gd name="connsiteX9" fmla="*/ 3183203 w 4971245"/>
              <a:gd name="connsiteY9" fmla="*/ 3958424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82935 w 4971245"/>
              <a:gd name="connsiteY8" fmla="*/ 4214195 h 6619741"/>
              <a:gd name="connsiteX9" fmla="*/ 3183203 w 4971245"/>
              <a:gd name="connsiteY9" fmla="*/ 3958424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82935 w 4971245"/>
              <a:gd name="connsiteY8" fmla="*/ 4214195 h 6619741"/>
              <a:gd name="connsiteX9" fmla="*/ 3183203 w 4971245"/>
              <a:gd name="connsiteY9" fmla="*/ 3958424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82935 w 4971245"/>
              <a:gd name="connsiteY8" fmla="*/ 4214195 h 6619741"/>
              <a:gd name="connsiteX9" fmla="*/ 3183203 w 4971245"/>
              <a:gd name="connsiteY9" fmla="*/ 3958424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944408 w 4971245"/>
              <a:gd name="connsiteY8" fmla="*/ 4160407 h 6619741"/>
              <a:gd name="connsiteX9" fmla="*/ 3183203 w 4971245"/>
              <a:gd name="connsiteY9" fmla="*/ 3958424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90620 w 4971245"/>
              <a:gd name="connsiteY8" fmla="*/ 4237247 h 6619741"/>
              <a:gd name="connsiteX9" fmla="*/ 3183203 w 4971245"/>
              <a:gd name="connsiteY9" fmla="*/ 3958424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90620 w 4971245"/>
              <a:gd name="connsiteY8" fmla="*/ 4237247 h 6619741"/>
              <a:gd name="connsiteX9" fmla="*/ 3183203 w 4971245"/>
              <a:gd name="connsiteY9" fmla="*/ 3958424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90620 w 4971245"/>
              <a:gd name="connsiteY8" fmla="*/ 4237247 h 6619741"/>
              <a:gd name="connsiteX9" fmla="*/ 3290779 w 4971245"/>
              <a:gd name="connsiteY9" fmla="*/ 3873899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90620 w 4971245"/>
              <a:gd name="connsiteY8" fmla="*/ 4237247 h 6619741"/>
              <a:gd name="connsiteX9" fmla="*/ 3290779 w 4971245"/>
              <a:gd name="connsiteY9" fmla="*/ 3850847 h 6619741"/>
              <a:gd name="connsiteX10" fmla="*/ 3480050 w 4971245"/>
              <a:gd name="connsiteY10" fmla="*/ 3557079 h 6619741"/>
              <a:gd name="connsiteX11" fmla="*/ 3661732 w 4971245"/>
              <a:gd name="connsiteY11" fmla="*/ 2997781 h 6619741"/>
              <a:gd name="connsiteX12" fmla="*/ 3834908 w 4971245"/>
              <a:gd name="connsiteY12" fmla="*/ 2202773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90620 w 4971245"/>
              <a:gd name="connsiteY8" fmla="*/ 4237247 h 6619741"/>
              <a:gd name="connsiteX9" fmla="*/ 3290779 w 4971245"/>
              <a:gd name="connsiteY9" fmla="*/ 3850847 h 6619741"/>
              <a:gd name="connsiteX10" fmla="*/ 3480050 w 4971245"/>
              <a:gd name="connsiteY10" fmla="*/ 3557079 h 6619741"/>
              <a:gd name="connsiteX11" fmla="*/ 3661732 w 4971245"/>
              <a:gd name="connsiteY11" fmla="*/ 2997781 h 6619741"/>
              <a:gd name="connsiteX12" fmla="*/ 3896380 w 4971245"/>
              <a:gd name="connsiteY12" fmla="*/ 2033724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90620 w 4971245"/>
              <a:gd name="connsiteY8" fmla="*/ 4237247 h 6619741"/>
              <a:gd name="connsiteX9" fmla="*/ 3290779 w 4971245"/>
              <a:gd name="connsiteY9" fmla="*/ 3850847 h 6619741"/>
              <a:gd name="connsiteX10" fmla="*/ 3480050 w 4971245"/>
              <a:gd name="connsiteY10" fmla="*/ 3557079 h 6619741"/>
              <a:gd name="connsiteX11" fmla="*/ 3661732 w 4971245"/>
              <a:gd name="connsiteY11" fmla="*/ 2997781 h 6619741"/>
              <a:gd name="connsiteX12" fmla="*/ 3888696 w 4971245"/>
              <a:gd name="connsiteY12" fmla="*/ 2072145 h 6619741"/>
              <a:gd name="connsiteX13" fmla="*/ 4192761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90620 w 4971245"/>
              <a:gd name="connsiteY8" fmla="*/ 4237247 h 6619741"/>
              <a:gd name="connsiteX9" fmla="*/ 3290779 w 4971245"/>
              <a:gd name="connsiteY9" fmla="*/ 3850847 h 6619741"/>
              <a:gd name="connsiteX10" fmla="*/ 3480050 w 4971245"/>
              <a:gd name="connsiteY10" fmla="*/ 3557079 h 6619741"/>
              <a:gd name="connsiteX11" fmla="*/ 3661732 w 4971245"/>
              <a:gd name="connsiteY11" fmla="*/ 2997781 h 6619741"/>
              <a:gd name="connsiteX12" fmla="*/ 3888696 w 4971245"/>
              <a:gd name="connsiteY12" fmla="*/ 2072145 h 6619741"/>
              <a:gd name="connsiteX13" fmla="*/ 4254233 w 4971245"/>
              <a:gd name="connsiteY13" fmla="*/ 171564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90620 w 4971245"/>
              <a:gd name="connsiteY8" fmla="*/ 4237247 h 6619741"/>
              <a:gd name="connsiteX9" fmla="*/ 3290779 w 4971245"/>
              <a:gd name="connsiteY9" fmla="*/ 3850847 h 6619741"/>
              <a:gd name="connsiteX10" fmla="*/ 3480050 w 4971245"/>
              <a:gd name="connsiteY10" fmla="*/ 3557079 h 6619741"/>
              <a:gd name="connsiteX11" fmla="*/ 3661732 w 4971245"/>
              <a:gd name="connsiteY11" fmla="*/ 2997781 h 6619741"/>
              <a:gd name="connsiteX12" fmla="*/ 3888696 w 4971245"/>
              <a:gd name="connsiteY12" fmla="*/ 2072145 h 6619741"/>
              <a:gd name="connsiteX13" fmla="*/ 4238865 w 4971245"/>
              <a:gd name="connsiteY13" fmla="*/ 167722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90620 w 4971245"/>
              <a:gd name="connsiteY8" fmla="*/ 4237247 h 6619741"/>
              <a:gd name="connsiteX9" fmla="*/ 3290779 w 4971245"/>
              <a:gd name="connsiteY9" fmla="*/ 3850847 h 6619741"/>
              <a:gd name="connsiteX10" fmla="*/ 3480050 w 4971245"/>
              <a:gd name="connsiteY10" fmla="*/ 3557079 h 6619741"/>
              <a:gd name="connsiteX11" fmla="*/ 3661732 w 4971245"/>
              <a:gd name="connsiteY11" fmla="*/ 2997781 h 6619741"/>
              <a:gd name="connsiteX12" fmla="*/ 3896380 w 4971245"/>
              <a:gd name="connsiteY12" fmla="*/ 2072145 h 6619741"/>
              <a:gd name="connsiteX13" fmla="*/ 4238865 w 4971245"/>
              <a:gd name="connsiteY13" fmla="*/ 167722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90620 w 4971245"/>
              <a:gd name="connsiteY8" fmla="*/ 4237247 h 6619741"/>
              <a:gd name="connsiteX9" fmla="*/ 3290779 w 4971245"/>
              <a:gd name="connsiteY9" fmla="*/ 3850847 h 6619741"/>
              <a:gd name="connsiteX10" fmla="*/ 3480050 w 4971245"/>
              <a:gd name="connsiteY10" fmla="*/ 3557079 h 6619741"/>
              <a:gd name="connsiteX11" fmla="*/ 3661732 w 4971245"/>
              <a:gd name="connsiteY11" fmla="*/ 2997781 h 6619741"/>
              <a:gd name="connsiteX12" fmla="*/ 3873328 w 4971245"/>
              <a:gd name="connsiteY12" fmla="*/ 2064461 h 6619741"/>
              <a:gd name="connsiteX13" fmla="*/ 4238865 w 4971245"/>
              <a:gd name="connsiteY13" fmla="*/ 167722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90620 w 4971245"/>
              <a:gd name="connsiteY8" fmla="*/ 4237247 h 6619741"/>
              <a:gd name="connsiteX9" fmla="*/ 3290779 w 4971245"/>
              <a:gd name="connsiteY9" fmla="*/ 3850847 h 6619741"/>
              <a:gd name="connsiteX10" fmla="*/ 3480050 w 4971245"/>
              <a:gd name="connsiteY10" fmla="*/ 3557079 h 6619741"/>
              <a:gd name="connsiteX11" fmla="*/ 3661732 w 4971245"/>
              <a:gd name="connsiteY11" fmla="*/ 2997781 h 6619741"/>
              <a:gd name="connsiteX12" fmla="*/ 3873328 w 4971245"/>
              <a:gd name="connsiteY12" fmla="*/ 2064461 h 6619741"/>
              <a:gd name="connsiteX13" fmla="*/ 4208129 w 4971245"/>
              <a:gd name="connsiteY13" fmla="*/ 1754064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90620 w 4971245"/>
              <a:gd name="connsiteY8" fmla="*/ 4237247 h 6619741"/>
              <a:gd name="connsiteX9" fmla="*/ 3290779 w 4971245"/>
              <a:gd name="connsiteY9" fmla="*/ 3850847 h 6619741"/>
              <a:gd name="connsiteX10" fmla="*/ 3480050 w 4971245"/>
              <a:gd name="connsiteY10" fmla="*/ 3557079 h 6619741"/>
              <a:gd name="connsiteX11" fmla="*/ 3661732 w 4971245"/>
              <a:gd name="connsiteY11" fmla="*/ 2997781 h 6619741"/>
              <a:gd name="connsiteX12" fmla="*/ 3873328 w 4971245"/>
              <a:gd name="connsiteY12" fmla="*/ 2064461 h 6619741"/>
              <a:gd name="connsiteX13" fmla="*/ 4238865 w 4971245"/>
              <a:gd name="connsiteY13" fmla="*/ 1669540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90620 w 4971245"/>
              <a:gd name="connsiteY8" fmla="*/ 4237247 h 6619741"/>
              <a:gd name="connsiteX9" fmla="*/ 3290779 w 4971245"/>
              <a:gd name="connsiteY9" fmla="*/ 3850847 h 6619741"/>
              <a:gd name="connsiteX10" fmla="*/ 3480050 w 4971245"/>
              <a:gd name="connsiteY10" fmla="*/ 3557079 h 6619741"/>
              <a:gd name="connsiteX11" fmla="*/ 3661732 w 4971245"/>
              <a:gd name="connsiteY11" fmla="*/ 2997781 h 6619741"/>
              <a:gd name="connsiteX12" fmla="*/ 3896380 w 4971245"/>
              <a:gd name="connsiteY12" fmla="*/ 2102881 h 6619741"/>
              <a:gd name="connsiteX13" fmla="*/ 4238865 w 4971245"/>
              <a:gd name="connsiteY13" fmla="*/ 1669540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90620 w 4971245"/>
              <a:gd name="connsiteY8" fmla="*/ 4237247 h 6619741"/>
              <a:gd name="connsiteX9" fmla="*/ 3290779 w 4971245"/>
              <a:gd name="connsiteY9" fmla="*/ 3850847 h 6619741"/>
              <a:gd name="connsiteX10" fmla="*/ 3480050 w 4971245"/>
              <a:gd name="connsiteY10" fmla="*/ 3557079 h 6619741"/>
              <a:gd name="connsiteX11" fmla="*/ 3661732 w 4971245"/>
              <a:gd name="connsiteY11" fmla="*/ 2997781 h 6619741"/>
              <a:gd name="connsiteX12" fmla="*/ 3896380 w 4971245"/>
              <a:gd name="connsiteY12" fmla="*/ 2102881 h 6619741"/>
              <a:gd name="connsiteX13" fmla="*/ 4238865 w 4971245"/>
              <a:gd name="connsiteY13" fmla="*/ 1669540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90620 w 4971245"/>
              <a:gd name="connsiteY8" fmla="*/ 4237247 h 6619741"/>
              <a:gd name="connsiteX9" fmla="*/ 3290779 w 4971245"/>
              <a:gd name="connsiteY9" fmla="*/ 3850847 h 6619741"/>
              <a:gd name="connsiteX10" fmla="*/ 3480050 w 4971245"/>
              <a:gd name="connsiteY10" fmla="*/ 3557079 h 6619741"/>
              <a:gd name="connsiteX11" fmla="*/ 3661732 w 4971245"/>
              <a:gd name="connsiteY11" fmla="*/ 2997781 h 6619741"/>
              <a:gd name="connsiteX12" fmla="*/ 3934800 w 4971245"/>
              <a:gd name="connsiteY12" fmla="*/ 1979936 h 6619741"/>
              <a:gd name="connsiteX13" fmla="*/ 4238865 w 4971245"/>
              <a:gd name="connsiteY13" fmla="*/ 1669540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90620 w 4971245"/>
              <a:gd name="connsiteY8" fmla="*/ 4237247 h 6619741"/>
              <a:gd name="connsiteX9" fmla="*/ 3290779 w 4971245"/>
              <a:gd name="connsiteY9" fmla="*/ 3850847 h 6619741"/>
              <a:gd name="connsiteX10" fmla="*/ 3480050 w 4971245"/>
              <a:gd name="connsiteY10" fmla="*/ 3557079 h 6619741"/>
              <a:gd name="connsiteX11" fmla="*/ 3661732 w 4971245"/>
              <a:gd name="connsiteY11" fmla="*/ 2997781 h 6619741"/>
              <a:gd name="connsiteX12" fmla="*/ 3934800 w 4971245"/>
              <a:gd name="connsiteY12" fmla="*/ 1979936 h 6619741"/>
              <a:gd name="connsiteX13" fmla="*/ 4292654 w 4971245"/>
              <a:gd name="connsiteY13" fmla="*/ 1654172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90620 w 4971245"/>
              <a:gd name="connsiteY8" fmla="*/ 4237247 h 6619741"/>
              <a:gd name="connsiteX9" fmla="*/ 3290779 w 4971245"/>
              <a:gd name="connsiteY9" fmla="*/ 3850847 h 6619741"/>
              <a:gd name="connsiteX10" fmla="*/ 3480050 w 4971245"/>
              <a:gd name="connsiteY10" fmla="*/ 3557079 h 6619741"/>
              <a:gd name="connsiteX11" fmla="*/ 3661732 w 4971245"/>
              <a:gd name="connsiteY11" fmla="*/ 2997781 h 6619741"/>
              <a:gd name="connsiteX12" fmla="*/ 3934800 w 4971245"/>
              <a:gd name="connsiteY12" fmla="*/ 1979936 h 6619741"/>
              <a:gd name="connsiteX13" fmla="*/ 4292654 w 4971245"/>
              <a:gd name="connsiteY13" fmla="*/ 1654172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90620 w 4971245"/>
              <a:gd name="connsiteY8" fmla="*/ 4237247 h 6619741"/>
              <a:gd name="connsiteX9" fmla="*/ 3290779 w 4971245"/>
              <a:gd name="connsiteY9" fmla="*/ 3850847 h 6619741"/>
              <a:gd name="connsiteX10" fmla="*/ 3480050 w 4971245"/>
              <a:gd name="connsiteY10" fmla="*/ 3557079 h 6619741"/>
              <a:gd name="connsiteX11" fmla="*/ 3661732 w 4971245"/>
              <a:gd name="connsiteY11" fmla="*/ 2997781 h 6619741"/>
              <a:gd name="connsiteX12" fmla="*/ 3934800 w 4971245"/>
              <a:gd name="connsiteY12" fmla="*/ 1979936 h 6619741"/>
              <a:gd name="connsiteX13" fmla="*/ 4292654 w 4971245"/>
              <a:gd name="connsiteY13" fmla="*/ 1654172 h 6619741"/>
              <a:gd name="connsiteX14" fmla="*/ 4378817 w 4971245"/>
              <a:gd name="connsiteY14" fmla="*/ 1455313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90620 w 4971245"/>
              <a:gd name="connsiteY8" fmla="*/ 4237247 h 6619741"/>
              <a:gd name="connsiteX9" fmla="*/ 3290779 w 4971245"/>
              <a:gd name="connsiteY9" fmla="*/ 3850847 h 6619741"/>
              <a:gd name="connsiteX10" fmla="*/ 3480050 w 4971245"/>
              <a:gd name="connsiteY10" fmla="*/ 3557079 h 6619741"/>
              <a:gd name="connsiteX11" fmla="*/ 3661732 w 4971245"/>
              <a:gd name="connsiteY11" fmla="*/ 2997781 h 6619741"/>
              <a:gd name="connsiteX12" fmla="*/ 3934800 w 4971245"/>
              <a:gd name="connsiteY12" fmla="*/ 1979936 h 6619741"/>
              <a:gd name="connsiteX13" fmla="*/ 4292654 w 4971245"/>
              <a:gd name="connsiteY13" fmla="*/ 1654172 h 6619741"/>
              <a:gd name="connsiteX14" fmla="*/ 4517130 w 4971245"/>
              <a:gd name="connsiteY14" fmla="*/ 1255528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90620 w 4971245"/>
              <a:gd name="connsiteY8" fmla="*/ 4237247 h 6619741"/>
              <a:gd name="connsiteX9" fmla="*/ 3290779 w 4971245"/>
              <a:gd name="connsiteY9" fmla="*/ 3850847 h 6619741"/>
              <a:gd name="connsiteX10" fmla="*/ 3480050 w 4971245"/>
              <a:gd name="connsiteY10" fmla="*/ 3557079 h 6619741"/>
              <a:gd name="connsiteX11" fmla="*/ 3661732 w 4971245"/>
              <a:gd name="connsiteY11" fmla="*/ 2997781 h 6619741"/>
              <a:gd name="connsiteX12" fmla="*/ 3934800 w 4971245"/>
              <a:gd name="connsiteY12" fmla="*/ 1979936 h 6619741"/>
              <a:gd name="connsiteX13" fmla="*/ 4338758 w 4971245"/>
              <a:gd name="connsiteY13" fmla="*/ 1585015 h 6619741"/>
              <a:gd name="connsiteX14" fmla="*/ 4517130 w 4971245"/>
              <a:gd name="connsiteY14" fmla="*/ 1255528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90620 w 4971245"/>
              <a:gd name="connsiteY8" fmla="*/ 4237247 h 6619741"/>
              <a:gd name="connsiteX9" fmla="*/ 3290779 w 4971245"/>
              <a:gd name="connsiteY9" fmla="*/ 3850847 h 6619741"/>
              <a:gd name="connsiteX10" fmla="*/ 3480050 w 4971245"/>
              <a:gd name="connsiteY10" fmla="*/ 3557079 h 6619741"/>
              <a:gd name="connsiteX11" fmla="*/ 3661732 w 4971245"/>
              <a:gd name="connsiteY11" fmla="*/ 2997781 h 6619741"/>
              <a:gd name="connsiteX12" fmla="*/ 3934800 w 4971245"/>
              <a:gd name="connsiteY12" fmla="*/ 1979936 h 6619741"/>
              <a:gd name="connsiteX13" fmla="*/ 4338758 w 4971245"/>
              <a:gd name="connsiteY13" fmla="*/ 1585015 h 6619741"/>
              <a:gd name="connsiteX14" fmla="*/ 4517130 w 4971245"/>
              <a:gd name="connsiteY14" fmla="*/ 1255528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90620 w 4971245"/>
              <a:gd name="connsiteY8" fmla="*/ 4237247 h 6619741"/>
              <a:gd name="connsiteX9" fmla="*/ 3290779 w 4971245"/>
              <a:gd name="connsiteY9" fmla="*/ 3850847 h 6619741"/>
              <a:gd name="connsiteX10" fmla="*/ 3480050 w 4971245"/>
              <a:gd name="connsiteY10" fmla="*/ 3557079 h 6619741"/>
              <a:gd name="connsiteX11" fmla="*/ 3661732 w 4971245"/>
              <a:gd name="connsiteY11" fmla="*/ 2997781 h 6619741"/>
              <a:gd name="connsiteX12" fmla="*/ 3934800 w 4971245"/>
              <a:gd name="connsiteY12" fmla="*/ 1979936 h 6619741"/>
              <a:gd name="connsiteX13" fmla="*/ 4292654 w 4971245"/>
              <a:gd name="connsiteY13" fmla="*/ 1561963 h 6619741"/>
              <a:gd name="connsiteX14" fmla="*/ 4517130 w 4971245"/>
              <a:gd name="connsiteY14" fmla="*/ 1255528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90620 w 4971245"/>
              <a:gd name="connsiteY8" fmla="*/ 4237247 h 6619741"/>
              <a:gd name="connsiteX9" fmla="*/ 3290779 w 4971245"/>
              <a:gd name="connsiteY9" fmla="*/ 3850847 h 6619741"/>
              <a:gd name="connsiteX10" fmla="*/ 3480050 w 4971245"/>
              <a:gd name="connsiteY10" fmla="*/ 3557079 h 6619741"/>
              <a:gd name="connsiteX11" fmla="*/ 3661732 w 4971245"/>
              <a:gd name="connsiteY11" fmla="*/ 2997781 h 6619741"/>
              <a:gd name="connsiteX12" fmla="*/ 3857960 w 4971245"/>
              <a:gd name="connsiteY12" fmla="*/ 2148985 h 6619741"/>
              <a:gd name="connsiteX13" fmla="*/ 4292654 w 4971245"/>
              <a:gd name="connsiteY13" fmla="*/ 1561963 h 6619741"/>
              <a:gd name="connsiteX14" fmla="*/ 4517130 w 4971245"/>
              <a:gd name="connsiteY14" fmla="*/ 1255528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90620 w 4971245"/>
              <a:gd name="connsiteY8" fmla="*/ 4237247 h 6619741"/>
              <a:gd name="connsiteX9" fmla="*/ 3290779 w 4971245"/>
              <a:gd name="connsiteY9" fmla="*/ 3850847 h 6619741"/>
              <a:gd name="connsiteX10" fmla="*/ 3480050 w 4971245"/>
              <a:gd name="connsiteY10" fmla="*/ 3557079 h 6619741"/>
              <a:gd name="connsiteX11" fmla="*/ 3661732 w 4971245"/>
              <a:gd name="connsiteY11" fmla="*/ 2997781 h 6619741"/>
              <a:gd name="connsiteX12" fmla="*/ 3857960 w 4971245"/>
              <a:gd name="connsiteY12" fmla="*/ 2148985 h 6619741"/>
              <a:gd name="connsiteX13" fmla="*/ 4323390 w 4971245"/>
              <a:gd name="connsiteY13" fmla="*/ 1592699 h 6619741"/>
              <a:gd name="connsiteX14" fmla="*/ 4517130 w 4971245"/>
              <a:gd name="connsiteY14" fmla="*/ 1255528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90620 w 4971245"/>
              <a:gd name="connsiteY8" fmla="*/ 4237247 h 6619741"/>
              <a:gd name="connsiteX9" fmla="*/ 3290779 w 4971245"/>
              <a:gd name="connsiteY9" fmla="*/ 3850847 h 6619741"/>
              <a:gd name="connsiteX10" fmla="*/ 3480050 w 4971245"/>
              <a:gd name="connsiteY10" fmla="*/ 3557079 h 6619741"/>
              <a:gd name="connsiteX11" fmla="*/ 3661732 w 4971245"/>
              <a:gd name="connsiteY11" fmla="*/ 2997781 h 6619741"/>
              <a:gd name="connsiteX12" fmla="*/ 3857960 w 4971245"/>
              <a:gd name="connsiteY12" fmla="*/ 2148985 h 6619741"/>
              <a:gd name="connsiteX13" fmla="*/ 4323390 w 4971245"/>
              <a:gd name="connsiteY13" fmla="*/ 1592699 h 6619741"/>
              <a:gd name="connsiteX14" fmla="*/ 4524814 w 4971245"/>
              <a:gd name="connsiteY14" fmla="*/ 1201740 h 6619741"/>
              <a:gd name="connsiteX15" fmla="*/ 4687910 w 4971245"/>
              <a:gd name="connsiteY15" fmla="*/ 811369 h 6619741"/>
              <a:gd name="connsiteX16" fmla="*/ 4971245 w 4971245"/>
              <a:gd name="connsiteY16" fmla="*/ 0 h 6619741"/>
              <a:gd name="connsiteX0" fmla="*/ 0 w 4971245"/>
              <a:gd name="connsiteY0" fmla="*/ 6619741 h 6619741"/>
              <a:gd name="connsiteX1" fmla="*/ 978795 w 4971245"/>
              <a:gd name="connsiteY1" fmla="*/ 6478073 h 6619741"/>
              <a:gd name="connsiteX2" fmla="*/ 1546166 w 4971245"/>
              <a:gd name="connsiteY2" fmla="*/ 6073149 h 6619741"/>
              <a:gd name="connsiteX3" fmla="*/ 1726833 w 4971245"/>
              <a:gd name="connsiteY3" fmla="*/ 5711453 h 6619741"/>
              <a:gd name="connsiteX4" fmla="*/ 2088894 w 4971245"/>
              <a:gd name="connsiteY4" fmla="*/ 5522861 h 6619741"/>
              <a:gd name="connsiteX5" fmla="*/ 2308872 w 4971245"/>
              <a:gd name="connsiteY5" fmla="*/ 5384503 h 6619741"/>
              <a:gd name="connsiteX6" fmla="*/ 2485865 w 4971245"/>
              <a:gd name="connsiteY6" fmla="*/ 5218455 h 6619741"/>
              <a:gd name="connsiteX7" fmla="*/ 2702943 w 4971245"/>
              <a:gd name="connsiteY7" fmla="*/ 4812082 h 6619741"/>
              <a:gd name="connsiteX8" fmla="*/ 2890620 w 4971245"/>
              <a:gd name="connsiteY8" fmla="*/ 4237247 h 6619741"/>
              <a:gd name="connsiteX9" fmla="*/ 3290779 w 4971245"/>
              <a:gd name="connsiteY9" fmla="*/ 3850847 h 6619741"/>
              <a:gd name="connsiteX10" fmla="*/ 3480050 w 4971245"/>
              <a:gd name="connsiteY10" fmla="*/ 3557079 h 6619741"/>
              <a:gd name="connsiteX11" fmla="*/ 3661732 w 4971245"/>
              <a:gd name="connsiteY11" fmla="*/ 2997781 h 6619741"/>
              <a:gd name="connsiteX12" fmla="*/ 3857960 w 4971245"/>
              <a:gd name="connsiteY12" fmla="*/ 2148985 h 6619741"/>
              <a:gd name="connsiteX13" fmla="*/ 4338758 w 4971245"/>
              <a:gd name="connsiteY13" fmla="*/ 1531227 h 6619741"/>
              <a:gd name="connsiteX14" fmla="*/ 4524814 w 4971245"/>
              <a:gd name="connsiteY14" fmla="*/ 1201740 h 6619741"/>
              <a:gd name="connsiteX15" fmla="*/ 4687910 w 4971245"/>
              <a:gd name="connsiteY15" fmla="*/ 811369 h 6619741"/>
              <a:gd name="connsiteX16" fmla="*/ 4971245 w 4971245"/>
              <a:gd name="connsiteY16" fmla="*/ 0 h 6619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71245" h="6619741">
                <a:moveTo>
                  <a:pt x="0" y="6619741"/>
                </a:moveTo>
                <a:cubicBezTo>
                  <a:pt x="361682" y="6590763"/>
                  <a:pt x="721101" y="6569172"/>
                  <a:pt x="978795" y="6478073"/>
                </a:cubicBezTo>
                <a:cubicBezTo>
                  <a:pt x="1236489" y="6386974"/>
                  <a:pt x="1444545" y="6277759"/>
                  <a:pt x="1546166" y="6073149"/>
                </a:cubicBezTo>
                <a:cubicBezTo>
                  <a:pt x="1647787" y="5868539"/>
                  <a:pt x="1636378" y="5803168"/>
                  <a:pt x="1726833" y="5711453"/>
                </a:cubicBezTo>
                <a:cubicBezTo>
                  <a:pt x="1817288" y="5619738"/>
                  <a:pt x="1991888" y="5577353"/>
                  <a:pt x="2088894" y="5522861"/>
                </a:cubicBezTo>
                <a:cubicBezTo>
                  <a:pt x="2185900" y="5468369"/>
                  <a:pt x="2242710" y="5435237"/>
                  <a:pt x="2308872" y="5384503"/>
                </a:cubicBezTo>
                <a:cubicBezTo>
                  <a:pt x="2375034" y="5333769"/>
                  <a:pt x="2420187" y="5313858"/>
                  <a:pt x="2485865" y="5218455"/>
                </a:cubicBezTo>
                <a:cubicBezTo>
                  <a:pt x="2551543" y="5123052"/>
                  <a:pt x="2635484" y="4975617"/>
                  <a:pt x="2702943" y="4812082"/>
                </a:cubicBezTo>
                <a:cubicBezTo>
                  <a:pt x="2770402" y="4648547"/>
                  <a:pt x="2792647" y="4397453"/>
                  <a:pt x="2890620" y="4237247"/>
                </a:cubicBezTo>
                <a:cubicBezTo>
                  <a:pt x="2988593" y="4077041"/>
                  <a:pt x="3192541" y="3964208"/>
                  <a:pt x="3290779" y="3850847"/>
                </a:cubicBezTo>
                <a:cubicBezTo>
                  <a:pt x="3389017" y="3737486"/>
                  <a:pt x="3418225" y="3699257"/>
                  <a:pt x="3480050" y="3557079"/>
                </a:cubicBezTo>
                <a:cubicBezTo>
                  <a:pt x="3541876" y="3414901"/>
                  <a:pt x="3598747" y="3232463"/>
                  <a:pt x="3661732" y="2997781"/>
                </a:cubicBezTo>
                <a:cubicBezTo>
                  <a:pt x="3724717" y="2763099"/>
                  <a:pt x="3745122" y="2393411"/>
                  <a:pt x="3857960" y="2148985"/>
                </a:cubicBezTo>
                <a:cubicBezTo>
                  <a:pt x="3970798" y="1904559"/>
                  <a:pt x="4227616" y="1689101"/>
                  <a:pt x="4338758" y="1531227"/>
                </a:cubicBezTo>
                <a:cubicBezTo>
                  <a:pt x="4449900" y="1373353"/>
                  <a:pt x="4466622" y="1321716"/>
                  <a:pt x="4524814" y="1201740"/>
                </a:cubicBezTo>
                <a:cubicBezTo>
                  <a:pt x="4583006" y="1081764"/>
                  <a:pt x="4613505" y="1011659"/>
                  <a:pt x="4687910" y="811369"/>
                </a:cubicBezTo>
                <a:cubicBezTo>
                  <a:pt x="4762315" y="611079"/>
                  <a:pt x="4878946" y="284408"/>
                  <a:pt x="4971245" y="0"/>
                </a:cubicBezTo>
              </a:path>
            </a:pathLst>
          </a:custGeom>
          <a:noFill/>
          <a:ln w="76200" cap="rnd">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th-TH" sz="2800" b="1" i="0" u="none" strike="noStrike" kern="1200" cap="none" spc="0" normalizeH="0" baseline="0" noProof="0" dirty="0">
              <a:ln>
                <a:noFill/>
              </a:ln>
              <a:solidFill>
                <a:prstClr val="white"/>
              </a:solidFill>
              <a:effectLst/>
              <a:uLnTx/>
              <a:uFillTx/>
              <a:latin typeface="AngsanaUPC" panose="02020603050405020304" pitchFamily="18" charset="-34"/>
              <a:ea typeface="+mn-ea"/>
              <a:cs typeface="TH Sarabun New"/>
            </a:endParaRPr>
          </a:p>
        </p:txBody>
      </p:sp>
      <p:sp>
        <p:nvSpPr>
          <p:cNvPr id="19" name="TextBox 18"/>
          <p:cNvSpPr txBox="1"/>
          <p:nvPr/>
        </p:nvSpPr>
        <p:spPr>
          <a:xfrm>
            <a:off x="5899036" y="6555103"/>
            <a:ext cx="3273652" cy="4001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th-TH" sz="2000" b="1" i="0" u="none" strike="noStrike" kern="1200" cap="none" spc="0" normalizeH="0" baseline="0" noProof="0" dirty="0" smtClean="0">
                <a:ln>
                  <a:noFill/>
                </a:ln>
                <a:solidFill>
                  <a:prstClr val="black"/>
                </a:solidFill>
                <a:effectLst/>
                <a:uLnTx/>
                <a:uFillTx/>
                <a:latin typeface="Calibri"/>
                <a:ea typeface="+mn-ea"/>
                <a:cs typeface="Cordia New" panose="020B0304020202020204" pitchFamily="34" charset="-34"/>
              </a:rPr>
              <a:t>เพิ่มเติมจากแนวคิดอาจารย์กฤษณพงศ์ กีรติกร</a:t>
            </a:r>
            <a:endParaRPr kumimoji="0" lang="th-TH" sz="2000" b="1" i="0" u="none" strike="noStrike" kern="1200" cap="none" spc="0" normalizeH="0" baseline="0" noProof="0" dirty="0">
              <a:ln>
                <a:noFill/>
              </a:ln>
              <a:solidFill>
                <a:prstClr val="black"/>
              </a:solidFill>
              <a:effectLst/>
              <a:uLnTx/>
              <a:uFillTx/>
              <a:latin typeface="Calibri"/>
              <a:ea typeface="+mn-ea"/>
              <a:cs typeface="Cordia New" panose="020B0304020202020204" pitchFamily="34" charset="-34"/>
            </a:endParaRPr>
          </a:p>
        </p:txBody>
      </p:sp>
      <p:sp>
        <p:nvSpPr>
          <p:cNvPr id="2" name="Slide Number Placeholder 1"/>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92B0ED-4054-42B7-A893-2D57CE8DC8A6}" type="slidenum">
              <a:rPr kumimoji="0" lang="th-TH" sz="1600" b="0" i="0" u="none" strike="noStrike" kern="1200" cap="none" spc="0" normalizeH="0" baseline="0" noProof="0" smtClean="0">
                <a:ln>
                  <a:noFill/>
                </a:ln>
                <a:solidFill>
                  <a:prstClr val="black">
                    <a:tint val="75000"/>
                  </a:prstClr>
                </a:solidFill>
                <a:effectLst/>
                <a:uLnTx/>
                <a:uFillTx/>
                <a:latin typeface="AngsanaUPC" panose="02020603050405020304" pitchFamily="18" charset="-34"/>
                <a:ea typeface="+mn-ea"/>
                <a:cs typeface="AngsanaUPC" panose="02020603050405020304" pitchFamily="18" charset="-34"/>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th-TH" sz="1600" b="0" i="0" u="none" strike="noStrike" kern="1200" cap="none" spc="0" normalizeH="0" baseline="0" noProof="0" dirty="0">
              <a:ln>
                <a:noFill/>
              </a:ln>
              <a:solidFill>
                <a:prstClr val="black">
                  <a:tint val="75000"/>
                </a:prstClr>
              </a:solidFill>
              <a:effectLst/>
              <a:uLnTx/>
              <a:uFillTx/>
              <a:latin typeface="AngsanaUPC" panose="02020603050405020304" pitchFamily="18" charset="-34"/>
              <a:ea typeface="+mn-ea"/>
              <a:cs typeface="AngsanaUPC" panose="02020603050405020304" pitchFamily="18" charset="-34"/>
            </a:endParaRPr>
          </a:p>
        </p:txBody>
      </p:sp>
      <p:sp>
        <p:nvSpPr>
          <p:cNvPr id="6" name="Freeform 5"/>
          <p:cNvSpPr/>
          <p:nvPr/>
        </p:nvSpPr>
        <p:spPr>
          <a:xfrm>
            <a:off x="585546" y="2852937"/>
            <a:ext cx="1914586" cy="2778148"/>
          </a:xfrm>
          <a:custGeom>
            <a:avLst/>
            <a:gdLst>
              <a:gd name="connsiteX0" fmla="*/ 1900000 w 1900000"/>
              <a:gd name="connsiteY0" fmla="*/ 2685327 h 2685327"/>
              <a:gd name="connsiteX1" fmla="*/ 233245 w 1900000"/>
              <a:gd name="connsiteY1" fmla="*/ 1759352 h 2685327"/>
              <a:gd name="connsiteX2" fmla="*/ 13326 w 1900000"/>
              <a:gd name="connsiteY2" fmla="*/ 0 h 2685327"/>
              <a:gd name="connsiteX3" fmla="*/ 13326 w 1900000"/>
              <a:gd name="connsiteY3" fmla="*/ 0 h 2685327"/>
            </a:gdLst>
            <a:ahLst/>
            <a:cxnLst>
              <a:cxn ang="0">
                <a:pos x="connsiteX0" y="connsiteY0"/>
              </a:cxn>
              <a:cxn ang="0">
                <a:pos x="connsiteX1" y="connsiteY1"/>
              </a:cxn>
              <a:cxn ang="0">
                <a:pos x="connsiteX2" y="connsiteY2"/>
              </a:cxn>
              <a:cxn ang="0">
                <a:pos x="connsiteX3" y="connsiteY3"/>
              </a:cxn>
            </a:cxnLst>
            <a:rect l="l" t="t" r="r" b="b"/>
            <a:pathLst>
              <a:path w="1900000" h="2685327">
                <a:moveTo>
                  <a:pt x="1900000" y="2685327"/>
                </a:moveTo>
                <a:cubicBezTo>
                  <a:pt x="1223845" y="2446116"/>
                  <a:pt x="547691" y="2206906"/>
                  <a:pt x="233245" y="1759352"/>
                </a:cubicBezTo>
                <a:cubicBezTo>
                  <a:pt x="-81201" y="1311797"/>
                  <a:pt x="13326" y="0"/>
                  <a:pt x="13326" y="0"/>
                </a:cubicBezTo>
                <a:lnTo>
                  <a:pt x="13326" y="0"/>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prstClr val="white"/>
              </a:solidFill>
              <a:effectLst/>
              <a:uLnTx/>
              <a:uFillTx/>
              <a:latin typeface="Open Sans"/>
              <a:ea typeface="+mn-ea"/>
              <a:cs typeface="TH Sarabun New"/>
            </a:endParaRPr>
          </a:p>
        </p:txBody>
      </p:sp>
      <p:sp>
        <p:nvSpPr>
          <p:cNvPr id="8" name="Freeform 7"/>
          <p:cNvSpPr/>
          <p:nvPr/>
        </p:nvSpPr>
        <p:spPr>
          <a:xfrm>
            <a:off x="590309" y="2702689"/>
            <a:ext cx="3055716" cy="1458410"/>
          </a:xfrm>
          <a:custGeom>
            <a:avLst/>
            <a:gdLst>
              <a:gd name="connsiteX0" fmla="*/ 3055716 w 3055716"/>
              <a:gd name="connsiteY0" fmla="*/ 1458410 h 1458410"/>
              <a:gd name="connsiteX1" fmla="*/ 544010 w 3055716"/>
              <a:gd name="connsiteY1" fmla="*/ 879676 h 1458410"/>
              <a:gd name="connsiteX2" fmla="*/ 0 w 3055716"/>
              <a:gd name="connsiteY2" fmla="*/ 0 h 1458410"/>
            </a:gdLst>
            <a:ahLst/>
            <a:cxnLst>
              <a:cxn ang="0">
                <a:pos x="connsiteX0" y="connsiteY0"/>
              </a:cxn>
              <a:cxn ang="0">
                <a:pos x="connsiteX1" y="connsiteY1"/>
              </a:cxn>
              <a:cxn ang="0">
                <a:pos x="connsiteX2" y="connsiteY2"/>
              </a:cxn>
            </a:cxnLst>
            <a:rect l="l" t="t" r="r" b="b"/>
            <a:pathLst>
              <a:path w="3055716" h="1458410">
                <a:moveTo>
                  <a:pt x="3055716" y="1458410"/>
                </a:moveTo>
                <a:cubicBezTo>
                  <a:pt x="2054506" y="1290577"/>
                  <a:pt x="1053296" y="1122744"/>
                  <a:pt x="544010" y="879676"/>
                </a:cubicBezTo>
                <a:cubicBezTo>
                  <a:pt x="34724" y="636608"/>
                  <a:pt x="17362" y="318304"/>
                  <a:pt x="0" y="0"/>
                </a:cubicBezTo>
              </a:path>
            </a:pathLst>
          </a:custGeom>
          <a:noFill/>
          <a:ln>
            <a:tailEnd type="stealth"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prstClr val="white"/>
              </a:solidFill>
              <a:effectLst/>
              <a:uLnTx/>
              <a:uFillTx/>
              <a:latin typeface="Open Sans"/>
              <a:ea typeface="+mn-ea"/>
              <a:cs typeface="TH Sarabun New"/>
            </a:endParaRPr>
          </a:p>
        </p:txBody>
      </p:sp>
      <p:grpSp>
        <p:nvGrpSpPr>
          <p:cNvPr id="9" name="Group 8"/>
          <p:cNvGrpSpPr/>
          <p:nvPr/>
        </p:nvGrpSpPr>
        <p:grpSpPr>
          <a:xfrm>
            <a:off x="365521" y="2023096"/>
            <a:ext cx="2932517" cy="720080"/>
            <a:chOff x="365521" y="2023096"/>
            <a:chExt cx="2932517" cy="720080"/>
          </a:xfrm>
        </p:grpSpPr>
        <p:sp>
          <p:nvSpPr>
            <p:cNvPr id="26" name="TextBox 25"/>
            <p:cNvSpPr txBox="1"/>
            <p:nvPr/>
          </p:nvSpPr>
          <p:spPr>
            <a:xfrm>
              <a:off x="585546" y="2165329"/>
              <a:ext cx="2712492" cy="546303"/>
            </a:xfrm>
            <a:prstGeom prst="rect">
              <a:avLst/>
            </a:prstGeom>
            <a:solidFill>
              <a:srgbClr val="FF4611"/>
            </a:solidFill>
            <a:ln w="12700">
              <a:noFill/>
              <a:miter lim="800000"/>
              <a:headEnd/>
              <a:tailEnd/>
            </a:ln>
            <a:effectLst/>
          </p:spPr>
          <p:txBody>
            <a:bodyPr wrap="square">
              <a:spAutoFit/>
            </a:bodyPr>
            <a:lstStyle>
              <a:defPPr>
                <a:defRPr lang="en-US"/>
              </a:defPPr>
              <a:lvl1pPr algn="ctr" eaLnBrk="0" hangingPunct="0">
                <a:lnSpc>
                  <a:spcPct val="70000"/>
                </a:lnSpc>
                <a:defRPr sz="2400">
                  <a:solidFill>
                    <a:prstClr val="white"/>
                  </a:solidFill>
                  <a:effectLst>
                    <a:outerShdw blurRad="38100" dist="38100" dir="2700000" algn="tl">
                      <a:srgbClr val="000000"/>
                    </a:outerShdw>
                  </a:effectLst>
                  <a:latin typeface="DilleniaUPC" pitchFamily="18" charset="-34"/>
                  <a:cs typeface="DilleniaUPC" pitchFamily="18" charset="-34"/>
                </a:defRPr>
              </a:lvl1pPr>
            </a:lstStyle>
            <a:p>
              <a:pPr marL="0" marR="0" lvl="0" indent="0" algn="ctr" defTabSz="914400" rtl="0" eaLnBrk="0" fontAlgn="base" latinLnBrk="0" hangingPunct="0">
                <a:lnSpc>
                  <a:spcPct val="70000"/>
                </a:lnSpc>
                <a:spcBef>
                  <a:spcPct val="0"/>
                </a:spcBef>
                <a:spcAft>
                  <a:spcPct val="0"/>
                </a:spcAft>
                <a:buClrTx/>
                <a:buSzTx/>
                <a:buFontTx/>
                <a:buNone/>
                <a:tabLst/>
                <a:defRPr/>
              </a:pPr>
              <a:r>
                <a:rPr kumimoji="0" lang="th-TH" sz="2000" b="1" i="0" u="none" strike="noStrike" kern="1200" cap="none" spc="0" normalizeH="0" baseline="0" noProof="0" dirty="0" smtClean="0">
                  <a:ln>
                    <a:noFill/>
                  </a:ln>
                  <a:solidFill>
                    <a:prstClr val="white"/>
                  </a:solidFill>
                  <a:effectLst>
                    <a:outerShdw blurRad="38100" dist="38100" dir="2700000" algn="tl">
                      <a:srgbClr val="000000"/>
                    </a:outerShdw>
                  </a:effectLst>
                  <a:uLnTx/>
                  <a:uFillTx/>
                  <a:latin typeface="DilleniaUPC" pitchFamily="18" charset="-34"/>
                  <a:ea typeface="+mn-ea"/>
                  <a:cs typeface="DilleniaUPC" pitchFamily="18" charset="-34"/>
                </a:rPr>
                <a:t>การกระตุ้นให้เกิดการเปลี่ยนแปลง </a:t>
              </a:r>
            </a:p>
            <a:p>
              <a:pPr marL="0" marR="0" lvl="0" indent="0" algn="ctr" defTabSz="914400" rtl="0" eaLnBrk="0" fontAlgn="base" latinLnBrk="0" hangingPunct="0">
                <a:lnSpc>
                  <a:spcPct val="70000"/>
                </a:lnSpc>
                <a:spcBef>
                  <a:spcPct val="0"/>
                </a:spcBef>
                <a:spcAft>
                  <a:spcPct val="0"/>
                </a:spcAft>
                <a:buClrTx/>
                <a:buSzTx/>
                <a:buFontTx/>
                <a:buNone/>
                <a:tabLst/>
                <a:defRPr/>
              </a:pPr>
              <a:r>
                <a:rPr kumimoji="0" lang="th-TH" sz="2000" b="1" i="0" u="none" strike="noStrike" kern="1200" cap="none" spc="0" normalizeH="0" baseline="0" noProof="0" dirty="0" smtClean="0">
                  <a:ln>
                    <a:noFill/>
                  </a:ln>
                  <a:solidFill>
                    <a:prstClr val="white"/>
                  </a:solidFill>
                  <a:effectLst>
                    <a:outerShdw blurRad="38100" dist="38100" dir="2700000" algn="tl">
                      <a:srgbClr val="000000"/>
                    </a:outerShdw>
                  </a:effectLst>
                  <a:uLnTx/>
                  <a:uFillTx/>
                  <a:latin typeface="DilleniaUPC" pitchFamily="18" charset="-34"/>
                  <a:ea typeface="+mn-ea"/>
                  <a:cs typeface="DilleniaUPC" pitchFamily="18" charset="-34"/>
                </a:rPr>
                <a:t>สร้าง </a:t>
              </a:r>
              <a:r>
                <a:rPr kumimoji="0" lang="en-US" sz="2000" b="1" i="0" u="none" strike="noStrike" kern="1200" cap="none" spc="0" normalizeH="0" baseline="0" noProof="0" dirty="0" smtClean="0">
                  <a:ln>
                    <a:noFill/>
                  </a:ln>
                  <a:solidFill>
                    <a:prstClr val="white"/>
                  </a:solidFill>
                  <a:effectLst>
                    <a:outerShdw blurRad="38100" dist="38100" dir="2700000" algn="tl">
                      <a:srgbClr val="000000"/>
                    </a:outerShdw>
                  </a:effectLst>
                  <a:uLnTx/>
                  <a:uFillTx/>
                  <a:latin typeface="DilleniaUPC" pitchFamily="18" charset="-34"/>
                  <a:ea typeface="+mn-ea"/>
                  <a:cs typeface="DilleniaUPC" pitchFamily="18" charset="-34"/>
                </a:rPr>
                <a:t>New S-curve </a:t>
              </a:r>
              <a:r>
                <a:rPr kumimoji="0" lang="th-TH" sz="2000" b="1" i="0" u="none" strike="noStrike" kern="1200" cap="none" spc="0" normalizeH="0" baseline="0" noProof="0" dirty="0" smtClean="0">
                  <a:ln>
                    <a:noFill/>
                  </a:ln>
                  <a:solidFill>
                    <a:prstClr val="white"/>
                  </a:solidFill>
                  <a:effectLst>
                    <a:outerShdw blurRad="38100" dist="38100" dir="2700000" algn="tl">
                      <a:srgbClr val="000000"/>
                    </a:outerShdw>
                  </a:effectLst>
                  <a:uLnTx/>
                  <a:uFillTx/>
                  <a:latin typeface="DilleniaUPC" pitchFamily="18" charset="-34"/>
                  <a:ea typeface="+mn-ea"/>
                  <a:cs typeface="DilleniaUPC" pitchFamily="18" charset="-34"/>
                </a:rPr>
                <a:t>ทุกๆ </a:t>
              </a:r>
              <a:r>
                <a:rPr kumimoji="0" lang="en-US" sz="2000" b="1" i="0" u="none" strike="noStrike" kern="1200" cap="none" spc="0" normalizeH="0" baseline="0" noProof="0" dirty="0" smtClean="0">
                  <a:ln>
                    <a:noFill/>
                  </a:ln>
                  <a:solidFill>
                    <a:prstClr val="white"/>
                  </a:solidFill>
                  <a:effectLst>
                    <a:outerShdw blurRad="38100" dist="38100" dir="2700000" algn="tl">
                      <a:srgbClr val="000000"/>
                    </a:outerShdw>
                  </a:effectLst>
                  <a:uLnTx/>
                  <a:uFillTx/>
                  <a:latin typeface="DilleniaUPC" pitchFamily="18" charset="-34"/>
                  <a:ea typeface="+mn-ea"/>
                  <a:cs typeface="DilleniaUPC" pitchFamily="18" charset="-34"/>
                </a:rPr>
                <a:t>5-7 </a:t>
              </a:r>
              <a:r>
                <a:rPr kumimoji="0" lang="th-TH" sz="2000" b="1" i="0" u="none" strike="noStrike" kern="1200" cap="none" spc="0" normalizeH="0" baseline="0" noProof="0" dirty="0" smtClean="0">
                  <a:ln>
                    <a:noFill/>
                  </a:ln>
                  <a:solidFill>
                    <a:prstClr val="white"/>
                  </a:solidFill>
                  <a:effectLst>
                    <a:outerShdw blurRad="38100" dist="38100" dir="2700000" algn="tl">
                      <a:srgbClr val="000000"/>
                    </a:outerShdw>
                  </a:effectLst>
                  <a:uLnTx/>
                  <a:uFillTx/>
                  <a:latin typeface="DilleniaUPC" pitchFamily="18" charset="-34"/>
                  <a:ea typeface="+mn-ea"/>
                  <a:cs typeface="DilleniaUPC" pitchFamily="18" charset="-34"/>
                </a:rPr>
                <a:t>ปี</a:t>
              </a:r>
              <a:endParaRPr kumimoji="0" lang="en-US" sz="2000" b="1" i="0" u="none" strike="noStrike" kern="1200" cap="none" spc="0" normalizeH="0" baseline="0" noProof="0" dirty="0">
                <a:ln>
                  <a:noFill/>
                </a:ln>
                <a:solidFill>
                  <a:prstClr val="white"/>
                </a:solidFill>
                <a:effectLst>
                  <a:outerShdw blurRad="38100" dist="38100" dir="2700000" algn="tl">
                    <a:srgbClr val="000000"/>
                  </a:outerShdw>
                </a:effectLst>
                <a:uLnTx/>
                <a:uFillTx/>
                <a:latin typeface="DilleniaUPC" pitchFamily="18" charset="-34"/>
                <a:ea typeface="+mn-ea"/>
                <a:cs typeface="DilleniaUPC" pitchFamily="18" charset="-34"/>
              </a:endParaRPr>
            </a:p>
          </p:txBody>
        </p:sp>
        <p:pic>
          <p:nvPicPr>
            <p:cNvPr id="28" name="Picture 2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5521" y="2023096"/>
              <a:ext cx="440049" cy="720080"/>
            </a:xfrm>
            <a:prstGeom prst="rect">
              <a:avLst/>
            </a:prstGeom>
          </p:spPr>
        </p:pic>
      </p:grpSp>
      <p:sp>
        <p:nvSpPr>
          <p:cNvPr id="25" name="Text Box 5"/>
          <p:cNvSpPr txBox="1">
            <a:spLocks noChangeArrowheads="1"/>
          </p:cNvSpPr>
          <p:nvPr/>
        </p:nvSpPr>
        <p:spPr bwMode="auto">
          <a:xfrm>
            <a:off x="6093563" y="1642775"/>
            <a:ext cx="2605200" cy="156966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defRPr>
                <a:solidFill>
                  <a:schemeClr val="tx1"/>
                </a:solidFill>
                <a:latin typeface="Arial" pitchFamily="34" charset="0"/>
                <a:cs typeface="Angsana New" pitchFamily="18" charset="-34"/>
              </a:defRPr>
            </a:lvl1pPr>
            <a:lvl2pPr marL="742950" indent="-285750" eaLnBrk="0" hangingPunct="0">
              <a:defRPr>
                <a:solidFill>
                  <a:schemeClr val="tx1"/>
                </a:solidFill>
                <a:latin typeface="Arial" pitchFamily="34" charset="0"/>
                <a:cs typeface="Angsana New" pitchFamily="18" charset="-34"/>
              </a:defRPr>
            </a:lvl2pPr>
            <a:lvl3pPr marL="1143000" indent="-228600" eaLnBrk="0" hangingPunct="0">
              <a:defRPr>
                <a:solidFill>
                  <a:schemeClr val="tx1"/>
                </a:solidFill>
                <a:latin typeface="Arial" pitchFamily="34" charset="0"/>
                <a:cs typeface="Angsana New" pitchFamily="18" charset="-34"/>
              </a:defRPr>
            </a:lvl3pPr>
            <a:lvl4pPr marL="1600200" indent="-228600" eaLnBrk="0" hangingPunct="0">
              <a:defRPr>
                <a:solidFill>
                  <a:schemeClr val="tx1"/>
                </a:solidFill>
                <a:latin typeface="Arial" pitchFamily="34" charset="0"/>
                <a:cs typeface="Angsana New" pitchFamily="18" charset="-34"/>
              </a:defRPr>
            </a:lvl4pPr>
            <a:lvl5pPr marL="2057400" indent="-228600" eaLnBrk="0" hangingPunct="0">
              <a:defRPr>
                <a:solidFill>
                  <a:schemeClr val="tx1"/>
                </a:solidFill>
                <a:latin typeface="Arial" pitchFamily="34" charset="0"/>
                <a:cs typeface="Angsana New" pitchFamily="18" charset="-34"/>
              </a:defRPr>
            </a:lvl5pPr>
            <a:lvl6pPr marL="2514600" indent="-228600" eaLnBrk="0" fontAlgn="base" hangingPunct="0">
              <a:spcBef>
                <a:spcPct val="0"/>
              </a:spcBef>
              <a:spcAft>
                <a:spcPct val="0"/>
              </a:spcAft>
              <a:defRPr>
                <a:solidFill>
                  <a:schemeClr val="tx1"/>
                </a:solidFill>
                <a:latin typeface="Arial" pitchFamily="34" charset="0"/>
                <a:cs typeface="Angsana New" pitchFamily="18" charset="-34"/>
              </a:defRPr>
            </a:lvl6pPr>
            <a:lvl7pPr marL="2971800" indent="-228600" eaLnBrk="0" fontAlgn="base" hangingPunct="0">
              <a:spcBef>
                <a:spcPct val="0"/>
              </a:spcBef>
              <a:spcAft>
                <a:spcPct val="0"/>
              </a:spcAft>
              <a:defRPr>
                <a:solidFill>
                  <a:schemeClr val="tx1"/>
                </a:solidFill>
                <a:latin typeface="Arial" pitchFamily="34" charset="0"/>
                <a:cs typeface="Angsana New" pitchFamily="18" charset="-34"/>
              </a:defRPr>
            </a:lvl7pPr>
            <a:lvl8pPr marL="3429000" indent="-228600" eaLnBrk="0" fontAlgn="base" hangingPunct="0">
              <a:spcBef>
                <a:spcPct val="0"/>
              </a:spcBef>
              <a:spcAft>
                <a:spcPct val="0"/>
              </a:spcAft>
              <a:defRPr>
                <a:solidFill>
                  <a:schemeClr val="tx1"/>
                </a:solidFill>
                <a:latin typeface="Arial" pitchFamily="34" charset="0"/>
                <a:cs typeface="Angsana New" pitchFamily="18" charset="-34"/>
              </a:defRPr>
            </a:lvl8pPr>
            <a:lvl9pPr marL="3886200" indent="-228600" eaLnBrk="0" fontAlgn="base" hangingPunct="0">
              <a:spcBef>
                <a:spcPct val="0"/>
              </a:spcBef>
              <a:spcAft>
                <a:spcPct val="0"/>
              </a:spcAft>
              <a:defRPr>
                <a:solidFill>
                  <a:schemeClr val="tx1"/>
                </a:solidFill>
                <a:latin typeface="Arial" pitchFamily="34" charset="0"/>
                <a:cs typeface="Angsana New" pitchFamily="18" charset="-34"/>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th-TH" sz="3200" b="1" i="0" u="none" strike="noStrike" kern="1200" cap="none" spc="0" normalizeH="0" baseline="0" noProof="0" dirty="0" smtClean="0">
                <a:ln>
                  <a:noFill/>
                </a:ln>
                <a:solidFill>
                  <a:prstClr val="black"/>
                </a:solidFill>
                <a:effectLst/>
                <a:uLnTx/>
                <a:uFillTx/>
                <a:latin typeface="BrowalliaUPC" pitchFamily="34" charset="-34"/>
                <a:ea typeface="+mn-ea"/>
                <a:cs typeface="BrowalliaUPC" pitchFamily="34" charset="-34"/>
              </a:rPr>
              <a:t>ทุกสังคม ทุกองค์กร</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th-TH" sz="3200" b="1" i="0" u="none" strike="noStrike" kern="1200" cap="none" spc="0" normalizeH="0" baseline="0" noProof="0" dirty="0" smtClean="0">
                <a:ln>
                  <a:noFill/>
                </a:ln>
                <a:solidFill>
                  <a:prstClr val="black"/>
                </a:solidFill>
                <a:effectLst/>
                <a:uLnTx/>
                <a:uFillTx/>
                <a:latin typeface="BrowalliaUPC" pitchFamily="34" charset="-34"/>
                <a:ea typeface="+mn-ea"/>
                <a:cs typeface="BrowalliaUPC" pitchFamily="34" charset="-34"/>
              </a:rPr>
              <a:t>ต้องการผู้นำ</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th-TH" sz="3200" b="1" i="0" u="none" strike="noStrike" kern="1200" cap="none" spc="0" normalizeH="0" baseline="0" noProof="0" dirty="0" smtClean="0">
                <a:ln>
                  <a:noFill/>
                </a:ln>
                <a:solidFill>
                  <a:prstClr val="black"/>
                </a:solidFill>
                <a:effectLst/>
                <a:uLnTx/>
                <a:uFillTx/>
                <a:latin typeface="BrowalliaUPC" pitchFamily="34" charset="-34"/>
                <a:ea typeface="+mn-ea"/>
                <a:cs typeface="BrowalliaUPC" pitchFamily="34" charset="-34"/>
              </a:rPr>
              <a:t>ผู้บริหาร  ผู้จัดการ</a:t>
            </a:r>
            <a:endParaRPr kumimoji="0" lang="en-US" sz="3200" b="1" i="0" u="none" strike="noStrike" kern="1200" cap="none" spc="0" normalizeH="0" baseline="0" noProof="0" dirty="0">
              <a:ln>
                <a:noFill/>
              </a:ln>
              <a:solidFill>
                <a:prstClr val="black"/>
              </a:solidFill>
              <a:effectLst/>
              <a:uLnTx/>
              <a:uFillTx/>
              <a:latin typeface="BrowalliaUPC" pitchFamily="34" charset="-34"/>
              <a:ea typeface="+mn-ea"/>
              <a:cs typeface="BrowalliaUPC" pitchFamily="34" charset="-34"/>
            </a:endParaRPr>
          </a:p>
        </p:txBody>
      </p:sp>
    </p:spTree>
    <p:extLst>
      <p:ext uri="{BB962C8B-B14F-4D97-AF65-F5344CB8AC3E}">
        <p14:creationId xmlns:p14="http://schemas.microsoft.com/office/powerpoint/2010/main" val="1155912355"/>
      </p:ext>
    </p:extLst>
  </p:cSld>
  <p:clrMapOvr>
    <a:masterClrMapping/>
  </p:clrMapOvr>
  <p:transition>
    <p:strips dir="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1506"/>
                                        </p:tgtEl>
                                        <p:attrNameLst>
                                          <p:attrName>style.visibility</p:attrName>
                                        </p:attrNameLst>
                                      </p:cBhvr>
                                      <p:to>
                                        <p:strVal val="visible"/>
                                      </p:to>
                                    </p:set>
                                    <p:animEffect transition="in" filter="wipe(left)">
                                      <p:cBhvr>
                                        <p:cTn id="7" dur="500"/>
                                        <p:tgtEl>
                                          <p:spTgt spid="21506"/>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1515"/>
                                        </p:tgtEl>
                                        <p:attrNameLst>
                                          <p:attrName>style.visibility</p:attrName>
                                        </p:attrNameLst>
                                      </p:cBhvr>
                                      <p:to>
                                        <p:strVal val="visible"/>
                                      </p:to>
                                    </p:set>
                                    <p:animEffect transition="in" filter="wipe(left)">
                                      <p:cBhvr>
                                        <p:cTn id="10" dur="500"/>
                                        <p:tgtEl>
                                          <p:spTgt spid="21515"/>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21512"/>
                                        </p:tgtEl>
                                        <p:attrNameLst>
                                          <p:attrName>style.visibility</p:attrName>
                                        </p:attrNameLst>
                                      </p:cBhvr>
                                      <p:to>
                                        <p:strVal val="visible"/>
                                      </p:to>
                                    </p:set>
                                    <p:animEffect transition="in" filter="wipe(left)">
                                      <p:cBhvr>
                                        <p:cTn id="15" dur="500"/>
                                        <p:tgtEl>
                                          <p:spTgt spid="21512"/>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1518"/>
                                        </p:tgtEl>
                                        <p:attrNameLst>
                                          <p:attrName>style.visibility</p:attrName>
                                        </p:attrNameLst>
                                      </p:cBhvr>
                                      <p:to>
                                        <p:strVal val="visible"/>
                                      </p:to>
                                    </p:set>
                                    <p:animEffect transition="in" filter="wipe(left)">
                                      <p:cBhvr>
                                        <p:cTn id="18" dur="500"/>
                                        <p:tgtEl>
                                          <p:spTgt spid="21518"/>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grpId="0" nodeType="clickEffect">
                                  <p:stCondLst>
                                    <p:cond delay="0"/>
                                  </p:stCondLst>
                                  <p:childTnLst>
                                    <p:set>
                                      <p:cBhvr>
                                        <p:cTn id="22" dur="1" fill="hold">
                                          <p:stCondLst>
                                            <p:cond delay="0"/>
                                          </p:stCondLst>
                                        </p:cTn>
                                        <p:tgtEl>
                                          <p:spTgt spid="21508"/>
                                        </p:tgtEl>
                                        <p:attrNameLst>
                                          <p:attrName>style.visibility</p:attrName>
                                        </p:attrNameLst>
                                      </p:cBhvr>
                                      <p:to>
                                        <p:strVal val="visible"/>
                                      </p:to>
                                    </p:set>
                                    <p:animEffect transition="in" filter="wipe(left)">
                                      <p:cBhvr>
                                        <p:cTn id="23" dur="500"/>
                                        <p:tgtEl>
                                          <p:spTgt spid="21508"/>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21516"/>
                                        </p:tgtEl>
                                        <p:attrNameLst>
                                          <p:attrName>style.visibility</p:attrName>
                                        </p:attrNameLst>
                                      </p:cBhvr>
                                      <p:to>
                                        <p:strVal val="visible"/>
                                      </p:to>
                                    </p:set>
                                    <p:animEffect transition="in" filter="wipe(left)">
                                      <p:cBhvr>
                                        <p:cTn id="26" dur="500"/>
                                        <p:tgtEl>
                                          <p:spTgt spid="21516"/>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grpId="0" nodeType="clickEffect">
                                  <p:stCondLst>
                                    <p:cond delay="0"/>
                                  </p:stCondLst>
                                  <p:childTnLst>
                                    <p:set>
                                      <p:cBhvr>
                                        <p:cTn id="30" dur="1" fill="hold">
                                          <p:stCondLst>
                                            <p:cond delay="0"/>
                                          </p:stCondLst>
                                        </p:cTn>
                                        <p:tgtEl>
                                          <p:spTgt spid="21513"/>
                                        </p:tgtEl>
                                        <p:attrNameLst>
                                          <p:attrName>style.visibility</p:attrName>
                                        </p:attrNameLst>
                                      </p:cBhvr>
                                      <p:to>
                                        <p:strVal val="visible"/>
                                      </p:to>
                                    </p:set>
                                    <p:animEffect transition="in" filter="wipe(left)">
                                      <p:cBhvr>
                                        <p:cTn id="31" dur="500"/>
                                        <p:tgtEl>
                                          <p:spTgt spid="21513"/>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21517"/>
                                        </p:tgtEl>
                                        <p:attrNameLst>
                                          <p:attrName>style.visibility</p:attrName>
                                        </p:attrNameLst>
                                      </p:cBhvr>
                                      <p:to>
                                        <p:strVal val="visible"/>
                                      </p:to>
                                    </p:set>
                                    <p:animEffect transition="in" filter="wipe(left)">
                                      <p:cBhvr>
                                        <p:cTn id="34" dur="500"/>
                                        <p:tgtEl>
                                          <p:spTgt spid="21517"/>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grpId="0" nodeType="clickEffect">
                                  <p:stCondLst>
                                    <p:cond delay="0"/>
                                  </p:stCondLst>
                                  <p:childTnLst>
                                    <p:set>
                                      <p:cBhvr>
                                        <p:cTn id="38" dur="1" fill="hold">
                                          <p:stCondLst>
                                            <p:cond delay="0"/>
                                          </p:stCondLst>
                                        </p:cTn>
                                        <p:tgtEl>
                                          <p:spTgt spid="21520"/>
                                        </p:tgtEl>
                                        <p:attrNameLst>
                                          <p:attrName>style.visibility</p:attrName>
                                        </p:attrNameLst>
                                      </p:cBhvr>
                                      <p:to>
                                        <p:strVal val="visible"/>
                                      </p:to>
                                    </p:set>
                                    <p:animEffect transition="in" filter="wipe(left)">
                                      <p:cBhvr>
                                        <p:cTn id="39" dur="500"/>
                                        <p:tgtEl>
                                          <p:spTgt spid="21520"/>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4" fill="hold" grpId="0" nodeType="clickEffect">
                                  <p:stCondLst>
                                    <p:cond delay="0"/>
                                  </p:stCondLst>
                                  <p:childTnLst>
                                    <p:set>
                                      <p:cBhvr>
                                        <p:cTn id="43" dur="1" fill="hold">
                                          <p:stCondLst>
                                            <p:cond delay="0"/>
                                          </p:stCondLst>
                                        </p:cTn>
                                        <p:tgtEl>
                                          <p:spTgt spid="21511"/>
                                        </p:tgtEl>
                                        <p:attrNameLst>
                                          <p:attrName>style.visibility</p:attrName>
                                        </p:attrNameLst>
                                      </p:cBhvr>
                                      <p:to>
                                        <p:strVal val="visible"/>
                                      </p:to>
                                    </p:set>
                                    <p:animEffect transition="in" filter="wipe(down)">
                                      <p:cBhvr>
                                        <p:cTn id="44" dur="500"/>
                                        <p:tgtEl>
                                          <p:spTgt spid="21511"/>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4" fill="hold" grpId="0" nodeType="clickEffect">
                                  <p:stCondLst>
                                    <p:cond delay="0"/>
                                  </p:stCondLst>
                                  <p:childTnLst>
                                    <p:set>
                                      <p:cBhvr>
                                        <p:cTn id="48" dur="1" fill="hold">
                                          <p:stCondLst>
                                            <p:cond delay="0"/>
                                          </p:stCondLst>
                                        </p:cTn>
                                        <p:tgtEl>
                                          <p:spTgt spid="21507"/>
                                        </p:tgtEl>
                                        <p:attrNameLst>
                                          <p:attrName>style.visibility</p:attrName>
                                        </p:attrNameLst>
                                      </p:cBhvr>
                                      <p:to>
                                        <p:strVal val="visible"/>
                                      </p:to>
                                    </p:set>
                                    <p:animEffect transition="in" filter="wipe(down)">
                                      <p:cBhvr>
                                        <p:cTn id="49" dur="500"/>
                                        <p:tgtEl>
                                          <p:spTgt spid="21507"/>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grpId="0" nodeType="clickEffect">
                                  <p:stCondLst>
                                    <p:cond delay="0"/>
                                  </p:stCondLst>
                                  <p:childTnLst>
                                    <p:set>
                                      <p:cBhvr>
                                        <p:cTn id="53" dur="1" fill="hold">
                                          <p:stCondLst>
                                            <p:cond delay="0"/>
                                          </p:stCondLst>
                                        </p:cTn>
                                        <p:tgtEl>
                                          <p:spTgt spid="21519"/>
                                        </p:tgtEl>
                                        <p:attrNameLst>
                                          <p:attrName>style.visibility</p:attrName>
                                        </p:attrNameLst>
                                      </p:cBhvr>
                                      <p:to>
                                        <p:strVal val="visible"/>
                                      </p:to>
                                    </p:set>
                                    <p:animEffect transition="in" filter="wipe(left)">
                                      <p:cBhvr>
                                        <p:cTn id="54" dur="500"/>
                                        <p:tgtEl>
                                          <p:spTgt spid="21519"/>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4" fill="hold" grpId="0" nodeType="clickEffect">
                                  <p:stCondLst>
                                    <p:cond delay="0"/>
                                  </p:stCondLst>
                                  <p:childTnLst>
                                    <p:set>
                                      <p:cBhvr>
                                        <p:cTn id="58" dur="1" fill="hold">
                                          <p:stCondLst>
                                            <p:cond delay="0"/>
                                          </p:stCondLst>
                                        </p:cTn>
                                        <p:tgtEl>
                                          <p:spTgt spid="21514"/>
                                        </p:tgtEl>
                                        <p:attrNameLst>
                                          <p:attrName>style.visibility</p:attrName>
                                        </p:attrNameLst>
                                      </p:cBhvr>
                                      <p:to>
                                        <p:strVal val="visible"/>
                                      </p:to>
                                    </p:set>
                                    <p:animEffect transition="in" filter="wipe(down)">
                                      <p:cBhvr>
                                        <p:cTn id="59" dur="500"/>
                                        <p:tgtEl>
                                          <p:spTgt spid="21514"/>
                                        </p:tgtEl>
                                      </p:cBhvr>
                                    </p:animEffect>
                                  </p:childTnLst>
                                </p:cTn>
                              </p:par>
                              <p:par>
                                <p:cTn id="60" presetID="22" presetClass="entr" presetSubtype="4" fill="hold" grpId="0" nodeType="withEffect">
                                  <p:stCondLst>
                                    <p:cond delay="0"/>
                                  </p:stCondLst>
                                  <p:childTnLst>
                                    <p:set>
                                      <p:cBhvr>
                                        <p:cTn id="61" dur="1" fill="hold">
                                          <p:stCondLst>
                                            <p:cond delay="0"/>
                                          </p:stCondLst>
                                        </p:cTn>
                                        <p:tgtEl>
                                          <p:spTgt spid="21510"/>
                                        </p:tgtEl>
                                        <p:attrNameLst>
                                          <p:attrName>style.visibility</p:attrName>
                                        </p:attrNameLst>
                                      </p:cBhvr>
                                      <p:to>
                                        <p:strVal val="visible"/>
                                      </p:to>
                                    </p:set>
                                    <p:animEffect transition="in" filter="wipe(down)">
                                      <p:cBhvr>
                                        <p:cTn id="62" dur="500"/>
                                        <p:tgtEl>
                                          <p:spTgt spid="21510"/>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4" fill="hold" grpId="0" nodeType="clickEffect">
                                  <p:stCondLst>
                                    <p:cond delay="0"/>
                                  </p:stCondLst>
                                  <p:childTnLst>
                                    <p:set>
                                      <p:cBhvr>
                                        <p:cTn id="66" dur="1" fill="hold">
                                          <p:stCondLst>
                                            <p:cond delay="0"/>
                                          </p:stCondLst>
                                        </p:cTn>
                                        <p:tgtEl>
                                          <p:spTgt spid="5"/>
                                        </p:tgtEl>
                                        <p:attrNameLst>
                                          <p:attrName>style.visibility</p:attrName>
                                        </p:attrNameLst>
                                      </p:cBhvr>
                                      <p:to>
                                        <p:strVal val="visible"/>
                                      </p:to>
                                    </p:set>
                                    <p:animEffect transition="in" filter="wipe(down)">
                                      <p:cBhvr>
                                        <p:cTn id="67" dur="5000"/>
                                        <p:tgtEl>
                                          <p:spTgt spid="5"/>
                                        </p:tgtEl>
                                      </p:cBhvr>
                                    </p:animEffect>
                                  </p:childTnLst>
                                </p:cTn>
                              </p:par>
                            </p:childTnLst>
                          </p:cTn>
                        </p:par>
                      </p:childTnLst>
                    </p:cTn>
                  </p:par>
                  <p:par>
                    <p:cTn id="68" fill="hold">
                      <p:stCondLst>
                        <p:cond delay="indefinite"/>
                      </p:stCondLst>
                      <p:childTnLst>
                        <p:par>
                          <p:cTn id="69" fill="hold">
                            <p:stCondLst>
                              <p:cond delay="0"/>
                            </p:stCondLst>
                            <p:childTnLst>
                              <p:par>
                                <p:cTn id="70" presetID="22" presetClass="entr" presetSubtype="4" fill="hold" grpId="0" nodeType="clickEffect">
                                  <p:stCondLst>
                                    <p:cond delay="0"/>
                                  </p:stCondLst>
                                  <p:childTnLst>
                                    <p:set>
                                      <p:cBhvr>
                                        <p:cTn id="71" dur="1" fill="hold">
                                          <p:stCondLst>
                                            <p:cond delay="0"/>
                                          </p:stCondLst>
                                        </p:cTn>
                                        <p:tgtEl>
                                          <p:spTgt spid="6"/>
                                        </p:tgtEl>
                                        <p:attrNameLst>
                                          <p:attrName>style.visibility</p:attrName>
                                        </p:attrNameLst>
                                      </p:cBhvr>
                                      <p:to>
                                        <p:strVal val="visible"/>
                                      </p:to>
                                    </p:set>
                                    <p:animEffect transition="in" filter="wipe(down)">
                                      <p:cBhvr>
                                        <p:cTn id="72" dur="500"/>
                                        <p:tgtEl>
                                          <p:spTgt spid="6"/>
                                        </p:tgtEl>
                                      </p:cBhvr>
                                    </p:animEffect>
                                  </p:childTnLst>
                                </p:cTn>
                              </p:par>
                              <p:par>
                                <p:cTn id="73" presetID="22" presetClass="entr" presetSubtype="4" fill="hold" grpId="0" nodeType="withEffect">
                                  <p:stCondLst>
                                    <p:cond delay="0"/>
                                  </p:stCondLst>
                                  <p:childTnLst>
                                    <p:set>
                                      <p:cBhvr>
                                        <p:cTn id="74" dur="1" fill="hold">
                                          <p:stCondLst>
                                            <p:cond delay="0"/>
                                          </p:stCondLst>
                                        </p:cTn>
                                        <p:tgtEl>
                                          <p:spTgt spid="8"/>
                                        </p:tgtEl>
                                        <p:attrNameLst>
                                          <p:attrName>style.visibility</p:attrName>
                                        </p:attrNameLst>
                                      </p:cBhvr>
                                      <p:to>
                                        <p:strVal val="visible"/>
                                      </p:to>
                                    </p:set>
                                    <p:animEffect transition="in" filter="wipe(down)">
                                      <p:cBhvr>
                                        <p:cTn id="75" dur="500"/>
                                        <p:tgtEl>
                                          <p:spTgt spid="8"/>
                                        </p:tgtEl>
                                      </p:cBhvr>
                                    </p:animEffect>
                                  </p:childTnLst>
                                </p:cTn>
                              </p:par>
                            </p:childTnLst>
                          </p:cTn>
                        </p:par>
                        <p:par>
                          <p:cTn id="76" fill="hold">
                            <p:stCondLst>
                              <p:cond delay="500"/>
                            </p:stCondLst>
                            <p:childTnLst>
                              <p:par>
                                <p:cTn id="77" presetID="22" presetClass="entr" presetSubtype="8" fill="hold" nodeType="afterEffect">
                                  <p:stCondLst>
                                    <p:cond delay="0"/>
                                  </p:stCondLst>
                                  <p:childTnLst>
                                    <p:set>
                                      <p:cBhvr>
                                        <p:cTn id="78" dur="1" fill="hold">
                                          <p:stCondLst>
                                            <p:cond delay="0"/>
                                          </p:stCondLst>
                                        </p:cTn>
                                        <p:tgtEl>
                                          <p:spTgt spid="9"/>
                                        </p:tgtEl>
                                        <p:attrNameLst>
                                          <p:attrName>style.visibility</p:attrName>
                                        </p:attrNameLst>
                                      </p:cBhvr>
                                      <p:to>
                                        <p:strVal val="visible"/>
                                      </p:to>
                                    </p:set>
                                    <p:animEffect transition="in" filter="wipe(left)">
                                      <p:cBhvr>
                                        <p:cTn id="7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506" grpId="0" animBg="1"/>
      <p:bldP spid="21507" grpId="0" animBg="1"/>
      <p:bldP spid="21508" grpId="0" animBg="1"/>
      <p:bldP spid="21510" grpId="0"/>
      <p:bldP spid="21511" grpId="0" animBg="1"/>
      <p:bldP spid="21512" grpId="0" animBg="1"/>
      <p:bldP spid="21513" grpId="0" animBg="1"/>
      <p:bldP spid="21514" grpId="0" animBg="1"/>
      <p:bldP spid="21515" grpId="0"/>
      <p:bldP spid="21516" grpId="0"/>
      <p:bldP spid="21517" grpId="0"/>
      <p:bldP spid="21518" grpId="0"/>
      <p:bldP spid="21519" grpId="0"/>
      <p:bldP spid="21520" grpId="0"/>
      <p:bldP spid="5" grpId="0" animBg="1"/>
      <p:bldP spid="6" grpId="0" animBg="1"/>
      <p:bldP spid="8" grpId="0" animBg="1"/>
    </p:bldLst>
  </p:timing>
</p:sld>
</file>

<file path=ppt/slides/slide27.xml><?xml version="1.0" encoding="utf-8"?>
<p:sld xmlns:a="http://schemas.openxmlformats.org/drawingml/2006/main" xmlns:r="http://schemas.openxmlformats.org/officeDocument/2006/relationships" xmlns:p="http://schemas.openxmlformats.org/presentationml/2006/main" showMasterPhAnim="0">
  <p:cSld>
    <p:bg>
      <p:bgRef idx="1001">
        <a:schemeClr val="bg1"/>
      </p:bgRef>
    </p:bg>
    <p:spTree>
      <p:nvGrpSpPr>
        <p:cNvPr id="1" name=""/>
        <p:cNvGrpSpPr/>
        <p:nvPr/>
      </p:nvGrpSpPr>
      <p:grpSpPr>
        <a:xfrm>
          <a:off x="0" y="0"/>
          <a:ext cx="0" cy="0"/>
          <a:chOff x="0" y="0"/>
          <a:chExt cx="0" cy="0"/>
        </a:xfrm>
      </p:grpSpPr>
      <p:sp>
        <p:nvSpPr>
          <p:cNvPr id="79" name="Rectangle 58"/>
          <p:cNvSpPr>
            <a:spLocks noChangeArrowheads="1"/>
          </p:cNvSpPr>
          <p:nvPr/>
        </p:nvSpPr>
        <p:spPr bwMode="auto">
          <a:xfrm>
            <a:off x="0" y="0"/>
            <a:ext cx="9006840" cy="1039813"/>
          </a:xfrm>
          <a:prstGeom prst="rect">
            <a:avLst/>
          </a:prstGeom>
          <a:solidFill>
            <a:srgbClr val="FF4611"/>
          </a:solidFill>
          <a:ln>
            <a:headEnd/>
            <a:tailEnd type="none" w="lg" len="lg"/>
          </a:ln>
        </p:spPr>
        <p:style>
          <a:lnRef idx="1">
            <a:schemeClr val="accent5"/>
          </a:lnRef>
          <a:fillRef idx="3">
            <a:schemeClr val="accent5"/>
          </a:fillRef>
          <a:effectRef idx="2">
            <a:schemeClr val="accent5"/>
          </a:effectRef>
          <a:fontRef idx="minor">
            <a:schemeClr val="lt1"/>
          </a:fontRef>
        </p:style>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Open Sans"/>
              <a:ea typeface="+mn-ea"/>
              <a:cs typeface="TH Sarabun New"/>
            </a:endParaRPr>
          </a:p>
        </p:txBody>
      </p:sp>
      <p:sp>
        <p:nvSpPr>
          <p:cNvPr id="80" name="Rectangle 59"/>
          <p:cNvSpPr>
            <a:spLocks noChangeArrowheads="1"/>
          </p:cNvSpPr>
          <p:nvPr/>
        </p:nvSpPr>
        <p:spPr bwMode="auto">
          <a:xfrm>
            <a:off x="-142908" y="35068"/>
            <a:ext cx="9358346" cy="1089529"/>
          </a:xfrm>
          <a:prstGeom prst="rect">
            <a:avLst/>
          </a:prstGeom>
          <a:noFill/>
          <a:ln w="28575">
            <a:noFill/>
            <a:miter lim="800000"/>
            <a:headEnd/>
            <a:tailEnd type="none" w="lg" len="lg"/>
          </a:ln>
          <a:effectLst/>
        </p:spPr>
        <p:txBody>
          <a:bodyPr wrap="square">
            <a:sp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1" lang="en-US" sz="2400" b="1" i="1" u="none" strike="noStrike" kern="1200" cap="none" spc="0" normalizeH="0" baseline="0" noProof="0" dirty="0" smtClean="0">
                <a:ln>
                  <a:noFill/>
                </a:ln>
                <a:solidFill>
                  <a:prstClr val="white"/>
                </a:solidFill>
                <a:effectLst>
                  <a:outerShdw blurRad="38100" dist="38100" dir="2700000" algn="tl">
                    <a:srgbClr val="000000"/>
                  </a:outerShdw>
                </a:effectLst>
                <a:uLnTx/>
                <a:uFillTx/>
                <a:latin typeface="Arial" pitchFamily="34" charset="0"/>
                <a:ea typeface="+mn-ea"/>
                <a:cs typeface="Angsana New" pitchFamily="18" charset="-34"/>
              </a:rPr>
              <a:t>CHANGE</a:t>
            </a:r>
          </a:p>
          <a:p>
            <a:pPr marL="0" marR="0" lvl="0" indent="0" algn="ctr" defTabSz="914400" rtl="0" eaLnBrk="1" fontAlgn="base" latinLnBrk="0" hangingPunct="1">
              <a:lnSpc>
                <a:spcPct val="90000"/>
              </a:lnSpc>
              <a:spcBef>
                <a:spcPct val="0"/>
              </a:spcBef>
              <a:spcAft>
                <a:spcPct val="0"/>
              </a:spcAft>
              <a:buClrTx/>
              <a:buSzTx/>
              <a:buFontTx/>
              <a:buNone/>
              <a:tabLst/>
              <a:defRPr/>
            </a:pPr>
            <a:r>
              <a:rPr kumimoji="1" lang="th-TH" sz="2400" b="1" i="1" u="none" strike="noStrike" kern="1200" cap="none" spc="0" normalizeH="0" baseline="0" noProof="0" dirty="0" smtClean="0">
                <a:ln>
                  <a:noFill/>
                </a:ln>
                <a:solidFill>
                  <a:prstClr val="white"/>
                </a:solidFill>
                <a:effectLst>
                  <a:outerShdw blurRad="38100" dist="38100" dir="2700000" algn="tl">
                    <a:srgbClr val="000000"/>
                  </a:outerShdw>
                </a:effectLst>
                <a:uLnTx/>
                <a:uFillTx/>
                <a:latin typeface="Arial" pitchFamily="34" charset="0"/>
                <a:ea typeface="+mn-ea"/>
                <a:cs typeface="Angsana New" pitchFamily="18" charset="-34"/>
              </a:rPr>
              <a:t>การปรับตัวที่พร้อมรับการเปลี่ยนแปลง</a:t>
            </a:r>
          </a:p>
          <a:p>
            <a:pPr marL="0" marR="0" lvl="0" indent="0" algn="ctr" defTabSz="914400" rtl="0" eaLnBrk="1" fontAlgn="base" latinLnBrk="0" hangingPunct="1">
              <a:lnSpc>
                <a:spcPct val="90000"/>
              </a:lnSpc>
              <a:spcBef>
                <a:spcPct val="0"/>
              </a:spcBef>
              <a:spcAft>
                <a:spcPct val="0"/>
              </a:spcAft>
              <a:buClrTx/>
              <a:buSzTx/>
              <a:buFontTx/>
              <a:buNone/>
              <a:tabLst/>
              <a:defRPr/>
            </a:pPr>
            <a:r>
              <a:rPr kumimoji="1" lang="th-TH" sz="2400" b="1" i="1" u="none" strike="noStrike" kern="1200" cap="none" spc="0" normalizeH="0" baseline="0" noProof="0" dirty="0" smtClean="0">
                <a:ln>
                  <a:noFill/>
                </a:ln>
                <a:solidFill>
                  <a:prstClr val="white"/>
                </a:solidFill>
                <a:effectLst>
                  <a:outerShdw blurRad="38100" dist="38100" dir="2700000" algn="tl">
                    <a:srgbClr val="000000"/>
                  </a:outerShdw>
                </a:effectLst>
                <a:uLnTx/>
                <a:uFillTx/>
                <a:latin typeface="Arial" pitchFamily="34" charset="0"/>
                <a:ea typeface="+mn-ea"/>
                <a:cs typeface="Angsana New" pitchFamily="18" charset="-34"/>
              </a:rPr>
              <a:t>ปัจจัยสำคัญแห่งความสำเร็จ</a:t>
            </a:r>
            <a:endParaRPr kumimoji="1" lang="th-TH" sz="2400" b="1" i="1" u="none" strike="noStrike" kern="1200" cap="none" spc="0" normalizeH="0" baseline="0" noProof="0" dirty="0">
              <a:ln>
                <a:noFill/>
              </a:ln>
              <a:solidFill>
                <a:srgbClr val="FFFF00"/>
              </a:solidFill>
              <a:effectLst>
                <a:outerShdw blurRad="38100" dist="38100" dir="2700000" algn="tl">
                  <a:srgbClr val="000000"/>
                </a:outerShdw>
              </a:effectLst>
              <a:uLnTx/>
              <a:uFillTx/>
              <a:latin typeface="Arial" pitchFamily="34" charset="0"/>
              <a:ea typeface="+mn-ea"/>
              <a:cs typeface="Angsana New" pitchFamily="18" charset="-34"/>
            </a:endParaRPr>
          </a:p>
        </p:txBody>
      </p:sp>
      <p:sp>
        <p:nvSpPr>
          <p:cNvPr id="3" name="Rectangle 2"/>
          <p:cNvSpPr/>
          <p:nvPr/>
        </p:nvSpPr>
        <p:spPr>
          <a:xfrm>
            <a:off x="1622518" y="1590719"/>
            <a:ext cx="543739" cy="5078313"/>
          </a:xfrm>
          <a:prstGeom prst="rect">
            <a:avLst/>
          </a:prstGeom>
        </p:spPr>
        <p:txBody>
          <a:bodyPr wrap="none">
            <a:spAutoFit/>
          </a:bodyPr>
          <a:lstStyle/>
          <a:p>
            <a:pPr marL="0" marR="0" lvl="0" indent="0" algn="ctr" defTabSz="914400" rtl="0" eaLnBrk="1" fontAlgn="base" latinLnBrk="0" hangingPunct="1">
              <a:lnSpc>
                <a:spcPct val="150000"/>
              </a:lnSpc>
              <a:spcBef>
                <a:spcPct val="0"/>
              </a:spcBef>
              <a:spcAft>
                <a:spcPct val="0"/>
              </a:spcAft>
              <a:buClrTx/>
              <a:buSzTx/>
              <a:buFontTx/>
              <a:buNone/>
              <a:tabLst/>
              <a:defRPr/>
            </a:pPr>
            <a:r>
              <a:rPr kumimoji="1" lang="en-US" sz="3600" b="1" i="1" u="none" strike="noStrike" kern="1200" cap="none" spc="0" normalizeH="0" baseline="0" noProof="0" dirty="0" smtClean="0">
                <a:ln>
                  <a:noFill/>
                </a:ln>
                <a:solidFill>
                  <a:srgbClr val="FF0000"/>
                </a:solidFill>
                <a:effectLst>
                  <a:outerShdw blurRad="38100" dist="38100" dir="2700000" algn="tl">
                    <a:srgbClr val="000000"/>
                  </a:outerShdw>
                </a:effectLst>
                <a:uLnTx/>
                <a:uFillTx/>
                <a:latin typeface="Arial" pitchFamily="34" charset="0"/>
                <a:ea typeface="+mn-ea"/>
                <a:cs typeface="Angsana New" pitchFamily="18" charset="-34"/>
              </a:rPr>
              <a:t>C</a:t>
            </a:r>
          </a:p>
          <a:p>
            <a:pPr marL="0" marR="0" lvl="0" indent="0" algn="ctr" defTabSz="914400" rtl="0" eaLnBrk="1" fontAlgn="base" latinLnBrk="0" hangingPunct="1">
              <a:lnSpc>
                <a:spcPct val="150000"/>
              </a:lnSpc>
              <a:spcBef>
                <a:spcPct val="0"/>
              </a:spcBef>
              <a:spcAft>
                <a:spcPct val="0"/>
              </a:spcAft>
              <a:buClrTx/>
              <a:buSzTx/>
              <a:buFontTx/>
              <a:buNone/>
              <a:tabLst/>
              <a:defRPr/>
            </a:pPr>
            <a:r>
              <a:rPr kumimoji="1" lang="en-US" sz="3600" b="1" i="1" u="none" strike="noStrike" kern="1200" cap="none" spc="0" normalizeH="0" baseline="0" noProof="0" dirty="0" smtClean="0">
                <a:ln>
                  <a:noFill/>
                </a:ln>
                <a:solidFill>
                  <a:srgbClr val="FF0000"/>
                </a:solidFill>
                <a:effectLst>
                  <a:outerShdw blurRad="38100" dist="38100" dir="2700000" algn="tl">
                    <a:srgbClr val="000000"/>
                  </a:outerShdw>
                </a:effectLst>
                <a:uLnTx/>
                <a:uFillTx/>
                <a:latin typeface="Arial" pitchFamily="34" charset="0"/>
                <a:ea typeface="+mn-ea"/>
                <a:cs typeface="Angsana New" pitchFamily="18" charset="-34"/>
              </a:rPr>
              <a:t>H</a:t>
            </a:r>
          </a:p>
          <a:p>
            <a:pPr marL="0" marR="0" lvl="0" indent="0" algn="ctr" defTabSz="914400" rtl="0" eaLnBrk="1" fontAlgn="base" latinLnBrk="0" hangingPunct="1">
              <a:lnSpc>
                <a:spcPct val="150000"/>
              </a:lnSpc>
              <a:spcBef>
                <a:spcPct val="0"/>
              </a:spcBef>
              <a:spcAft>
                <a:spcPct val="0"/>
              </a:spcAft>
              <a:buClrTx/>
              <a:buSzTx/>
              <a:buFontTx/>
              <a:buNone/>
              <a:tabLst/>
              <a:defRPr/>
            </a:pPr>
            <a:r>
              <a:rPr kumimoji="1" lang="en-US" sz="3600" b="1" i="1" u="none" strike="noStrike" kern="1200" cap="none" spc="0" normalizeH="0" baseline="0" noProof="0" dirty="0" smtClean="0">
                <a:ln>
                  <a:noFill/>
                </a:ln>
                <a:solidFill>
                  <a:srgbClr val="FF0000"/>
                </a:solidFill>
                <a:effectLst>
                  <a:outerShdw blurRad="38100" dist="38100" dir="2700000" algn="tl">
                    <a:srgbClr val="000000"/>
                  </a:outerShdw>
                </a:effectLst>
                <a:uLnTx/>
                <a:uFillTx/>
                <a:latin typeface="Arial" pitchFamily="34" charset="0"/>
                <a:ea typeface="+mn-ea"/>
                <a:cs typeface="Angsana New" pitchFamily="18" charset="-34"/>
              </a:rPr>
              <a:t>A</a:t>
            </a:r>
          </a:p>
          <a:p>
            <a:pPr marL="0" marR="0" lvl="0" indent="0" algn="ctr" defTabSz="914400" rtl="0" eaLnBrk="1" fontAlgn="base" latinLnBrk="0" hangingPunct="1">
              <a:lnSpc>
                <a:spcPct val="150000"/>
              </a:lnSpc>
              <a:spcBef>
                <a:spcPct val="0"/>
              </a:spcBef>
              <a:spcAft>
                <a:spcPct val="0"/>
              </a:spcAft>
              <a:buClrTx/>
              <a:buSzTx/>
              <a:buFontTx/>
              <a:buNone/>
              <a:tabLst/>
              <a:defRPr/>
            </a:pPr>
            <a:r>
              <a:rPr kumimoji="1" lang="en-US" sz="3600" b="1" i="1" u="none" strike="noStrike" kern="1200" cap="none" spc="0" normalizeH="0" baseline="0" noProof="0" dirty="0" smtClean="0">
                <a:ln>
                  <a:noFill/>
                </a:ln>
                <a:solidFill>
                  <a:srgbClr val="FF0000"/>
                </a:solidFill>
                <a:effectLst>
                  <a:outerShdw blurRad="38100" dist="38100" dir="2700000" algn="tl">
                    <a:srgbClr val="000000"/>
                  </a:outerShdw>
                </a:effectLst>
                <a:uLnTx/>
                <a:uFillTx/>
                <a:latin typeface="Arial" pitchFamily="34" charset="0"/>
                <a:ea typeface="+mn-ea"/>
                <a:cs typeface="Angsana New" pitchFamily="18" charset="-34"/>
              </a:rPr>
              <a:t>N</a:t>
            </a:r>
          </a:p>
          <a:p>
            <a:pPr marL="0" marR="0" lvl="0" indent="0" algn="ctr" defTabSz="914400" rtl="0" eaLnBrk="1" fontAlgn="base" latinLnBrk="0" hangingPunct="1">
              <a:lnSpc>
                <a:spcPct val="150000"/>
              </a:lnSpc>
              <a:spcBef>
                <a:spcPct val="0"/>
              </a:spcBef>
              <a:spcAft>
                <a:spcPct val="0"/>
              </a:spcAft>
              <a:buClrTx/>
              <a:buSzTx/>
              <a:buFontTx/>
              <a:buNone/>
              <a:tabLst/>
              <a:defRPr/>
            </a:pPr>
            <a:r>
              <a:rPr kumimoji="1" lang="en-US" sz="3600" b="1" i="1" u="none" strike="noStrike" kern="1200" cap="none" spc="0" normalizeH="0" baseline="0" noProof="0" dirty="0" smtClean="0">
                <a:ln>
                  <a:noFill/>
                </a:ln>
                <a:solidFill>
                  <a:srgbClr val="FF0000"/>
                </a:solidFill>
                <a:effectLst>
                  <a:outerShdw blurRad="38100" dist="38100" dir="2700000" algn="tl">
                    <a:srgbClr val="000000"/>
                  </a:outerShdw>
                </a:effectLst>
                <a:uLnTx/>
                <a:uFillTx/>
                <a:latin typeface="Arial" pitchFamily="34" charset="0"/>
                <a:ea typeface="+mn-ea"/>
                <a:cs typeface="Angsana New" pitchFamily="18" charset="-34"/>
              </a:rPr>
              <a:t>G</a:t>
            </a:r>
          </a:p>
          <a:p>
            <a:pPr marL="0" marR="0" lvl="0" indent="0" algn="ctr" defTabSz="914400" rtl="0" eaLnBrk="1" fontAlgn="base" latinLnBrk="0" hangingPunct="1">
              <a:lnSpc>
                <a:spcPct val="150000"/>
              </a:lnSpc>
              <a:spcBef>
                <a:spcPct val="0"/>
              </a:spcBef>
              <a:spcAft>
                <a:spcPct val="0"/>
              </a:spcAft>
              <a:buClrTx/>
              <a:buSzTx/>
              <a:buFontTx/>
              <a:buNone/>
              <a:tabLst/>
              <a:defRPr/>
            </a:pPr>
            <a:r>
              <a:rPr kumimoji="1" lang="en-US" sz="3600" b="1" i="1" u="none" strike="noStrike" kern="1200" cap="none" spc="0" normalizeH="0" baseline="0" noProof="0" dirty="0" smtClean="0">
                <a:ln>
                  <a:noFill/>
                </a:ln>
                <a:solidFill>
                  <a:srgbClr val="FF0000"/>
                </a:solidFill>
                <a:effectLst>
                  <a:outerShdw blurRad="38100" dist="38100" dir="2700000" algn="tl">
                    <a:srgbClr val="000000"/>
                  </a:outerShdw>
                </a:effectLst>
                <a:uLnTx/>
                <a:uFillTx/>
                <a:latin typeface="Arial" pitchFamily="34" charset="0"/>
                <a:ea typeface="+mn-ea"/>
                <a:cs typeface="Angsana New" pitchFamily="18" charset="-34"/>
              </a:rPr>
              <a:t>E</a:t>
            </a:r>
            <a:endParaRPr kumimoji="1" lang="en-US" sz="3600" b="1" i="1" u="none" strike="noStrike" kern="1200" cap="none" spc="0" normalizeH="0" baseline="0" noProof="0" dirty="0">
              <a:ln>
                <a:noFill/>
              </a:ln>
              <a:solidFill>
                <a:srgbClr val="FF0000"/>
              </a:solidFill>
              <a:effectLst>
                <a:outerShdw blurRad="38100" dist="38100" dir="2700000" algn="tl">
                  <a:srgbClr val="000000"/>
                </a:outerShdw>
              </a:effectLst>
              <a:uLnTx/>
              <a:uFillTx/>
              <a:latin typeface="Arial" pitchFamily="34" charset="0"/>
              <a:ea typeface="+mn-ea"/>
              <a:cs typeface="Angsana New" pitchFamily="18" charset="-34"/>
            </a:endParaRPr>
          </a:p>
        </p:txBody>
      </p:sp>
      <p:sp>
        <p:nvSpPr>
          <p:cNvPr id="25" name="Rectangle 24"/>
          <p:cNvSpPr/>
          <p:nvPr/>
        </p:nvSpPr>
        <p:spPr>
          <a:xfrm>
            <a:off x="1980094" y="1590719"/>
            <a:ext cx="2954655" cy="5078313"/>
          </a:xfrm>
          <a:prstGeom prst="rect">
            <a:avLst/>
          </a:prstGeom>
        </p:spPr>
        <p:txBody>
          <a:bodyPr wrap="non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3600" b="0" i="1" u="none" strike="noStrike" kern="1200" cap="none" spc="0" normalizeH="0" baseline="0" noProof="0" dirty="0" err="1" smtClean="0">
                <a:ln>
                  <a:noFill/>
                </a:ln>
                <a:solidFill>
                  <a:srgbClr val="0070C0"/>
                </a:solidFill>
                <a:effectLst>
                  <a:outerShdw blurRad="38100" dist="38100" dir="2700000" algn="tl">
                    <a:srgbClr val="000000">
                      <a:alpha val="43137"/>
                    </a:srgbClr>
                  </a:outerShdw>
                </a:effectLst>
                <a:uLnTx/>
                <a:uFillTx/>
                <a:latin typeface="Arial" pitchFamily="34" charset="0"/>
                <a:ea typeface="+mn-ea"/>
                <a:cs typeface="Angsana New" pitchFamily="18" charset="-34"/>
              </a:rPr>
              <a:t>hallenge</a:t>
            </a:r>
            <a:endParaRPr kumimoji="0" lang="en-US" sz="3600" b="0" i="1" u="none" strike="noStrike" kern="1200" cap="none" spc="0" normalizeH="0" baseline="0" noProof="0" dirty="0" smtClean="0">
              <a:ln>
                <a:noFill/>
              </a:ln>
              <a:solidFill>
                <a:srgbClr val="0070C0"/>
              </a:solidFill>
              <a:effectLst>
                <a:outerShdw blurRad="38100" dist="38100" dir="2700000" algn="tl">
                  <a:srgbClr val="000000">
                    <a:alpha val="43137"/>
                  </a:srgbClr>
                </a:outerShdw>
              </a:effectLst>
              <a:uLnTx/>
              <a:uFillTx/>
              <a:latin typeface="Arial" pitchFamily="34" charset="0"/>
              <a:ea typeface="+mn-ea"/>
              <a:cs typeface="Angsana New" pitchFamily="18" charset="-34"/>
            </a:endParaRPr>
          </a:p>
          <a:p>
            <a:pPr marL="0" marR="0" lvl="0" indent="0" algn="l" defTabSz="914400" rtl="0" eaLnBrk="1" fontAlgn="base" latinLnBrk="0" hangingPunct="1">
              <a:lnSpc>
                <a:spcPct val="150000"/>
              </a:lnSpc>
              <a:spcBef>
                <a:spcPct val="0"/>
              </a:spcBef>
              <a:spcAft>
                <a:spcPct val="0"/>
              </a:spcAft>
              <a:buClrTx/>
              <a:buSzTx/>
              <a:buFontTx/>
              <a:buNone/>
              <a:tabLst/>
              <a:defRPr/>
            </a:pPr>
            <a:r>
              <a:rPr kumimoji="1" lang="en-US" sz="3600" b="0" i="1" u="none" strike="noStrike" kern="1200" cap="none" spc="0" normalizeH="0" baseline="0" noProof="0" dirty="0" err="1">
                <a:ln>
                  <a:noFill/>
                </a:ln>
                <a:solidFill>
                  <a:srgbClr val="0070C0"/>
                </a:solidFill>
                <a:effectLst>
                  <a:outerShdw blurRad="38100" dist="38100" dir="2700000" algn="tl">
                    <a:srgbClr val="000000"/>
                  </a:outerShdw>
                </a:effectLst>
                <a:uLnTx/>
                <a:uFillTx/>
                <a:latin typeface="Arial" pitchFamily="34" charset="0"/>
                <a:ea typeface="+mn-ea"/>
                <a:cs typeface="Angsana New" pitchFamily="18" charset="-34"/>
              </a:rPr>
              <a:t>i</a:t>
            </a:r>
            <a:r>
              <a:rPr kumimoji="1" lang="en-US" sz="3600" b="0" i="1" u="none" strike="noStrike" kern="1200" cap="none" spc="0" normalizeH="0" baseline="0" noProof="0" dirty="0" err="1" smtClean="0">
                <a:ln>
                  <a:noFill/>
                </a:ln>
                <a:solidFill>
                  <a:srgbClr val="0070C0"/>
                </a:solidFill>
                <a:effectLst>
                  <a:outerShdw blurRad="38100" dist="38100" dir="2700000" algn="tl">
                    <a:srgbClr val="000000"/>
                  </a:outerShdw>
                </a:effectLst>
                <a:uLnTx/>
                <a:uFillTx/>
                <a:latin typeface="Arial" pitchFamily="34" charset="0"/>
                <a:ea typeface="+mn-ea"/>
                <a:cs typeface="Angsana New" pitchFamily="18" charset="-34"/>
              </a:rPr>
              <a:t>gh</a:t>
            </a:r>
            <a:r>
              <a:rPr kumimoji="1" lang="en-US" sz="3600" b="0" i="1" u="none" strike="noStrike" kern="1200" cap="none" spc="0" normalizeH="0" baseline="0" noProof="0" dirty="0" smtClean="0">
                <a:ln>
                  <a:noFill/>
                </a:ln>
                <a:solidFill>
                  <a:srgbClr val="0070C0"/>
                </a:solidFill>
                <a:effectLst>
                  <a:outerShdw blurRad="38100" dist="38100" dir="2700000" algn="tl">
                    <a:srgbClr val="000000"/>
                  </a:outerShdw>
                </a:effectLst>
                <a:uLnTx/>
                <a:uFillTx/>
                <a:latin typeface="Arial" pitchFamily="34" charset="0"/>
                <a:ea typeface="+mn-ea"/>
                <a:cs typeface="Angsana New" pitchFamily="18" charset="-34"/>
              </a:rPr>
              <a:t> impact  </a:t>
            </a:r>
          </a:p>
          <a:p>
            <a:pPr marL="0" marR="0" lvl="0" indent="0" algn="l" defTabSz="914400" rtl="0" eaLnBrk="1" fontAlgn="base" latinLnBrk="0" hangingPunct="1">
              <a:lnSpc>
                <a:spcPct val="150000"/>
              </a:lnSpc>
              <a:spcBef>
                <a:spcPct val="0"/>
              </a:spcBef>
              <a:spcAft>
                <a:spcPct val="0"/>
              </a:spcAft>
              <a:buClrTx/>
              <a:buSzTx/>
              <a:buFontTx/>
              <a:buNone/>
              <a:tabLst/>
              <a:defRPr/>
            </a:pPr>
            <a:r>
              <a:rPr kumimoji="1" lang="en-US" sz="3600" b="0" i="1" u="none" strike="noStrike" kern="1200" cap="none" spc="0" normalizeH="0" baseline="0" noProof="0" dirty="0" err="1" smtClean="0">
                <a:ln>
                  <a:noFill/>
                </a:ln>
                <a:solidFill>
                  <a:srgbClr val="0070C0"/>
                </a:solidFill>
                <a:effectLst>
                  <a:outerShdw blurRad="38100" dist="38100" dir="2700000" algn="tl">
                    <a:srgbClr val="000000"/>
                  </a:outerShdw>
                </a:effectLst>
                <a:uLnTx/>
                <a:uFillTx/>
                <a:latin typeface="Arial" pitchFamily="34" charset="0"/>
                <a:ea typeface="+mn-ea"/>
                <a:cs typeface="Angsana New" pitchFamily="18" charset="-34"/>
              </a:rPr>
              <a:t>chievement</a:t>
            </a:r>
            <a:endParaRPr kumimoji="1" lang="en-US" sz="3600" b="0" i="1" u="none" strike="noStrike" kern="1200" cap="none" spc="0" normalizeH="0" baseline="0" noProof="0" dirty="0" smtClean="0">
              <a:ln>
                <a:noFill/>
              </a:ln>
              <a:solidFill>
                <a:srgbClr val="0070C0"/>
              </a:solidFill>
              <a:effectLst>
                <a:outerShdw blurRad="38100" dist="38100" dir="2700000" algn="tl">
                  <a:srgbClr val="000000"/>
                </a:outerShdw>
              </a:effectLst>
              <a:uLnTx/>
              <a:uFillTx/>
              <a:latin typeface="Arial" pitchFamily="34" charset="0"/>
              <a:ea typeface="+mn-ea"/>
              <a:cs typeface="Angsana New" pitchFamily="18" charset="-34"/>
            </a:endParaRPr>
          </a:p>
          <a:p>
            <a:pPr marL="0" marR="0" lvl="0" indent="0" algn="l" defTabSz="914400" rtl="0" eaLnBrk="1" fontAlgn="base" latinLnBrk="0" hangingPunct="1">
              <a:lnSpc>
                <a:spcPct val="150000"/>
              </a:lnSpc>
              <a:spcBef>
                <a:spcPct val="0"/>
              </a:spcBef>
              <a:spcAft>
                <a:spcPct val="0"/>
              </a:spcAft>
              <a:buClrTx/>
              <a:buSzTx/>
              <a:buFontTx/>
              <a:buNone/>
              <a:tabLst/>
              <a:defRPr/>
            </a:pPr>
            <a:r>
              <a:rPr kumimoji="1" lang="en-US" sz="3600" b="0" i="1" u="none" strike="noStrike" kern="1200" cap="none" spc="0" normalizeH="0" baseline="0" noProof="0" dirty="0" err="1" smtClean="0">
                <a:ln>
                  <a:noFill/>
                </a:ln>
                <a:solidFill>
                  <a:srgbClr val="0070C0"/>
                </a:solidFill>
                <a:effectLst>
                  <a:outerShdw blurRad="38100" dist="38100" dir="2700000" algn="tl">
                    <a:srgbClr val="000000"/>
                  </a:outerShdw>
                </a:effectLst>
                <a:uLnTx/>
                <a:uFillTx/>
                <a:latin typeface="Arial" pitchFamily="34" charset="0"/>
                <a:ea typeface="+mn-ea"/>
                <a:cs typeface="Angsana New" pitchFamily="18" charset="-34"/>
              </a:rPr>
              <a:t>ew</a:t>
            </a:r>
            <a:r>
              <a:rPr kumimoji="1" lang="en-US" sz="3600" b="0" i="1" u="none" strike="noStrike" kern="1200" cap="none" spc="0" normalizeH="0" baseline="0" noProof="0" dirty="0" smtClean="0">
                <a:ln>
                  <a:noFill/>
                </a:ln>
                <a:solidFill>
                  <a:srgbClr val="0070C0"/>
                </a:solidFill>
                <a:effectLst>
                  <a:outerShdw blurRad="38100" dist="38100" dir="2700000" algn="tl">
                    <a:srgbClr val="000000"/>
                  </a:outerShdw>
                </a:effectLst>
                <a:uLnTx/>
                <a:uFillTx/>
                <a:latin typeface="Arial" pitchFamily="34" charset="0"/>
                <a:ea typeface="+mn-ea"/>
                <a:cs typeface="Angsana New" pitchFamily="18" charset="-34"/>
              </a:rPr>
              <a:t> approach </a:t>
            </a:r>
          </a:p>
          <a:p>
            <a:pPr marL="0" marR="0" lvl="0" indent="0" algn="l" defTabSz="914400" rtl="0" eaLnBrk="1" fontAlgn="base" latinLnBrk="0" hangingPunct="1">
              <a:lnSpc>
                <a:spcPct val="150000"/>
              </a:lnSpc>
              <a:spcBef>
                <a:spcPct val="0"/>
              </a:spcBef>
              <a:spcAft>
                <a:spcPct val="0"/>
              </a:spcAft>
              <a:buClrTx/>
              <a:buSzTx/>
              <a:buFontTx/>
              <a:buNone/>
              <a:tabLst/>
              <a:defRPr/>
            </a:pPr>
            <a:r>
              <a:rPr kumimoji="1" lang="en-US" sz="3600" b="0" i="1" u="none" strike="noStrike" kern="1200" cap="none" spc="0" normalizeH="0" baseline="0" noProof="0" dirty="0" err="1" smtClean="0">
                <a:ln>
                  <a:noFill/>
                </a:ln>
                <a:solidFill>
                  <a:srgbClr val="0070C0"/>
                </a:solidFill>
                <a:effectLst>
                  <a:outerShdw blurRad="38100" dist="38100" dir="2700000" algn="tl">
                    <a:srgbClr val="000000"/>
                  </a:outerShdw>
                </a:effectLst>
                <a:uLnTx/>
                <a:uFillTx/>
                <a:latin typeface="Arial" pitchFamily="34" charset="0"/>
                <a:ea typeface="+mn-ea"/>
                <a:cs typeface="Angsana New" pitchFamily="18" charset="-34"/>
              </a:rPr>
              <a:t>overnance</a:t>
            </a:r>
            <a:endParaRPr kumimoji="1" lang="en-US" sz="3600" b="0" i="1" u="none" strike="noStrike" kern="1200" cap="none" spc="0" normalizeH="0" baseline="0" noProof="0" dirty="0" smtClean="0">
              <a:ln>
                <a:noFill/>
              </a:ln>
              <a:solidFill>
                <a:srgbClr val="0070C0"/>
              </a:solidFill>
              <a:effectLst>
                <a:outerShdw blurRad="38100" dist="38100" dir="2700000" algn="tl">
                  <a:srgbClr val="000000"/>
                </a:outerShdw>
              </a:effectLst>
              <a:uLnTx/>
              <a:uFillTx/>
              <a:latin typeface="Arial" pitchFamily="34" charset="0"/>
              <a:ea typeface="+mn-ea"/>
              <a:cs typeface="Angsana New" pitchFamily="18" charset="-34"/>
            </a:endParaRPr>
          </a:p>
          <a:p>
            <a:pPr marL="0" marR="0" lvl="0" indent="0" algn="l" defTabSz="914400" rtl="0" eaLnBrk="1" fontAlgn="base" latinLnBrk="0" hangingPunct="1">
              <a:lnSpc>
                <a:spcPct val="150000"/>
              </a:lnSpc>
              <a:spcBef>
                <a:spcPct val="0"/>
              </a:spcBef>
              <a:spcAft>
                <a:spcPct val="0"/>
              </a:spcAft>
              <a:buClrTx/>
              <a:buSzTx/>
              <a:buFontTx/>
              <a:buNone/>
              <a:tabLst/>
              <a:defRPr/>
            </a:pPr>
            <a:r>
              <a:rPr kumimoji="1" lang="en-US" sz="3600" b="0" i="1" u="none" strike="noStrike" kern="1200" cap="none" spc="0" normalizeH="0" baseline="0" noProof="0" dirty="0" err="1" smtClean="0">
                <a:ln>
                  <a:noFill/>
                </a:ln>
                <a:solidFill>
                  <a:srgbClr val="0070C0"/>
                </a:solidFill>
                <a:effectLst>
                  <a:outerShdw blurRad="38100" dist="38100" dir="2700000" algn="tl">
                    <a:srgbClr val="000000"/>
                  </a:outerShdw>
                </a:effectLst>
                <a:uLnTx/>
                <a:uFillTx/>
                <a:latin typeface="Arial" pitchFamily="34" charset="0"/>
                <a:ea typeface="+mn-ea"/>
                <a:cs typeface="Angsana New" pitchFamily="18" charset="-34"/>
              </a:rPr>
              <a:t>xcellence</a:t>
            </a:r>
            <a:endParaRPr kumimoji="1" lang="en-US" sz="3600" b="0" i="1" u="none" strike="noStrike" kern="1200" cap="none" spc="0" normalizeH="0" baseline="0" noProof="0" dirty="0">
              <a:ln>
                <a:noFill/>
              </a:ln>
              <a:solidFill>
                <a:srgbClr val="0070C0"/>
              </a:solidFill>
              <a:effectLst>
                <a:outerShdw blurRad="38100" dist="38100" dir="2700000" algn="tl">
                  <a:srgbClr val="000000"/>
                </a:outerShdw>
              </a:effectLst>
              <a:uLnTx/>
              <a:uFillTx/>
              <a:latin typeface="Arial" pitchFamily="34" charset="0"/>
              <a:ea typeface="+mn-ea"/>
              <a:cs typeface="Angsana New" pitchFamily="18" charset="-34"/>
            </a:endParaRPr>
          </a:p>
        </p:txBody>
      </p:sp>
      <p:pic>
        <p:nvPicPr>
          <p:cNvPr id="8" name="Picture 7"/>
          <p:cNvPicPr>
            <a:picLocks noChangeAspect="1"/>
          </p:cNvPicPr>
          <p:nvPr/>
        </p:nvPicPr>
        <p:blipFill>
          <a:blip r:embed="rId4">
            <a:duotone>
              <a:prstClr val="black"/>
              <a:srgbClr val="99CC00">
                <a:tint val="45000"/>
                <a:satMod val="400000"/>
              </a:srgbClr>
            </a:duotone>
            <a:extLst>
              <a:ext uri="{28A0092B-C50C-407E-A947-70E740481C1C}">
                <a14:useLocalDpi xmlns:a14="http://schemas.microsoft.com/office/drawing/2010/main" val="0"/>
              </a:ext>
            </a:extLst>
          </a:blip>
          <a:stretch>
            <a:fillRect/>
          </a:stretch>
        </p:blipFill>
        <p:spPr>
          <a:xfrm>
            <a:off x="4828686" y="2141876"/>
            <a:ext cx="4001347" cy="4001347"/>
          </a:xfrm>
          <a:prstGeom prst="rect">
            <a:avLst/>
          </a:prstGeom>
        </p:spPr>
      </p:pic>
    </p:spTree>
    <p:extLst>
      <p:ext uri="{BB962C8B-B14F-4D97-AF65-F5344CB8AC3E}">
        <p14:creationId xmlns:p14="http://schemas.microsoft.com/office/powerpoint/2010/main" val="147055078"/>
      </p:ext>
    </p:extLst>
  </p:cSld>
  <p:clrMapOvr>
    <a:overrideClrMapping bg1="lt1" tx1="dk1" bg2="lt2" tx2="dk2" accent1="accent1" accent2="accent2" accent3="accent3" accent4="accent4" accent5="accent5" accent6="accent6" hlink="hlink" folHlink="folHlink"/>
  </p:clrMapOvr>
  <p:transition spd="med">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25">
                                            <p:txEl>
                                              <p:pRg st="0" end="0"/>
                                            </p:txEl>
                                          </p:spTgt>
                                        </p:tgtEl>
                                        <p:attrNameLst>
                                          <p:attrName>style.visibility</p:attrName>
                                        </p:attrNameLst>
                                      </p:cBhvr>
                                      <p:to>
                                        <p:strVal val="visible"/>
                                      </p:to>
                                    </p:set>
                                    <p:animEffect transition="in" filter="wipe(left)">
                                      <p:cBhvr>
                                        <p:cTn id="12" dur="500"/>
                                        <p:tgtEl>
                                          <p:spTgt spid="2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25">
                                            <p:txEl>
                                              <p:pRg st="1" end="1"/>
                                            </p:txEl>
                                          </p:spTgt>
                                        </p:tgtEl>
                                        <p:attrNameLst>
                                          <p:attrName>style.visibility</p:attrName>
                                        </p:attrNameLst>
                                      </p:cBhvr>
                                      <p:to>
                                        <p:strVal val="visible"/>
                                      </p:to>
                                    </p:set>
                                    <p:animEffect transition="in" filter="wipe(left)">
                                      <p:cBhvr>
                                        <p:cTn id="17" dur="500"/>
                                        <p:tgtEl>
                                          <p:spTgt spid="25">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25">
                                            <p:txEl>
                                              <p:pRg st="2" end="2"/>
                                            </p:txEl>
                                          </p:spTgt>
                                        </p:tgtEl>
                                        <p:attrNameLst>
                                          <p:attrName>style.visibility</p:attrName>
                                        </p:attrNameLst>
                                      </p:cBhvr>
                                      <p:to>
                                        <p:strVal val="visible"/>
                                      </p:to>
                                    </p:set>
                                    <p:animEffect transition="in" filter="wipe(left)">
                                      <p:cBhvr>
                                        <p:cTn id="22" dur="500"/>
                                        <p:tgtEl>
                                          <p:spTgt spid="25">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25">
                                            <p:txEl>
                                              <p:pRg st="3" end="3"/>
                                            </p:txEl>
                                          </p:spTgt>
                                        </p:tgtEl>
                                        <p:attrNameLst>
                                          <p:attrName>style.visibility</p:attrName>
                                        </p:attrNameLst>
                                      </p:cBhvr>
                                      <p:to>
                                        <p:strVal val="visible"/>
                                      </p:to>
                                    </p:set>
                                    <p:animEffect transition="in" filter="wipe(left)">
                                      <p:cBhvr>
                                        <p:cTn id="27" dur="500"/>
                                        <p:tgtEl>
                                          <p:spTgt spid="2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25">
                                            <p:txEl>
                                              <p:pRg st="4" end="4"/>
                                            </p:txEl>
                                          </p:spTgt>
                                        </p:tgtEl>
                                        <p:attrNameLst>
                                          <p:attrName>style.visibility</p:attrName>
                                        </p:attrNameLst>
                                      </p:cBhvr>
                                      <p:to>
                                        <p:strVal val="visible"/>
                                      </p:to>
                                    </p:set>
                                    <p:animEffect transition="in" filter="wipe(left)">
                                      <p:cBhvr>
                                        <p:cTn id="32" dur="500"/>
                                        <p:tgtEl>
                                          <p:spTgt spid="25">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25">
                                            <p:txEl>
                                              <p:pRg st="5" end="5"/>
                                            </p:txEl>
                                          </p:spTgt>
                                        </p:tgtEl>
                                        <p:attrNameLst>
                                          <p:attrName>style.visibility</p:attrName>
                                        </p:attrNameLst>
                                      </p:cBhvr>
                                      <p:to>
                                        <p:strVal val="visible"/>
                                      </p:to>
                                    </p:set>
                                    <p:animEffect transition="in" filter="wipe(left)">
                                      <p:cBhvr>
                                        <p:cTn id="37" dur="500"/>
                                        <p:tgtEl>
                                          <p:spTgt spid="25">
                                            <p:txEl>
                                              <p:pRg st="5" end="5"/>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1" fill="hold" nodeType="clickEffect">
                                  <p:stCondLst>
                                    <p:cond delay="0"/>
                                  </p:stCondLst>
                                  <p:childTnLst>
                                    <p:set>
                                      <p:cBhvr>
                                        <p:cTn id="41" dur="1" fill="hold">
                                          <p:stCondLst>
                                            <p:cond delay="0"/>
                                          </p:stCondLst>
                                        </p:cTn>
                                        <p:tgtEl>
                                          <p:spTgt spid="8"/>
                                        </p:tgtEl>
                                        <p:attrNameLst>
                                          <p:attrName>style.visibility</p:attrName>
                                        </p:attrNameLst>
                                      </p:cBhvr>
                                      <p:to>
                                        <p:strVal val="visible"/>
                                      </p:to>
                                    </p:set>
                                    <p:animEffect transition="in" filter="wipe(up)">
                                      <p:cBhvr>
                                        <p:cTn id="4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5"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68938" y="5895353"/>
            <a:ext cx="1271502" cy="400110"/>
          </a:xfrm>
          <a:prstGeom prst="rect">
            <a:avLst/>
          </a:prstGeom>
          <a:noFill/>
        </p:spPr>
        <p:txBody>
          <a:bodyPr wrap="none" rtlCol="0">
            <a:spAutoFit/>
          </a:bodyPr>
          <a:lstStyle/>
          <a:p>
            <a:r>
              <a:rPr lang="en-US" sz="2000" b="1" dirty="0" smtClean="0">
                <a:solidFill>
                  <a:schemeClr val="bg1"/>
                </a:solidFill>
                <a:latin typeface="AngsanaUPC" panose="02020603050405020304" pitchFamily="18" charset="-34"/>
                <a:cs typeface="AngsanaUPC" panose="02020603050405020304" pitchFamily="18" charset="-34"/>
              </a:rPr>
              <a:t>20 </a:t>
            </a:r>
            <a:r>
              <a:rPr lang="th-TH" sz="2000" b="1" dirty="0" smtClean="0">
                <a:solidFill>
                  <a:schemeClr val="bg1"/>
                </a:solidFill>
                <a:latin typeface="AngsanaUPC" panose="02020603050405020304" pitchFamily="18" charset="-34"/>
                <a:cs typeface="AngsanaUPC" panose="02020603050405020304" pitchFamily="18" charset="-34"/>
              </a:rPr>
              <a:t>ตุลาคม 25</a:t>
            </a:r>
            <a:r>
              <a:rPr lang="en-US" sz="2000" b="1" dirty="0" smtClean="0">
                <a:solidFill>
                  <a:schemeClr val="bg1"/>
                </a:solidFill>
                <a:latin typeface="AngsanaUPC" panose="02020603050405020304" pitchFamily="18" charset="-34"/>
                <a:cs typeface="AngsanaUPC" panose="02020603050405020304" pitchFamily="18" charset="-34"/>
              </a:rPr>
              <a:t>60</a:t>
            </a:r>
            <a:endParaRPr lang="th-TH" sz="2000" b="1" dirty="0">
              <a:solidFill>
                <a:schemeClr val="bg1"/>
              </a:solidFill>
              <a:latin typeface="AngsanaUPC" panose="02020603050405020304" pitchFamily="18" charset="-34"/>
              <a:cs typeface="AngsanaUPC" panose="02020603050405020304" pitchFamily="18" charset="-34"/>
            </a:endParaRPr>
          </a:p>
        </p:txBody>
      </p:sp>
      <p:sp>
        <p:nvSpPr>
          <p:cNvPr id="11" name="TextBox 10"/>
          <p:cNvSpPr txBox="1"/>
          <p:nvPr/>
        </p:nvSpPr>
        <p:spPr>
          <a:xfrm>
            <a:off x="168938" y="6173029"/>
            <a:ext cx="4847802" cy="646331"/>
          </a:xfrm>
          <a:prstGeom prst="rect">
            <a:avLst/>
          </a:prstGeom>
          <a:noFill/>
        </p:spPr>
        <p:txBody>
          <a:bodyPr wrap="none" rtlCol="0">
            <a:spAutoFit/>
          </a:bodyPr>
          <a:lstStyle/>
          <a:p>
            <a:r>
              <a:rPr lang="th-TH" sz="1800" b="1" dirty="0" smtClean="0">
                <a:solidFill>
                  <a:schemeClr val="bg1"/>
                </a:solidFill>
                <a:latin typeface="Angsana New" panose="02020603050405020304" pitchFamily="18" charset="-34"/>
              </a:rPr>
              <a:t>ณ สำนักงาน ก.พ.ร.ศูนย์ราชการเฉลิมพระเกียรติ </a:t>
            </a:r>
            <a:r>
              <a:rPr lang="en-US" sz="1800" b="1" dirty="0" smtClean="0">
                <a:solidFill>
                  <a:schemeClr val="bg1"/>
                </a:solidFill>
                <a:latin typeface="Angsana New" panose="02020603050405020304" pitchFamily="18" charset="-34"/>
              </a:rPr>
              <a:t>80 </a:t>
            </a:r>
            <a:r>
              <a:rPr lang="th-TH" sz="1800" b="1" dirty="0" smtClean="0">
                <a:solidFill>
                  <a:schemeClr val="bg1"/>
                </a:solidFill>
                <a:latin typeface="Angsana New" panose="02020603050405020304" pitchFamily="18" charset="-34"/>
              </a:rPr>
              <a:t>พรรษา </a:t>
            </a:r>
            <a:r>
              <a:rPr lang="en-US" sz="1800" b="1" dirty="0" smtClean="0">
                <a:solidFill>
                  <a:schemeClr val="bg1"/>
                </a:solidFill>
                <a:latin typeface="Angsana New" panose="02020603050405020304" pitchFamily="18" charset="-34"/>
              </a:rPr>
              <a:t>5 </a:t>
            </a:r>
            <a:r>
              <a:rPr lang="th-TH" sz="1800" b="1" dirty="0" smtClean="0">
                <a:solidFill>
                  <a:schemeClr val="bg1"/>
                </a:solidFill>
                <a:latin typeface="Angsana New" panose="02020603050405020304" pitchFamily="18" charset="-34"/>
              </a:rPr>
              <a:t>ธันวาคม </a:t>
            </a:r>
            <a:r>
              <a:rPr lang="en-US" sz="1800" b="1" dirty="0" smtClean="0">
                <a:solidFill>
                  <a:schemeClr val="bg1"/>
                </a:solidFill>
                <a:latin typeface="Angsana New" panose="02020603050405020304" pitchFamily="18" charset="-34"/>
              </a:rPr>
              <a:t>2560</a:t>
            </a:r>
            <a:endParaRPr lang="th-TH" sz="1800" b="1" dirty="0" smtClean="0">
              <a:solidFill>
                <a:schemeClr val="bg1"/>
              </a:solidFill>
              <a:latin typeface="Angsana New" panose="02020603050405020304" pitchFamily="18" charset="-34"/>
            </a:endParaRPr>
          </a:p>
          <a:p>
            <a:r>
              <a:rPr lang="th-TH" sz="1800" b="1" dirty="0" smtClean="0">
                <a:solidFill>
                  <a:schemeClr val="bg1"/>
                </a:solidFill>
                <a:latin typeface="Angsana New" panose="02020603050405020304" pitchFamily="18" charset="-34"/>
              </a:rPr>
              <a:t>ชั้น </a:t>
            </a:r>
            <a:r>
              <a:rPr lang="en-US" sz="1800" b="1" dirty="0" smtClean="0">
                <a:solidFill>
                  <a:schemeClr val="bg1"/>
                </a:solidFill>
                <a:latin typeface="Angsana New" panose="02020603050405020304" pitchFamily="18" charset="-34"/>
              </a:rPr>
              <a:t>9 </a:t>
            </a:r>
            <a:r>
              <a:rPr lang="th-TH" sz="1800" b="1" dirty="0" smtClean="0">
                <a:solidFill>
                  <a:schemeClr val="bg1"/>
                </a:solidFill>
                <a:latin typeface="Angsana New" panose="02020603050405020304" pitchFamily="18" charset="-34"/>
              </a:rPr>
              <a:t>อาคารรัฐประศาสนภักดี </a:t>
            </a:r>
          </a:p>
        </p:txBody>
      </p:sp>
      <p:graphicFrame>
        <p:nvGraphicFramePr>
          <p:cNvPr id="10" name="Table 9"/>
          <p:cNvGraphicFramePr>
            <a:graphicFrameLocks noGrp="1"/>
          </p:cNvGraphicFramePr>
          <p:nvPr>
            <p:extLst>
              <p:ext uri="{D42A27DB-BD31-4B8C-83A1-F6EECF244321}">
                <p14:modId xmlns:p14="http://schemas.microsoft.com/office/powerpoint/2010/main" val="140449861"/>
              </p:ext>
            </p:extLst>
          </p:nvPr>
        </p:nvGraphicFramePr>
        <p:xfrm>
          <a:off x="1903095" y="307173"/>
          <a:ext cx="6915441" cy="2074006"/>
        </p:xfrm>
        <a:graphic>
          <a:graphicData uri="http://schemas.openxmlformats.org/drawingml/2006/table">
            <a:tbl>
              <a:tblPr firstRow="1" bandRow="1">
                <a:tableStyleId>{5C22544A-7EE6-4342-B048-85BDC9FD1C3A}</a:tableStyleId>
              </a:tblPr>
              <a:tblGrid>
                <a:gridCol w="1737730">
                  <a:extLst>
                    <a:ext uri="{9D8B030D-6E8A-4147-A177-3AD203B41FA5}">
                      <a16:colId xmlns:a16="http://schemas.microsoft.com/office/drawing/2014/main" xmlns="" val="20000"/>
                    </a:ext>
                  </a:extLst>
                </a:gridCol>
                <a:gridCol w="5177711">
                  <a:extLst>
                    <a:ext uri="{9D8B030D-6E8A-4147-A177-3AD203B41FA5}">
                      <a16:colId xmlns:a16="http://schemas.microsoft.com/office/drawing/2014/main" xmlns="" val="20001"/>
                    </a:ext>
                  </a:extLst>
                </a:gridCol>
              </a:tblGrid>
              <a:tr h="1183164">
                <a:tc>
                  <a:txBody>
                    <a:bodyPr/>
                    <a:lstStyle/>
                    <a:p>
                      <a:pPr algn="ctr"/>
                      <a:r>
                        <a:rPr kumimoji="0" lang="th-TH" sz="2800" u="none" strike="noStrike" kern="1200" cap="none" spc="0" normalizeH="0" baseline="0" dirty="0" smtClean="0">
                          <a:ln>
                            <a:noFill/>
                          </a:ln>
                          <a:effectLst>
                            <a:outerShdw blurRad="38100" dist="38100" dir="2700000" algn="tl">
                              <a:srgbClr val="000000">
                                <a:alpha val="43137"/>
                              </a:srgbClr>
                            </a:outerShdw>
                          </a:effectLst>
                          <a:uLnTx/>
                          <a:uFillTx/>
                          <a:latin typeface="AngsanaUPC" panose="02020603050405020304" pitchFamily="18" charset="-34"/>
                          <a:cs typeface="AngsanaUPC" panose="02020603050405020304" pitchFamily="18" charset="-34"/>
                        </a:rPr>
                        <a:t>สัมมนาเชิงปฏิบัติการ</a:t>
                      </a:r>
                      <a:endParaRPr kumimoji="0" lang="th-TH" sz="2800" b="0" i="0" u="none" strike="noStrike" kern="1200" cap="none" spc="0" normalizeH="0" baseline="0" dirty="0">
                        <a:ln>
                          <a:noFill/>
                        </a:ln>
                        <a:solidFill>
                          <a:prstClr val="white"/>
                        </a:solidFill>
                        <a:effectLst>
                          <a:outerShdw blurRad="38100" dist="38100" dir="2700000" algn="tl">
                            <a:srgbClr val="000000">
                              <a:alpha val="43137"/>
                            </a:srgbClr>
                          </a:outerShdw>
                        </a:effectLst>
                        <a:uLnTx/>
                        <a:uFillTx/>
                        <a:latin typeface="AngsanaUPC" panose="02020603050405020304" pitchFamily="18" charset="-34"/>
                        <a:ea typeface="+mn-ea"/>
                        <a:cs typeface="AngsanaUPC" panose="02020603050405020304" pitchFamily="18" charset="-34"/>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2800" u="none" strike="noStrike" kern="1200" cap="none" spc="0" normalizeH="0" baseline="0" dirty="0" smtClean="0">
                          <a:ln>
                            <a:noFill/>
                          </a:ln>
                          <a:effectLst>
                            <a:outerShdw blurRad="38100" dist="38100" dir="2700000" algn="tl">
                              <a:srgbClr val="000000">
                                <a:alpha val="43137"/>
                              </a:srgbClr>
                            </a:outerShdw>
                          </a:effectLst>
                          <a:uLnTx/>
                          <a:uFillTx/>
                          <a:latin typeface="AngsanaUPC" panose="02020603050405020304" pitchFamily="18" charset="-34"/>
                          <a:cs typeface="AngsanaUPC" panose="02020603050405020304" pitchFamily="18" charset="-34"/>
                        </a:rPr>
                        <a:t>การพัฒนาสวัสดิการภายในกองทัพเรือ</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2800" b="1" i="0" u="none" strike="noStrike" kern="1200" cap="none" spc="0" normalizeH="0" baseline="0" dirty="0" smtClean="0">
                          <a:ln>
                            <a:noFill/>
                          </a:ln>
                          <a:solidFill>
                            <a:prstClr val="white"/>
                          </a:solidFill>
                          <a:effectLst>
                            <a:outerShdw blurRad="38100" dist="38100" dir="2700000" algn="tl">
                              <a:srgbClr val="000000">
                                <a:alpha val="43137"/>
                              </a:srgbClr>
                            </a:outerShdw>
                          </a:effectLst>
                          <a:uLnTx/>
                          <a:uFillTx/>
                          <a:latin typeface="AngsanaUPC" panose="02020603050405020304" pitchFamily="18" charset="-34"/>
                          <a:ea typeface="+mn-ea"/>
                          <a:cs typeface="AngsanaUPC" panose="02020603050405020304" pitchFamily="18" charset="-34"/>
                        </a:rPr>
                        <a:t>รองรับการขับเคลื่อนโครงการ </a:t>
                      </a:r>
                      <a:r>
                        <a:rPr kumimoji="0" lang="en-US" sz="2800" b="1" i="0" u="none" strike="noStrike" kern="1200" cap="none" spc="0" normalizeH="0" baseline="0" dirty="0" smtClean="0">
                          <a:ln>
                            <a:noFill/>
                          </a:ln>
                          <a:solidFill>
                            <a:prstClr val="white"/>
                          </a:solidFill>
                          <a:effectLst>
                            <a:outerShdw blurRad="38100" dist="38100" dir="2700000" algn="tl">
                              <a:srgbClr val="000000">
                                <a:alpha val="43137"/>
                              </a:srgbClr>
                            </a:outerShdw>
                          </a:effectLst>
                          <a:uLnTx/>
                          <a:uFillTx/>
                          <a:latin typeface="AngsanaUPC" panose="02020603050405020304" pitchFamily="18" charset="-34"/>
                          <a:ea typeface="+mn-ea"/>
                          <a:cs typeface="AngsanaUPC" panose="02020603050405020304" pitchFamily="18" charset="-34"/>
                        </a:rPr>
                        <a:t>EEC</a:t>
                      </a:r>
                      <a:endParaRPr kumimoji="0" lang="th-TH" sz="2800" b="1" i="0" u="none" strike="noStrike" kern="1200" cap="none" spc="0" normalizeH="0" baseline="0" dirty="0" smtClean="0">
                        <a:ln>
                          <a:noFill/>
                        </a:ln>
                        <a:solidFill>
                          <a:prstClr val="white"/>
                        </a:solidFill>
                        <a:effectLst>
                          <a:outerShdw blurRad="38100" dist="38100" dir="2700000" algn="tl">
                            <a:srgbClr val="000000">
                              <a:alpha val="43137"/>
                            </a:srgbClr>
                          </a:outerShdw>
                        </a:effectLst>
                        <a:uLnTx/>
                        <a:uFillTx/>
                        <a:latin typeface="AngsanaUPC" panose="02020603050405020304" pitchFamily="18" charset="-34"/>
                        <a:ea typeface="+mn-ea"/>
                        <a:cs typeface="AngsanaUPC" panose="02020603050405020304" pitchFamily="18" charset="-34"/>
                      </a:endParaRPr>
                    </a:p>
                  </a:txBody>
                  <a:tcPr anchor="ctr"/>
                </a:tc>
                <a:extLst>
                  <a:ext uri="{0D108BD9-81ED-4DB2-BD59-A6C34878D82A}">
                    <a16:rowId xmlns:a16="http://schemas.microsoft.com/office/drawing/2014/main" xmlns="" val="10000"/>
                  </a:ext>
                </a:extLst>
              </a:tr>
              <a:tr h="89084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2800" u="none" strike="noStrike" kern="1200" cap="none" spc="0" normalizeH="0" baseline="0" noProof="0" dirty="0" smtClean="0">
                          <a:ln>
                            <a:noFill/>
                          </a:ln>
                          <a:effectLst>
                            <a:outerShdw blurRad="38100" dist="38100" dir="2700000" algn="tl">
                              <a:srgbClr val="000000">
                                <a:alpha val="43137"/>
                              </a:srgbClr>
                            </a:outerShdw>
                          </a:effectLst>
                          <a:uLnTx/>
                          <a:uFillTx/>
                          <a:latin typeface="AngsanaUPC" panose="02020603050405020304" pitchFamily="18" charset="-34"/>
                          <a:cs typeface="AngsanaUPC" panose="02020603050405020304" pitchFamily="18" charset="-34"/>
                        </a:rPr>
                        <a:t>หัวข้อ</a:t>
                      </a:r>
                      <a:endParaRPr lang="th-TH" sz="1800" dirty="0">
                        <a:effectLst>
                          <a:outerShdw blurRad="38100" dist="38100" dir="2700000" algn="tl">
                            <a:srgbClr val="000000">
                              <a:alpha val="43137"/>
                            </a:srgbClr>
                          </a:outerShdw>
                        </a:effectLst>
                        <a:latin typeface="AngsanaUPC" panose="02020603050405020304" pitchFamily="18" charset="-34"/>
                        <a:cs typeface="AngsanaUPC" panose="02020603050405020304" pitchFamily="18" charset="-34"/>
                      </a:endParaRPr>
                    </a:p>
                  </a:txBody>
                  <a:tcPr anchor="ct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th-TH" sz="2800" u="none" strike="noStrike" kern="1200" cap="none" spc="0" normalizeH="0" baseline="0" noProof="0" dirty="0" smtClean="0">
                          <a:ln>
                            <a:noFill/>
                          </a:ln>
                          <a:effectLst>
                            <a:outerShdw blurRad="38100" dist="38100" dir="2700000" algn="tl">
                              <a:srgbClr val="000000">
                                <a:alpha val="43137"/>
                              </a:srgbClr>
                            </a:outerShdw>
                          </a:effectLst>
                          <a:uLnTx/>
                          <a:uFillTx/>
                          <a:latin typeface="AngsanaUPC" panose="02020603050405020304" pitchFamily="18" charset="-34"/>
                          <a:cs typeface="AngsanaUPC" panose="02020603050405020304" pitchFamily="18" charset="-34"/>
                        </a:rPr>
                        <a:t>กลยุทธ์ในการจัดการ</a:t>
                      </a:r>
                      <a:endParaRPr kumimoji="0" lang="en-US" sz="2800" u="none" strike="noStrike" kern="1200" cap="none" spc="0" normalizeH="0" baseline="0" noProof="0" dirty="0" smtClean="0">
                        <a:ln>
                          <a:noFill/>
                        </a:ln>
                        <a:effectLst>
                          <a:outerShdw blurRad="38100" dist="38100" dir="2700000" algn="tl">
                            <a:srgbClr val="000000">
                              <a:alpha val="43137"/>
                            </a:srgbClr>
                          </a:outerShdw>
                        </a:effectLst>
                        <a:uLnTx/>
                        <a:uFillTx/>
                        <a:latin typeface="AngsanaUPC" panose="02020603050405020304" pitchFamily="18" charset="-34"/>
                        <a:cs typeface="AngsanaUPC" panose="02020603050405020304" pitchFamily="18" charset="-34"/>
                      </a:endParaRP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th-TH" sz="2800" u="none" strike="noStrike" kern="1200" cap="none" spc="0" normalizeH="0" baseline="0" noProof="0" dirty="0" smtClean="0">
                          <a:ln>
                            <a:noFill/>
                          </a:ln>
                          <a:effectLst>
                            <a:outerShdw blurRad="38100" dist="38100" dir="2700000" algn="tl">
                              <a:srgbClr val="000000">
                                <a:alpha val="43137"/>
                              </a:srgbClr>
                            </a:outerShdw>
                          </a:effectLst>
                          <a:uLnTx/>
                          <a:uFillTx/>
                          <a:latin typeface="AngsanaUPC" panose="02020603050405020304" pitchFamily="18" charset="-34"/>
                          <a:cs typeface="AngsanaUPC" panose="02020603050405020304" pitchFamily="18" charset="-34"/>
                        </a:rPr>
                        <a:t>นวัตกรรมของสวัสดิการกองทัพเรือ</a:t>
                      </a:r>
                      <a:endParaRPr kumimoji="0" lang="th-TH" sz="28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AngsanaUPC" panose="02020603050405020304" pitchFamily="18" charset="-34"/>
                        <a:ea typeface="+mn-ea"/>
                        <a:cs typeface="AngsanaUPC" panose="02020603050405020304" pitchFamily="18" charset="-34"/>
                      </a:endParaRPr>
                    </a:p>
                  </a:txBody>
                  <a:tcPr anchor="ctr"/>
                </a:tc>
                <a:extLst>
                  <a:ext uri="{0D108BD9-81ED-4DB2-BD59-A6C34878D82A}">
                    <a16:rowId xmlns:a16="http://schemas.microsoft.com/office/drawing/2014/main" xmlns="" val="10001"/>
                  </a:ext>
                </a:extLst>
              </a:tr>
            </a:tbl>
          </a:graphicData>
        </a:graphic>
      </p:graphicFrame>
      <p:sp>
        <p:nvSpPr>
          <p:cNvPr id="8" name="Rectangle 3"/>
          <p:cNvSpPr txBox="1">
            <a:spLocks noChangeArrowheads="1"/>
          </p:cNvSpPr>
          <p:nvPr/>
        </p:nvSpPr>
        <p:spPr bwMode="auto">
          <a:xfrm>
            <a:off x="4514849" y="5637378"/>
            <a:ext cx="4417985" cy="1090576"/>
          </a:xfrm>
          <a:prstGeom prst="rect">
            <a:avLst/>
          </a:prstGeom>
          <a:noFill/>
          <a:ln w="9525">
            <a:noFill/>
            <a:miter lim="800000"/>
            <a:headEnd/>
            <a:tailEnd/>
          </a:ln>
        </p:spPr>
        <p:txBody>
          <a:bodyPr vert="horz" wrap="square" lIns="91440" tIns="0" rIns="45720" bIns="0" numCol="1" anchor="b" anchorCtr="0" compatLnSpc="1">
            <a:prstTxWarp prst="textNoShape">
              <a:avLst/>
            </a:prstTxWarp>
            <a:normAutofit fontScale="85000" lnSpcReduction="20000"/>
          </a:bodyPr>
          <a:lstStyle>
            <a:lvl1pPr marL="0" indent="0" algn="r" rtl="0" eaLnBrk="0" fontAlgn="base" hangingPunct="0">
              <a:spcBef>
                <a:spcPct val="20000"/>
              </a:spcBef>
              <a:spcAft>
                <a:spcPct val="0"/>
              </a:spcAft>
              <a:buClr>
                <a:schemeClr val="accent1"/>
              </a:buClr>
              <a:buSzPct val="80000"/>
              <a:buFont typeface="Wingdings 2" pitchFamily="18" charset="2"/>
              <a:buNone/>
              <a:defRPr sz="2000" kern="1200">
                <a:solidFill>
                  <a:schemeClr val="tx1"/>
                </a:solidFill>
                <a:effectLst/>
                <a:latin typeface="+mn-lt"/>
                <a:ea typeface="+mn-ea"/>
                <a:cs typeface="+mn-cs"/>
              </a:defRPr>
            </a:lvl1pPr>
            <a:lvl2pPr marL="457200" indent="0" algn="ctr" rtl="0" eaLnBrk="0" fontAlgn="base" hangingPunct="0">
              <a:spcBef>
                <a:spcPct val="20000"/>
              </a:spcBef>
              <a:spcAft>
                <a:spcPct val="0"/>
              </a:spcAft>
              <a:buClr>
                <a:schemeClr val="accent1"/>
              </a:buClr>
              <a:buSzPct val="90000"/>
              <a:buFont typeface="Wingdings 2" pitchFamily="18" charset="2"/>
              <a:buNone/>
              <a:defRPr sz="2600" kern="1200">
                <a:solidFill>
                  <a:schemeClr val="tx1"/>
                </a:solidFill>
                <a:latin typeface="+mn-lt"/>
                <a:ea typeface="+mn-ea"/>
                <a:cs typeface="+mn-cs"/>
              </a:defRPr>
            </a:lvl2pPr>
            <a:lvl3pPr marL="914400" indent="0" algn="ctr" rtl="0" eaLnBrk="0" fontAlgn="base" hangingPunct="0">
              <a:spcBef>
                <a:spcPct val="20000"/>
              </a:spcBef>
              <a:spcAft>
                <a:spcPct val="0"/>
              </a:spcAft>
              <a:buClr>
                <a:schemeClr val="accent2"/>
              </a:buClr>
              <a:buSzPct val="85000"/>
              <a:buFont typeface="Arial" pitchFamily="34" charset="0"/>
              <a:buNone/>
              <a:defRPr sz="2400" kern="1200">
                <a:solidFill>
                  <a:schemeClr val="tx1"/>
                </a:solidFill>
                <a:latin typeface="+mn-lt"/>
                <a:ea typeface="+mn-ea"/>
                <a:cs typeface="+mn-cs"/>
              </a:defRPr>
            </a:lvl3pPr>
            <a:lvl4pPr marL="1371600" indent="0" algn="ctr" rtl="0" eaLnBrk="0" fontAlgn="base" hangingPunct="0">
              <a:spcBef>
                <a:spcPct val="20000"/>
              </a:spcBef>
              <a:spcAft>
                <a:spcPct val="0"/>
              </a:spcAft>
              <a:buClr>
                <a:srgbClr val="8D89A4"/>
              </a:buClr>
              <a:buSzPct val="90000"/>
              <a:buFont typeface="Wingdings 2" pitchFamily="18" charset="2"/>
              <a:buNone/>
              <a:defRPr sz="2000" kern="1200">
                <a:solidFill>
                  <a:schemeClr val="tx1"/>
                </a:solidFill>
                <a:latin typeface="+mn-lt"/>
                <a:ea typeface="+mn-ea"/>
                <a:cs typeface="+mn-cs"/>
              </a:defRPr>
            </a:lvl4pPr>
            <a:lvl5pPr marL="1828800" indent="0" algn="ctr" rtl="0" eaLnBrk="0" fontAlgn="base" hangingPunct="0">
              <a:spcBef>
                <a:spcPct val="20000"/>
              </a:spcBef>
              <a:spcAft>
                <a:spcPct val="0"/>
              </a:spcAft>
              <a:buClr>
                <a:srgbClr val="748560"/>
              </a:buClr>
              <a:buSzPct val="100000"/>
              <a:buFont typeface="Arial" pitchFamily="34" charset="0"/>
              <a:buNone/>
              <a:defRPr sz="2000" kern="1200">
                <a:solidFill>
                  <a:schemeClr val="tx1"/>
                </a:solidFill>
                <a:latin typeface="+mn-lt"/>
                <a:ea typeface="+mn-ea"/>
                <a:cs typeface="+mn-cs"/>
              </a:defRPr>
            </a:lvl5pPr>
            <a:lvl6pPr marL="2286000" indent="0" algn="ctr" rtl="0" eaLnBrk="1" latinLnBrk="0" hangingPunct="1">
              <a:spcBef>
                <a:spcPct val="20000"/>
              </a:spcBef>
              <a:buClr>
                <a:schemeClr val="accent5"/>
              </a:buClr>
              <a:buFont typeface="Arial"/>
              <a:buNone/>
              <a:defRPr kumimoji="0" sz="2000" kern="1200" baseline="0">
                <a:solidFill>
                  <a:schemeClr val="tx1"/>
                </a:solidFill>
                <a:latin typeface="+mn-lt"/>
                <a:ea typeface="+mn-ea"/>
                <a:cs typeface="+mn-cs"/>
              </a:defRPr>
            </a:lvl6pPr>
            <a:lvl7pPr marL="2743200" indent="0" algn="ctr" rtl="0" eaLnBrk="1" latinLnBrk="0" hangingPunct="1">
              <a:spcBef>
                <a:spcPct val="20000"/>
              </a:spcBef>
              <a:buClr>
                <a:schemeClr val="accent6"/>
              </a:buClr>
              <a:buSzPct val="100000"/>
              <a:buFont typeface="Arial"/>
              <a:buNone/>
              <a:defRPr kumimoji="0" sz="1800" kern="1200" baseline="0">
                <a:solidFill>
                  <a:schemeClr val="tx1"/>
                </a:solidFill>
                <a:latin typeface="+mn-lt"/>
                <a:ea typeface="+mn-ea"/>
                <a:cs typeface="+mn-cs"/>
              </a:defRPr>
            </a:lvl7pPr>
            <a:lvl8pPr marL="3200400" indent="0" algn="ctr" rtl="0" eaLnBrk="1" latinLnBrk="0" hangingPunct="1">
              <a:spcBef>
                <a:spcPct val="20000"/>
              </a:spcBef>
              <a:buClr>
                <a:schemeClr val="accent6"/>
              </a:buClr>
              <a:buFont typeface="Arial"/>
              <a:buNone/>
              <a:defRPr kumimoji="0" sz="1600" kern="1200">
                <a:solidFill>
                  <a:schemeClr val="tx1"/>
                </a:solidFill>
                <a:latin typeface="+mn-lt"/>
                <a:ea typeface="+mn-ea"/>
                <a:cs typeface="+mn-cs"/>
              </a:defRPr>
            </a:lvl8pPr>
            <a:lvl9pPr marL="3657600" indent="0" algn="ctr" rtl="0" eaLnBrk="1" latinLnBrk="0" hangingPunct="1">
              <a:spcBef>
                <a:spcPct val="20000"/>
              </a:spcBef>
              <a:buClr>
                <a:schemeClr val="accent6"/>
              </a:buClr>
              <a:buFont typeface="Arial"/>
              <a:buNone/>
              <a:defRPr kumimoji="0" sz="1600" kern="1200">
                <a:solidFill>
                  <a:schemeClr val="tx1"/>
                </a:solidFill>
                <a:latin typeface="+mn-lt"/>
                <a:ea typeface="+mn-ea"/>
                <a:cs typeface="+mn-cs"/>
              </a:defRPr>
            </a:lvl9pPr>
          </a:lstStyle>
          <a:p>
            <a:pPr eaLnBrk="1" fontAlgn="auto" hangingPunct="1">
              <a:spcAft>
                <a:spcPts val="0"/>
              </a:spcAft>
              <a:buFont typeface="Wingdings 2"/>
              <a:buNone/>
              <a:defRPr/>
            </a:pPr>
            <a:r>
              <a:rPr lang="th-TH" sz="3000" b="1" dirty="0" smtClean="0">
                <a:solidFill>
                  <a:srgbClr val="002060"/>
                </a:solidFill>
                <a:cs typeface="AngsanaUPC" pitchFamily="18" charset="-34"/>
              </a:rPr>
              <a:t>ธนิตสรณ์  จิระพรชัย     </a:t>
            </a:r>
          </a:p>
          <a:p>
            <a:pPr eaLnBrk="1" fontAlgn="auto" hangingPunct="1">
              <a:lnSpc>
                <a:spcPts val="2000"/>
              </a:lnSpc>
              <a:spcAft>
                <a:spcPts val="0"/>
              </a:spcAft>
              <a:buFont typeface="Wingdings 2"/>
              <a:buNone/>
              <a:defRPr/>
            </a:pPr>
            <a:r>
              <a:rPr lang="th-TH" sz="2600" b="1" dirty="0" smtClean="0">
                <a:cs typeface="AngsanaUPC" pitchFamily="18" charset="-34"/>
              </a:rPr>
              <a:t>รองอธิการบดีฝ่ายแผนและสารสนเทศ</a:t>
            </a:r>
          </a:p>
          <a:p>
            <a:pPr eaLnBrk="1" fontAlgn="auto" hangingPunct="1">
              <a:spcAft>
                <a:spcPts val="0"/>
              </a:spcAft>
              <a:buFont typeface="Wingdings 2"/>
              <a:buNone/>
              <a:defRPr/>
            </a:pPr>
            <a:r>
              <a:rPr lang="th-TH" sz="3000" b="1" dirty="0" smtClean="0">
                <a:solidFill>
                  <a:srgbClr val="FF6600"/>
                </a:solidFill>
                <a:latin typeface="Angsana New" pitchFamily="18" charset="-34"/>
                <a:cs typeface="Angsana New" pitchFamily="18" charset="-34"/>
              </a:rPr>
              <a:t>มหาวิทยาลัยเทคโนโลยีพระจอมเกล้าธนบุรี</a:t>
            </a:r>
            <a:r>
              <a:rPr lang="th-TH" sz="2200" b="1" dirty="0" smtClean="0">
                <a:solidFill>
                  <a:srgbClr val="FF6600"/>
                </a:solidFill>
                <a:latin typeface="Angsana New" pitchFamily="18" charset="-34"/>
                <a:cs typeface="Angsana New" pitchFamily="18" charset="-34"/>
              </a:rPr>
              <a:t> </a:t>
            </a:r>
            <a:endParaRPr lang="th-TH" sz="2600" b="1" dirty="0" smtClean="0">
              <a:solidFill>
                <a:srgbClr val="FF6600"/>
              </a:solidFill>
              <a:latin typeface="Angsana New" pitchFamily="18" charset="-34"/>
              <a:cs typeface="Angsana New" pitchFamily="18" charset="-34"/>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9071" y="132503"/>
            <a:ext cx="1326859" cy="2653717"/>
          </a:xfrm>
          <a:prstGeom prst="rect">
            <a:avLst/>
          </a:prstGeom>
        </p:spPr>
      </p:pic>
      <p:sp>
        <p:nvSpPr>
          <p:cNvPr id="17" name="TextBox 16"/>
          <p:cNvSpPr txBox="1"/>
          <p:nvPr/>
        </p:nvSpPr>
        <p:spPr>
          <a:xfrm>
            <a:off x="233335" y="5725613"/>
            <a:ext cx="3795739" cy="523220"/>
          </a:xfrm>
          <a:prstGeom prst="rect">
            <a:avLst/>
          </a:prstGeom>
          <a:noFill/>
        </p:spPr>
        <p:txBody>
          <a:bodyPr wrap="square" rtlCol="0">
            <a:spAutoFit/>
          </a:bodyPr>
          <a:lstStyle/>
          <a:p>
            <a:pPr lvl="0"/>
            <a:r>
              <a:rPr lang="en-US" dirty="0" smtClean="0">
                <a:solidFill>
                  <a:srgbClr val="002060"/>
                </a:solidFill>
                <a:latin typeface="AngsanaUPC" panose="02020603050405020304" pitchFamily="18" charset="-34"/>
                <a:cs typeface="AngsanaUPC" panose="02020603050405020304" pitchFamily="18" charset="-34"/>
              </a:rPr>
              <a:t>5 </a:t>
            </a:r>
            <a:r>
              <a:rPr lang="th-TH" dirty="0" smtClean="0">
                <a:solidFill>
                  <a:srgbClr val="002060"/>
                </a:solidFill>
                <a:latin typeface="AngsanaUPC" panose="02020603050405020304" pitchFamily="18" charset="-34"/>
                <a:cs typeface="AngsanaUPC" panose="02020603050405020304" pitchFamily="18" charset="-34"/>
              </a:rPr>
              <a:t>มีนาคม </a:t>
            </a:r>
            <a:r>
              <a:rPr lang="th-TH" dirty="0">
                <a:solidFill>
                  <a:srgbClr val="002060"/>
                </a:solidFill>
                <a:latin typeface="AngsanaUPC" panose="02020603050405020304" pitchFamily="18" charset="-34"/>
                <a:cs typeface="AngsanaUPC" panose="02020603050405020304" pitchFamily="18" charset="-34"/>
              </a:rPr>
              <a:t>25</a:t>
            </a:r>
            <a:r>
              <a:rPr lang="en-US" dirty="0" smtClean="0">
                <a:solidFill>
                  <a:srgbClr val="002060"/>
                </a:solidFill>
                <a:latin typeface="AngsanaUPC" panose="02020603050405020304" pitchFamily="18" charset="-34"/>
                <a:cs typeface="AngsanaUPC" panose="02020603050405020304" pitchFamily="18" charset="-34"/>
              </a:rPr>
              <a:t>62 : 13.00-16.30 </a:t>
            </a:r>
            <a:r>
              <a:rPr lang="th-TH" dirty="0" smtClean="0">
                <a:solidFill>
                  <a:srgbClr val="002060"/>
                </a:solidFill>
                <a:latin typeface="AngsanaUPC" panose="02020603050405020304" pitchFamily="18" charset="-34"/>
                <a:cs typeface="AngsanaUPC" panose="02020603050405020304" pitchFamily="18" charset="-34"/>
              </a:rPr>
              <a:t>น.</a:t>
            </a:r>
            <a:endParaRPr lang="th-TH" dirty="0">
              <a:solidFill>
                <a:srgbClr val="002060"/>
              </a:solidFill>
              <a:latin typeface="AngsanaUPC" panose="02020603050405020304" pitchFamily="18" charset="-34"/>
              <a:cs typeface="AngsanaUPC" panose="02020603050405020304" pitchFamily="18" charset="-34"/>
            </a:endParaRPr>
          </a:p>
        </p:txBody>
      </p:sp>
      <p:sp>
        <p:nvSpPr>
          <p:cNvPr id="18" name="TextBox 17"/>
          <p:cNvSpPr txBox="1"/>
          <p:nvPr/>
        </p:nvSpPr>
        <p:spPr>
          <a:xfrm>
            <a:off x="272581" y="6239403"/>
            <a:ext cx="3977243" cy="523220"/>
          </a:xfrm>
          <a:prstGeom prst="rect">
            <a:avLst/>
          </a:prstGeom>
          <a:noFill/>
        </p:spPr>
        <p:txBody>
          <a:bodyPr wrap="square" rtlCol="0">
            <a:spAutoFit/>
          </a:bodyPr>
          <a:lstStyle/>
          <a:p>
            <a:r>
              <a:rPr lang="th-TH" dirty="0">
                <a:solidFill>
                  <a:srgbClr val="002060"/>
                </a:solidFill>
                <a:latin typeface="Angsana New" panose="02020603050405020304" pitchFamily="18" charset="-34"/>
              </a:rPr>
              <a:t>ณ </a:t>
            </a:r>
            <a:r>
              <a:rPr lang="th-TH" dirty="0" smtClean="0">
                <a:solidFill>
                  <a:srgbClr val="002060"/>
                </a:solidFill>
                <a:latin typeface="Angsana New" panose="02020603050405020304" pitchFamily="18" charset="-34"/>
              </a:rPr>
              <a:t>โรงแรม เดอะ รอยัล ริเวอร์ กทม.</a:t>
            </a:r>
            <a:endParaRPr lang="th-TH" dirty="0">
              <a:solidFill>
                <a:srgbClr val="002060"/>
              </a:solidFill>
              <a:latin typeface="Angsana New" panose="02020603050405020304" pitchFamily="18" charset="-34"/>
            </a:endParaRPr>
          </a:p>
        </p:txBody>
      </p:sp>
      <p:pic>
        <p:nvPicPr>
          <p:cNvPr id="3" name="Picture 2"/>
          <p:cNvPicPr>
            <a:picLocks noChangeAspect="1"/>
          </p:cNvPicPr>
          <p:nvPr/>
        </p:nvPicPr>
        <p:blipFill rotWithShape="1">
          <a:blip r:embed="rId4"/>
          <a:srcRect r="2890"/>
          <a:stretch/>
        </p:blipFill>
        <p:spPr>
          <a:xfrm>
            <a:off x="2211705" y="2505866"/>
            <a:ext cx="4790642" cy="3343316"/>
          </a:xfrm>
          <a:prstGeom prst="rect">
            <a:avLst/>
          </a:prstGeom>
        </p:spPr>
      </p:pic>
    </p:spTree>
    <p:extLst>
      <p:ext uri="{BB962C8B-B14F-4D97-AF65-F5344CB8AC3E}">
        <p14:creationId xmlns:p14="http://schemas.microsoft.com/office/powerpoint/2010/main" val="4266601612"/>
      </p:ext>
    </p:extLst>
  </p:cSld>
  <p:clrMapOvr>
    <a:masterClrMapping/>
  </p:clrMapOvr>
  <p:transition>
    <p:fade thruBlk="1"/>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3265713" y="6396335"/>
            <a:ext cx="5753101" cy="461665"/>
          </a:xfrm>
          <a:prstGeom prst="rect">
            <a:avLst/>
          </a:prstGeom>
        </p:spPr>
        <p:txBody>
          <a:bodyPr wrap="square">
            <a:spAutoFit/>
          </a:bodyPr>
          <a:lstStyle/>
          <a:p>
            <a:pPr algn="r"/>
            <a:r>
              <a:rPr lang="en-US" sz="2400" dirty="0">
                <a:solidFill>
                  <a:srgbClr val="363636"/>
                </a:solidFill>
                <a:latin typeface="AngsanaUPC" panose="02020603050405020304" pitchFamily="18" charset="-34"/>
                <a:cs typeface="AngsanaUPC" panose="02020603050405020304" pitchFamily="18" charset="-34"/>
              </a:rPr>
              <a:t>Thinking in New Boxes </a:t>
            </a:r>
            <a:r>
              <a:rPr lang="th-TH" sz="2400" dirty="0">
                <a:solidFill>
                  <a:srgbClr val="363636"/>
                </a:solidFill>
                <a:latin typeface="AngsanaUPC" panose="02020603050405020304" pitchFamily="18" charset="-34"/>
                <a:cs typeface="AngsanaUPC" panose="02020603050405020304" pitchFamily="18" charset="-34"/>
              </a:rPr>
              <a:t>เขียนโดย </a:t>
            </a:r>
            <a:r>
              <a:rPr lang="en-US" sz="2400" dirty="0">
                <a:solidFill>
                  <a:srgbClr val="363636"/>
                </a:solidFill>
                <a:latin typeface="AngsanaUPC" panose="02020603050405020304" pitchFamily="18" charset="-34"/>
                <a:cs typeface="AngsanaUPC" panose="02020603050405020304" pitchFamily="18" charset="-34"/>
              </a:rPr>
              <a:t>Luc De </a:t>
            </a:r>
            <a:r>
              <a:rPr lang="en-US" sz="2400" dirty="0" err="1">
                <a:solidFill>
                  <a:srgbClr val="363636"/>
                </a:solidFill>
                <a:latin typeface="AngsanaUPC" panose="02020603050405020304" pitchFamily="18" charset="-34"/>
                <a:cs typeface="AngsanaUPC" panose="02020603050405020304" pitchFamily="18" charset="-34"/>
              </a:rPr>
              <a:t>Brabandere</a:t>
            </a:r>
            <a:r>
              <a:rPr lang="en-US" sz="2400" dirty="0">
                <a:solidFill>
                  <a:srgbClr val="363636"/>
                </a:solidFill>
                <a:latin typeface="AngsanaUPC" panose="02020603050405020304" pitchFamily="18" charset="-34"/>
                <a:cs typeface="AngsanaUPC" panose="02020603050405020304" pitchFamily="18" charset="-34"/>
              </a:rPr>
              <a:t> </a:t>
            </a:r>
            <a:r>
              <a:rPr lang="th-TH" sz="2400" dirty="0">
                <a:solidFill>
                  <a:srgbClr val="363636"/>
                </a:solidFill>
                <a:latin typeface="AngsanaUPC" panose="02020603050405020304" pitchFamily="18" charset="-34"/>
                <a:cs typeface="AngsanaUPC" panose="02020603050405020304" pitchFamily="18" charset="-34"/>
              </a:rPr>
              <a:t>และ </a:t>
            </a:r>
            <a:r>
              <a:rPr lang="en-US" sz="2400" dirty="0">
                <a:solidFill>
                  <a:srgbClr val="363636"/>
                </a:solidFill>
                <a:latin typeface="AngsanaUPC" panose="02020603050405020304" pitchFamily="18" charset="-34"/>
                <a:cs typeface="AngsanaUPC" panose="02020603050405020304" pitchFamily="18" charset="-34"/>
              </a:rPr>
              <a:t>Alan </a:t>
            </a:r>
            <a:r>
              <a:rPr lang="en-US" sz="2400" dirty="0" err="1">
                <a:solidFill>
                  <a:srgbClr val="363636"/>
                </a:solidFill>
                <a:latin typeface="AngsanaUPC" panose="02020603050405020304" pitchFamily="18" charset="-34"/>
                <a:cs typeface="AngsanaUPC" panose="02020603050405020304" pitchFamily="18" charset="-34"/>
              </a:rPr>
              <a:t>Iny</a:t>
            </a:r>
            <a:endParaRPr lang="en-US" sz="2400" b="0" i="0" dirty="0">
              <a:solidFill>
                <a:srgbClr val="363636"/>
              </a:solidFill>
              <a:effectLst/>
              <a:latin typeface="AngsanaUPC" panose="02020603050405020304" pitchFamily="18" charset="-34"/>
              <a:cs typeface="AngsanaUPC" panose="02020603050405020304" pitchFamily="18" charset="-34"/>
            </a:endParaRPr>
          </a:p>
        </p:txBody>
      </p:sp>
      <p:pic>
        <p:nvPicPr>
          <p:cNvPr id="5" name="Picture 4" descr="http://www.smithdesignco.com/wp-content/uploads/2015/08/smith_walkingforcreativity-825x390.jpg"/>
          <p:cNvPicPr>
            <a:picLocks noChangeAspect="1" noChangeArrowheads="1"/>
          </p:cNvPicPr>
          <p:nvPr/>
        </p:nvPicPr>
        <p:blipFill rotWithShape="1">
          <a:blip r:embed="rId3">
            <a:extLst>
              <a:ext uri="{28A0092B-C50C-407E-A947-70E740481C1C}">
                <a14:useLocalDpi xmlns:a14="http://schemas.microsoft.com/office/drawing/2010/main" val="0"/>
              </a:ext>
            </a:extLst>
          </a:blip>
          <a:srcRect l="2908" r="13674"/>
          <a:stretch/>
        </p:blipFill>
        <p:spPr bwMode="auto">
          <a:xfrm>
            <a:off x="-40005" y="929428"/>
            <a:ext cx="9114852" cy="5165303"/>
          </a:xfrm>
          <a:prstGeom prst="rect">
            <a:avLst/>
          </a:prstGeom>
          <a:noFill/>
          <a:extLst>
            <a:ext uri="{909E8E84-426E-40DD-AFC4-6F175D3DCCD1}">
              <a14:hiddenFill xmlns:a14="http://schemas.microsoft.com/office/drawing/2010/main">
                <a:solidFill>
                  <a:srgbClr val="FFFFFF"/>
                </a:solidFill>
              </a14:hiddenFill>
            </a:ext>
          </a:extLst>
        </p:spPr>
      </p:pic>
      <p:sp>
        <p:nvSpPr>
          <p:cNvPr id="6" name="ตัวยึดเนื้อหา 3"/>
          <p:cNvSpPr>
            <a:spLocks noGrp="1"/>
          </p:cNvSpPr>
          <p:nvPr>
            <p:ph idx="1"/>
          </p:nvPr>
        </p:nvSpPr>
        <p:spPr>
          <a:xfrm>
            <a:off x="242088" y="3660841"/>
            <a:ext cx="5346594" cy="1982405"/>
          </a:xfrm>
        </p:spPr>
        <p:txBody>
          <a:bodyPr>
            <a:normAutofit/>
          </a:bodyPr>
          <a:lstStyle/>
          <a:p>
            <a:pPr marL="0" indent="0">
              <a:buNone/>
            </a:pPr>
            <a:r>
              <a:rPr lang="en-US" sz="2250" dirty="0">
                <a:solidFill>
                  <a:schemeClr val="bg1">
                    <a:lumMod val="95000"/>
                  </a:schemeClr>
                </a:solidFill>
                <a:latin typeface="Century Gothic" pitchFamily="34" charset="0"/>
              </a:rPr>
              <a:t>The </a:t>
            </a:r>
            <a:r>
              <a:rPr lang="en-US" sz="2250" b="1" i="1" dirty="0">
                <a:solidFill>
                  <a:srgbClr val="FFFF99"/>
                </a:solidFill>
                <a:effectLst>
                  <a:outerShdw blurRad="38100" dist="38100" dir="2700000" algn="tl">
                    <a:srgbClr val="000000">
                      <a:alpha val="43137"/>
                    </a:srgbClr>
                  </a:outerShdw>
                </a:effectLst>
                <a:latin typeface="Century Gothic" pitchFamily="34" charset="0"/>
              </a:rPr>
              <a:t>ability</a:t>
            </a:r>
            <a:r>
              <a:rPr lang="en-US" sz="2250" dirty="0">
                <a:solidFill>
                  <a:schemeClr val="bg1">
                    <a:lumMod val="95000"/>
                  </a:schemeClr>
                </a:solidFill>
                <a:effectLst>
                  <a:outerShdw blurRad="38100" dist="38100" dir="2700000" algn="tl">
                    <a:srgbClr val="000000">
                      <a:alpha val="43137"/>
                    </a:srgbClr>
                  </a:outerShdw>
                </a:effectLst>
                <a:latin typeface="Century Gothic" pitchFamily="34" charset="0"/>
              </a:rPr>
              <a:t> </a:t>
            </a:r>
            <a:r>
              <a:rPr lang="en-US" sz="2250" dirty="0">
                <a:solidFill>
                  <a:schemeClr val="bg1">
                    <a:lumMod val="95000"/>
                  </a:schemeClr>
                </a:solidFill>
                <a:latin typeface="Century Gothic" pitchFamily="34" charset="0"/>
              </a:rPr>
              <a:t>to </a:t>
            </a:r>
            <a:r>
              <a:rPr lang="en-US" sz="2250" b="1" i="1" dirty="0">
                <a:solidFill>
                  <a:srgbClr val="FFFF99"/>
                </a:solidFill>
                <a:effectLst>
                  <a:outerShdw blurRad="38100" dist="38100" dir="2700000" algn="tl">
                    <a:srgbClr val="000000">
                      <a:alpha val="43137"/>
                    </a:srgbClr>
                  </a:outerShdw>
                </a:effectLst>
                <a:latin typeface="Century Gothic" pitchFamily="34" charset="0"/>
              </a:rPr>
              <a:t>survive</a:t>
            </a:r>
            <a:r>
              <a:rPr lang="en-US" sz="2250" dirty="0">
                <a:solidFill>
                  <a:srgbClr val="FFFF99"/>
                </a:solidFill>
                <a:latin typeface="Century Gothic" pitchFamily="34" charset="0"/>
              </a:rPr>
              <a:t> </a:t>
            </a:r>
            <a:r>
              <a:rPr lang="en-US" sz="2250" dirty="0">
                <a:solidFill>
                  <a:schemeClr val="bg1">
                    <a:lumMod val="95000"/>
                  </a:schemeClr>
                </a:solidFill>
                <a:latin typeface="Century Gothic" pitchFamily="34" charset="0"/>
              </a:rPr>
              <a:t>in a world          of accelerating change and challenge calls for ever</a:t>
            </a:r>
            <a:r>
              <a:rPr lang="en-US" dirty="0">
                <a:solidFill>
                  <a:schemeClr val="bg1">
                    <a:lumMod val="95000"/>
                  </a:schemeClr>
                </a:solidFill>
                <a:latin typeface="Century Gothic" pitchFamily="34" charset="0"/>
              </a:rPr>
              <a:t> </a:t>
            </a:r>
            <a:r>
              <a:rPr lang="en-US" sz="2700" b="1" i="1" dirty="0">
                <a:solidFill>
                  <a:srgbClr val="FFFF99"/>
                </a:solidFill>
                <a:latin typeface="Century Gothic" pitchFamily="34" charset="0"/>
              </a:rPr>
              <a:t>greater creativity</a:t>
            </a:r>
            <a:r>
              <a:rPr lang="en-US" dirty="0">
                <a:solidFill>
                  <a:schemeClr val="bg1"/>
                </a:solidFill>
                <a:latin typeface="Century Gothic" pitchFamily="34" charset="0"/>
              </a:rPr>
              <a:t> </a:t>
            </a:r>
            <a:r>
              <a:rPr lang="en-US" sz="2250" dirty="0">
                <a:solidFill>
                  <a:schemeClr val="bg1">
                    <a:lumMod val="95000"/>
                  </a:schemeClr>
                </a:solidFill>
                <a:latin typeface="Century Gothic" pitchFamily="34" charset="0"/>
              </a:rPr>
              <a:t>in our thinking.</a:t>
            </a:r>
          </a:p>
          <a:p>
            <a:pPr>
              <a:buNone/>
            </a:pPr>
            <a:endParaRPr lang="en-US" dirty="0">
              <a:solidFill>
                <a:schemeClr val="bg1">
                  <a:lumMod val="95000"/>
                </a:schemeClr>
              </a:solidFill>
              <a:latin typeface="Century Gothic" pitchFamily="34" charset="0"/>
            </a:endParaRPr>
          </a:p>
        </p:txBody>
      </p:sp>
    </p:spTree>
    <p:extLst>
      <p:ext uri="{BB962C8B-B14F-4D97-AF65-F5344CB8AC3E}">
        <p14:creationId xmlns:p14="http://schemas.microsoft.com/office/powerpoint/2010/main" val="10542054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wipe(up)">
                                      <p:cBhvr>
                                        <p:cTn id="7" dur="40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30" name="Picture 2" descr="connector stars - gold 6"/>
          <p:cNvPicPr>
            <a:picLocks noChangeAspect="1" noChangeArrowheads="1"/>
          </p:cNvPicPr>
          <p:nvPr/>
        </p:nvPicPr>
        <p:blipFill>
          <a:blip r:embed="rId3" cstate="print">
            <a:duotone>
              <a:schemeClr val="accent2">
                <a:shade val="45000"/>
                <a:satMod val="135000"/>
              </a:schemeClr>
              <a:prstClr val="white"/>
            </a:duotone>
          </a:blip>
          <a:srcRect/>
          <a:stretch>
            <a:fillRect/>
          </a:stretch>
        </p:blipFill>
        <p:spPr bwMode="auto">
          <a:xfrm>
            <a:off x="-103708" y="-9411"/>
            <a:ext cx="9139449" cy="6868886"/>
          </a:xfrm>
          <a:prstGeom prst="rect">
            <a:avLst/>
          </a:prstGeom>
          <a:noFill/>
        </p:spPr>
      </p:pic>
      <p:pic>
        <p:nvPicPr>
          <p:cNvPr id="29" name="Picture 2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84803" y="1486419"/>
            <a:ext cx="2953665" cy="5011384"/>
          </a:xfrm>
          <a:prstGeom prst="rect">
            <a:avLst/>
          </a:prstGeom>
        </p:spPr>
      </p:pic>
      <p:sp>
        <p:nvSpPr>
          <p:cNvPr id="16" name="Rectangle 15"/>
          <p:cNvSpPr/>
          <p:nvPr/>
        </p:nvSpPr>
        <p:spPr>
          <a:xfrm>
            <a:off x="-4551" y="-19771"/>
            <a:ext cx="9144000" cy="523220"/>
          </a:xfrm>
          <a:prstGeom prst="rect">
            <a:avLst/>
          </a:prstGeom>
        </p:spPr>
        <p:txBody>
          <a:bodyPr wrap="squar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defRPr/>
            </a:pPr>
            <a:r>
              <a:rPr kumimoji="1" lang="th-TH" b="1" i="1" kern="0" dirty="0" smtClean="0">
                <a:ln w="11430"/>
                <a:gradFill>
                  <a:gsLst>
                    <a:gs pos="0">
                      <a:srgbClr val="333399">
                        <a:tint val="70000"/>
                        <a:satMod val="245000"/>
                      </a:srgbClr>
                    </a:gs>
                    <a:gs pos="75000">
                      <a:srgbClr val="333399">
                        <a:tint val="90000"/>
                        <a:shade val="60000"/>
                        <a:satMod val="240000"/>
                      </a:srgbClr>
                    </a:gs>
                    <a:gs pos="100000">
                      <a:srgbClr val="333399">
                        <a:tint val="100000"/>
                        <a:shade val="50000"/>
                        <a:satMod val="240000"/>
                      </a:srgbClr>
                    </a:gs>
                  </a:gsLst>
                  <a:lin ang="5400000"/>
                </a:gradFill>
                <a:latin typeface="Angsana New" pitchFamily="18" charset="-34"/>
                <a:cs typeface="AngsanaUPC" pitchFamily="18" charset="-34"/>
              </a:rPr>
              <a:t>ความสำเร็จขององค์กร-สู่องค์กรในฝัน-ใน</a:t>
            </a:r>
            <a:r>
              <a:rPr kumimoji="1" lang="th-TH" b="1" i="1" kern="0" dirty="0">
                <a:ln w="11430"/>
                <a:gradFill>
                  <a:gsLst>
                    <a:gs pos="0">
                      <a:srgbClr val="333399">
                        <a:tint val="70000"/>
                        <a:satMod val="245000"/>
                      </a:srgbClr>
                    </a:gs>
                    <a:gs pos="75000">
                      <a:srgbClr val="333399">
                        <a:tint val="90000"/>
                        <a:shade val="60000"/>
                        <a:satMod val="240000"/>
                      </a:srgbClr>
                    </a:gs>
                    <a:gs pos="100000">
                      <a:srgbClr val="333399">
                        <a:tint val="100000"/>
                        <a:shade val="50000"/>
                        <a:satMod val="240000"/>
                      </a:srgbClr>
                    </a:gs>
                  </a:gsLst>
                  <a:lin ang="5400000"/>
                </a:gradFill>
                <a:latin typeface="Angsana New" pitchFamily="18" charset="-34"/>
                <a:cs typeface="AngsanaUPC" pitchFamily="18" charset="-34"/>
              </a:rPr>
              <a:t>ศตวรรษที่ </a:t>
            </a:r>
            <a:r>
              <a:rPr kumimoji="1" lang="en-US" b="1" i="1" kern="0" dirty="0">
                <a:ln w="11430"/>
                <a:gradFill>
                  <a:gsLst>
                    <a:gs pos="0">
                      <a:srgbClr val="333399">
                        <a:tint val="70000"/>
                        <a:satMod val="245000"/>
                      </a:srgbClr>
                    </a:gs>
                    <a:gs pos="75000">
                      <a:srgbClr val="333399">
                        <a:tint val="90000"/>
                        <a:shade val="60000"/>
                        <a:satMod val="240000"/>
                      </a:srgbClr>
                    </a:gs>
                    <a:gs pos="100000">
                      <a:srgbClr val="333399">
                        <a:tint val="100000"/>
                        <a:shade val="50000"/>
                        <a:satMod val="240000"/>
                      </a:srgbClr>
                    </a:gs>
                  </a:gsLst>
                  <a:lin ang="5400000"/>
                </a:gradFill>
                <a:latin typeface="Angsana New" pitchFamily="18" charset="-34"/>
                <a:cs typeface="AngsanaUPC" pitchFamily="18" charset="-34"/>
              </a:rPr>
              <a:t>21</a:t>
            </a:r>
            <a:endParaRPr lang="th-TH" b="1" dirty="0">
              <a:ln w="11430"/>
              <a:gradFill>
                <a:gsLst>
                  <a:gs pos="0">
                    <a:srgbClr val="333399">
                      <a:tint val="70000"/>
                      <a:satMod val="245000"/>
                    </a:srgbClr>
                  </a:gs>
                  <a:gs pos="75000">
                    <a:srgbClr val="333399">
                      <a:tint val="90000"/>
                      <a:shade val="60000"/>
                      <a:satMod val="240000"/>
                    </a:srgbClr>
                  </a:gs>
                  <a:gs pos="100000">
                    <a:srgbClr val="333399">
                      <a:tint val="100000"/>
                      <a:shade val="50000"/>
                      <a:satMod val="240000"/>
                    </a:srgbClr>
                  </a:gs>
                </a:gsLst>
                <a:lin ang="5400000"/>
              </a:gradFill>
              <a:latin typeface="AngsanaUPC" pitchFamily="18" charset="-34"/>
              <a:cs typeface="AngsanaUPC" pitchFamily="18" charset="-34"/>
            </a:endParaRPr>
          </a:p>
        </p:txBody>
      </p:sp>
      <p:grpSp>
        <p:nvGrpSpPr>
          <p:cNvPr id="4" name="Group 3"/>
          <p:cNvGrpSpPr/>
          <p:nvPr/>
        </p:nvGrpSpPr>
        <p:grpSpPr>
          <a:xfrm>
            <a:off x="6103708" y="1450221"/>
            <a:ext cx="2966763" cy="1882469"/>
            <a:chOff x="4975810" y="998792"/>
            <a:chExt cx="3579243" cy="2271099"/>
          </a:xfrm>
        </p:grpSpPr>
        <p:sp>
          <p:nvSpPr>
            <p:cNvPr id="8" name="TextBox 7"/>
            <p:cNvSpPr txBox="1"/>
            <p:nvPr/>
          </p:nvSpPr>
          <p:spPr>
            <a:xfrm>
              <a:off x="4975810" y="2638654"/>
              <a:ext cx="3579243" cy="631237"/>
            </a:xfrm>
            <a:prstGeom prst="rect">
              <a:avLst/>
            </a:prstGeom>
            <a:noFill/>
          </p:spPr>
          <p:txBody>
            <a:bodyPr wrap="square" rtlCol="0">
              <a:spAutoFit/>
            </a:bodyPr>
            <a:lstStyle/>
            <a:p>
              <a:pPr algn="ctr"/>
              <a:r>
                <a:rPr lang="en-US" b="1" dirty="0">
                  <a:ln w="1905"/>
                  <a:solidFill>
                    <a:srgbClr val="FF0000"/>
                  </a:solidFill>
                  <a:effectLst>
                    <a:innerShdw blurRad="69850" dist="43180" dir="5400000">
                      <a:srgbClr val="000000">
                        <a:alpha val="65000"/>
                      </a:srgbClr>
                    </a:innerShdw>
                  </a:effectLst>
                  <a:latin typeface="AngsanaUPC" pitchFamily="18" charset="-34"/>
                  <a:cs typeface="AngsanaUPC" pitchFamily="18" charset="-34"/>
                </a:rPr>
                <a:t>Innovative Organization</a:t>
              </a:r>
            </a:p>
          </p:txBody>
        </p:sp>
        <p:pic>
          <p:nvPicPr>
            <p:cNvPr id="9220" name="Picture 4" descr="http://www.orangetrail.com/wp-content/uploads/crowdsourcing-cartoon.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61052" y="998792"/>
              <a:ext cx="2253853" cy="162294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239040" y="3915274"/>
            <a:ext cx="2246362" cy="2184501"/>
            <a:chOff x="787888" y="3583124"/>
            <a:chExt cx="2679973" cy="2606171"/>
          </a:xfrm>
        </p:grpSpPr>
        <p:sp>
          <p:nvSpPr>
            <p:cNvPr id="21" name="TextBox 20"/>
            <p:cNvSpPr txBox="1"/>
            <p:nvPr/>
          </p:nvSpPr>
          <p:spPr>
            <a:xfrm>
              <a:off x="848205" y="5360863"/>
              <a:ext cx="2559338" cy="828432"/>
            </a:xfrm>
            <a:prstGeom prst="rect">
              <a:avLst/>
            </a:prstGeom>
            <a:noFill/>
          </p:spPr>
          <p:txBody>
            <a:bodyPr wrap="square" rtlCol="0">
              <a:spAutoFit/>
            </a:bodyPr>
            <a:lstStyle/>
            <a:p>
              <a:pPr algn="ctr">
                <a:lnSpc>
                  <a:spcPts val="2800"/>
                </a:lnSpc>
              </a:pPr>
              <a:r>
                <a:rPr lang="en-US" b="1" dirty="0">
                  <a:ln w="1905"/>
                  <a:solidFill>
                    <a:srgbClr val="FF0000"/>
                  </a:solidFill>
                  <a:effectLst>
                    <a:innerShdw blurRad="69850" dist="43180" dir="5400000">
                      <a:srgbClr val="000000">
                        <a:alpha val="65000"/>
                      </a:srgbClr>
                    </a:innerShdw>
                  </a:effectLst>
                  <a:latin typeface="AngsanaUPC" pitchFamily="18" charset="-34"/>
                  <a:cs typeface="AngsanaUPC" pitchFamily="18" charset="-34"/>
                </a:rPr>
                <a:t>High Performance Organization</a:t>
              </a:r>
            </a:p>
          </p:txBody>
        </p:sp>
        <p:pic>
          <p:nvPicPr>
            <p:cNvPr id="9222" name="Picture 6" descr="http://rootlearning.com/wp-content/uploads/2012/02/Leveraging_Learning_Cycles.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7888" y="3583124"/>
              <a:ext cx="2679973" cy="177824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p:cNvGrpSpPr/>
          <p:nvPr/>
        </p:nvGrpSpPr>
        <p:grpSpPr>
          <a:xfrm>
            <a:off x="6406192" y="3910568"/>
            <a:ext cx="2283381" cy="2217045"/>
            <a:chOff x="5257456" y="3664133"/>
            <a:chExt cx="2455226" cy="2383898"/>
          </a:xfrm>
        </p:grpSpPr>
        <p:pic>
          <p:nvPicPr>
            <p:cNvPr id="9224" name="Picture 8" descr="http://3.bp.blogspot.com/-mKbT75Ho6T4/UFLBFhng5RI/AAAAAAAAHWU/WpErsvz0TLM/s1600/5+special+stars.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713993" y="4725144"/>
              <a:ext cx="1323727" cy="494192"/>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p:cNvSpPr txBox="1"/>
            <p:nvPr/>
          </p:nvSpPr>
          <p:spPr>
            <a:xfrm>
              <a:off x="5257456" y="5231714"/>
              <a:ext cx="2455226" cy="816317"/>
            </a:xfrm>
            <a:prstGeom prst="rect">
              <a:avLst/>
            </a:prstGeom>
            <a:noFill/>
          </p:spPr>
          <p:txBody>
            <a:bodyPr wrap="square" rtlCol="0">
              <a:spAutoFit/>
            </a:bodyPr>
            <a:lstStyle/>
            <a:p>
              <a:pPr algn="ctr">
                <a:lnSpc>
                  <a:spcPts val="2400"/>
                </a:lnSpc>
              </a:pPr>
              <a:r>
                <a:rPr lang="en-US" b="1" dirty="0">
                  <a:ln w="1905"/>
                  <a:solidFill>
                    <a:srgbClr val="FF0000"/>
                  </a:solidFill>
                  <a:effectLst>
                    <a:innerShdw blurRad="69850" dist="43180" dir="5400000">
                      <a:srgbClr val="000000">
                        <a:alpha val="65000"/>
                      </a:srgbClr>
                    </a:innerShdw>
                  </a:effectLst>
                  <a:latin typeface="AngsanaUPC" pitchFamily="18" charset="-34"/>
                  <a:cs typeface="AngsanaUPC" pitchFamily="18" charset="-34"/>
                </a:rPr>
                <a:t>Relevant Excellence</a:t>
              </a:r>
            </a:p>
            <a:p>
              <a:pPr algn="ctr">
                <a:lnSpc>
                  <a:spcPts val="2800"/>
                </a:lnSpc>
              </a:pPr>
              <a:r>
                <a:rPr lang="en-US" b="1" dirty="0" smtClean="0">
                  <a:ln w="1905"/>
                  <a:solidFill>
                    <a:srgbClr val="FF0000"/>
                  </a:solidFill>
                  <a:effectLst>
                    <a:innerShdw blurRad="69850" dist="43180" dir="5400000">
                      <a:srgbClr val="000000">
                        <a:alpha val="65000"/>
                      </a:srgbClr>
                    </a:innerShdw>
                  </a:effectLst>
                  <a:latin typeface="AngsanaUPC" pitchFamily="18" charset="-34"/>
                  <a:cs typeface="AngsanaUPC" pitchFamily="18" charset="-34"/>
                </a:rPr>
                <a:t>Organization</a:t>
              </a:r>
              <a:endParaRPr lang="en-US" b="1" dirty="0">
                <a:ln w="1905"/>
                <a:solidFill>
                  <a:srgbClr val="FF0000"/>
                </a:solidFill>
                <a:effectLst>
                  <a:innerShdw blurRad="69850" dist="43180" dir="5400000">
                    <a:srgbClr val="000000">
                      <a:alpha val="65000"/>
                    </a:srgbClr>
                  </a:innerShdw>
                </a:effectLst>
                <a:latin typeface="AngsanaUPC" pitchFamily="18" charset="-34"/>
                <a:cs typeface="AngsanaUPC" pitchFamily="18" charset="-34"/>
              </a:endParaRPr>
            </a:p>
          </p:txBody>
        </p:sp>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364703" y="3664133"/>
              <a:ext cx="2022306" cy="1165707"/>
            </a:xfrm>
            <a:prstGeom prst="rect">
              <a:avLst/>
            </a:prstGeom>
          </p:spPr>
        </p:pic>
      </p:grpSp>
      <p:grpSp>
        <p:nvGrpSpPr>
          <p:cNvPr id="11" name="Group 10"/>
          <p:cNvGrpSpPr/>
          <p:nvPr/>
        </p:nvGrpSpPr>
        <p:grpSpPr>
          <a:xfrm>
            <a:off x="7499617" y="1422129"/>
            <a:ext cx="378600" cy="601702"/>
            <a:chOff x="6735057" y="916247"/>
            <a:chExt cx="378600" cy="656873"/>
          </a:xfrm>
        </p:grpSpPr>
        <p:sp>
          <p:nvSpPr>
            <p:cNvPr id="7" name="Rectangle 6"/>
            <p:cNvSpPr/>
            <p:nvPr/>
          </p:nvSpPr>
          <p:spPr bwMode="auto">
            <a:xfrm>
              <a:off x="6754920" y="1272269"/>
              <a:ext cx="358737" cy="300851"/>
            </a:xfrm>
            <a:prstGeom prst="rect">
              <a:avLst/>
            </a:prstGeom>
            <a:solidFill>
              <a:schemeClr val="bg1"/>
            </a:solidFill>
            <a:ln w="38100"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th-TH" b="1" smtClean="0">
                <a:solidFill>
                  <a:srgbClr val="000000"/>
                </a:solidFill>
                <a:latin typeface="Arial"/>
                <a:cs typeface="Angsana New"/>
              </a:endParaRPr>
            </a:p>
          </p:txBody>
        </p:sp>
        <p:pic>
          <p:nvPicPr>
            <p:cNvPr id="19" name="Picture 1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735057" y="916247"/>
              <a:ext cx="378600" cy="601702"/>
            </a:xfrm>
            <a:prstGeom prst="rect">
              <a:avLst/>
            </a:prstGeom>
          </p:spPr>
        </p:pic>
      </p:grpSp>
      <p:grpSp>
        <p:nvGrpSpPr>
          <p:cNvPr id="12" name="Group 11"/>
          <p:cNvGrpSpPr/>
          <p:nvPr/>
        </p:nvGrpSpPr>
        <p:grpSpPr>
          <a:xfrm>
            <a:off x="3249095" y="527355"/>
            <a:ext cx="2523448" cy="1531631"/>
            <a:chOff x="2786418" y="790884"/>
            <a:chExt cx="3358151" cy="2038262"/>
          </a:xfrm>
        </p:grpSpPr>
        <p:pic>
          <p:nvPicPr>
            <p:cNvPr id="24" name="Picture 2" descr="computer_learni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235497" y="790884"/>
              <a:ext cx="2459994" cy="1795705"/>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p:cNvSpPr txBox="1"/>
            <p:nvPr/>
          </p:nvSpPr>
          <p:spPr>
            <a:xfrm>
              <a:off x="2786418" y="2132856"/>
              <a:ext cx="3358151" cy="696290"/>
            </a:xfrm>
            <a:prstGeom prst="rect">
              <a:avLst/>
            </a:prstGeom>
            <a:noFill/>
          </p:spPr>
          <p:txBody>
            <a:bodyPr wrap="none" rtlCol="0">
              <a:spAutoFit/>
            </a:bodyPr>
            <a:lstStyle/>
            <a:p>
              <a:pPr algn="ctr" fontAlgn="auto">
                <a:spcBef>
                  <a:spcPts val="0"/>
                </a:spcBef>
                <a:spcAft>
                  <a:spcPts val="0"/>
                </a:spcAft>
              </a:pPr>
              <a:r>
                <a:rPr lang="en-US" b="1" dirty="0">
                  <a:ln w="1905"/>
                  <a:solidFill>
                    <a:srgbClr val="FF0000"/>
                  </a:solidFill>
                  <a:effectLst>
                    <a:innerShdw blurRad="69850" dist="43180" dir="5400000">
                      <a:srgbClr val="000000">
                        <a:alpha val="65000"/>
                      </a:srgbClr>
                    </a:innerShdw>
                  </a:effectLst>
                  <a:latin typeface="AngsanaUPC" pitchFamily="18" charset="-34"/>
                  <a:cs typeface="AngsanaUPC" pitchFamily="18" charset="-34"/>
                </a:rPr>
                <a:t>Learning Organization</a:t>
              </a:r>
            </a:p>
          </p:txBody>
        </p:sp>
      </p:grpSp>
      <p:grpSp>
        <p:nvGrpSpPr>
          <p:cNvPr id="25" name="Group 24"/>
          <p:cNvGrpSpPr/>
          <p:nvPr/>
        </p:nvGrpSpPr>
        <p:grpSpPr>
          <a:xfrm>
            <a:off x="3313045" y="4355812"/>
            <a:ext cx="2395548" cy="1738270"/>
            <a:chOff x="3302481" y="4600513"/>
            <a:chExt cx="2395548" cy="1738270"/>
          </a:xfrm>
        </p:grpSpPr>
        <p:pic>
          <p:nvPicPr>
            <p:cNvPr id="26" name="Picture 2" descr="http://www.happy8workplace.com/wp-content/uploads/2013/07/How-to-Boost-Company-Morale-and-Achieve-a-Happy-Workplace.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302481" y="4600513"/>
              <a:ext cx="2395548" cy="1738270"/>
            </a:xfrm>
            <a:prstGeom prst="rect">
              <a:avLst/>
            </a:prstGeom>
            <a:noFill/>
            <a:effectLst>
              <a:softEdge rad="292100"/>
            </a:effectLst>
            <a:extLst>
              <a:ext uri="{909E8E84-426E-40DD-AFC4-6F175D3DCCD1}">
                <a14:hiddenFill xmlns:a14="http://schemas.microsoft.com/office/drawing/2010/main">
                  <a:solidFill>
                    <a:srgbClr val="FFFFFF"/>
                  </a:solidFill>
                </a14:hiddenFill>
              </a:ext>
            </a:extLst>
          </p:spPr>
        </p:pic>
        <p:sp>
          <p:nvSpPr>
            <p:cNvPr id="27" name="Rectangle 26"/>
            <p:cNvSpPr/>
            <p:nvPr/>
          </p:nvSpPr>
          <p:spPr>
            <a:xfrm>
              <a:off x="3493970" y="4949416"/>
              <a:ext cx="2012571" cy="843821"/>
            </a:xfrm>
            <a:prstGeom prst="rect">
              <a:avLst/>
            </a:prstGeom>
          </p:spPr>
          <p:txBody>
            <a:bodyPr wrap="square">
              <a:spAutoFit/>
            </a:bodyPr>
            <a:lstStyle/>
            <a:p>
              <a:pPr algn="ctr">
                <a:lnSpc>
                  <a:spcPts val="2800"/>
                </a:lnSpc>
              </a:pPr>
              <a:r>
                <a:rPr lang="en-US" b="1" dirty="0" smtClean="0">
                  <a:ln w="1905"/>
                  <a:solidFill>
                    <a:srgbClr val="FF0000"/>
                  </a:solidFill>
                  <a:effectLst>
                    <a:innerShdw blurRad="69850" dist="43180" dir="5400000">
                      <a:srgbClr val="000000">
                        <a:alpha val="65000"/>
                      </a:srgbClr>
                    </a:innerShdw>
                  </a:effectLst>
                  <a:latin typeface="AngsanaUPC" pitchFamily="18" charset="-34"/>
                  <a:cs typeface="AngsanaUPC" pitchFamily="18" charset="-34"/>
                </a:rPr>
                <a:t>Happy</a:t>
              </a:r>
            </a:p>
            <a:p>
              <a:pPr algn="ctr">
                <a:lnSpc>
                  <a:spcPts val="2800"/>
                </a:lnSpc>
              </a:pPr>
              <a:r>
                <a:rPr lang="en-US" b="1" dirty="0" smtClean="0">
                  <a:ln w="1905"/>
                  <a:solidFill>
                    <a:srgbClr val="FF0000"/>
                  </a:solidFill>
                  <a:effectLst>
                    <a:innerShdw blurRad="69850" dist="43180" dir="5400000">
                      <a:srgbClr val="000000">
                        <a:alpha val="65000"/>
                      </a:srgbClr>
                    </a:innerShdw>
                  </a:effectLst>
                  <a:latin typeface="AngsanaUPC" pitchFamily="18" charset="-34"/>
                  <a:cs typeface="AngsanaUPC" pitchFamily="18" charset="-34"/>
                </a:rPr>
                <a:t>Workplace</a:t>
              </a:r>
              <a:endParaRPr lang="en-US" b="1" dirty="0">
                <a:ln w="1905"/>
                <a:solidFill>
                  <a:srgbClr val="FF0000"/>
                </a:solidFill>
                <a:effectLst>
                  <a:innerShdw blurRad="69850" dist="43180" dir="5400000">
                    <a:srgbClr val="000000">
                      <a:alpha val="65000"/>
                    </a:srgbClr>
                  </a:innerShdw>
                </a:effectLst>
                <a:latin typeface="AngsanaUPC" pitchFamily="18" charset="-34"/>
                <a:cs typeface="AngsanaUPC" pitchFamily="18" charset="-34"/>
              </a:endParaRPr>
            </a:p>
          </p:txBody>
        </p:sp>
      </p:grpSp>
      <p:sp>
        <p:nvSpPr>
          <p:cNvPr id="13" name="TextBox 12"/>
          <p:cNvSpPr txBox="1"/>
          <p:nvPr/>
        </p:nvSpPr>
        <p:spPr>
          <a:xfrm>
            <a:off x="3196551" y="1924141"/>
            <a:ext cx="2436373" cy="2508128"/>
          </a:xfrm>
          <a:prstGeom prst="rect">
            <a:avLst/>
          </a:prstGeom>
          <a:noFill/>
        </p:spPr>
        <p:txBody>
          <a:bodyPr wrap="none" rtlCol="0">
            <a:prstTxWarp prst="textArchDown">
              <a:avLst/>
            </a:prstTxWarp>
            <a:spAutoFit/>
          </a:bodyPr>
          <a:lstStyle/>
          <a:p>
            <a:pPr algn="ctr"/>
            <a:r>
              <a:rPr lang="th-TH" dirty="0" smtClean="0">
                <a:solidFill>
                  <a:srgbClr val="000000"/>
                </a:solidFill>
              </a:rPr>
              <a:t>ท่านคาดหวังและอยากเป็นองค์กรแบบใด</a:t>
            </a:r>
            <a:endParaRPr lang="th-TH" dirty="0">
              <a:solidFill>
                <a:srgbClr val="000000"/>
              </a:solidFill>
            </a:endParaRPr>
          </a:p>
        </p:txBody>
      </p:sp>
      <p:sp>
        <p:nvSpPr>
          <p:cNvPr id="32" name="Rectangle 31"/>
          <p:cNvSpPr/>
          <p:nvPr/>
        </p:nvSpPr>
        <p:spPr>
          <a:xfrm>
            <a:off x="1937385" y="5995508"/>
            <a:ext cx="6829425" cy="861774"/>
          </a:xfrm>
          <a:prstGeom prst="rect">
            <a:avLst/>
          </a:prstGeom>
        </p:spPr>
        <p:txBody>
          <a:bodyPr wrap="square">
            <a:spAutoFit/>
          </a:bodyPr>
          <a:lstStyle/>
          <a:p>
            <a:pPr algn="ctr">
              <a:lnSpc>
                <a:spcPts val="3200"/>
              </a:lnSpc>
            </a:pPr>
            <a:r>
              <a:rPr lang="en-US" b="1" dirty="0" smtClean="0">
                <a:ln w="1905"/>
                <a:solidFill>
                  <a:srgbClr val="0070C0"/>
                </a:solidFill>
                <a:effectLst>
                  <a:innerShdw blurRad="69850" dist="43180" dir="5400000">
                    <a:srgbClr val="000000">
                      <a:alpha val="65000"/>
                    </a:srgbClr>
                  </a:innerShdw>
                </a:effectLst>
                <a:latin typeface="AngsanaUPC" pitchFamily="18" charset="-34"/>
                <a:cs typeface="AngsanaUPC" pitchFamily="18" charset="-34"/>
              </a:rPr>
              <a:t>	People </a:t>
            </a:r>
            <a:r>
              <a:rPr lang="en-US" b="1" dirty="0">
                <a:ln w="1905"/>
                <a:solidFill>
                  <a:srgbClr val="0070C0"/>
                </a:solidFill>
                <a:effectLst>
                  <a:innerShdw blurRad="69850" dist="43180" dir="5400000">
                    <a:srgbClr val="000000">
                      <a:alpha val="65000"/>
                    </a:srgbClr>
                  </a:innerShdw>
                </a:effectLst>
                <a:latin typeface="AngsanaUPC" pitchFamily="18" charset="-34"/>
                <a:cs typeface="AngsanaUPC" pitchFamily="18" charset="-34"/>
              </a:rPr>
              <a:t>in Organization :</a:t>
            </a:r>
            <a:endParaRPr lang="th-TH" b="1" dirty="0">
              <a:ln w="1905"/>
              <a:solidFill>
                <a:srgbClr val="0070C0"/>
              </a:solidFill>
              <a:effectLst>
                <a:innerShdw blurRad="69850" dist="43180" dir="5400000">
                  <a:srgbClr val="000000">
                    <a:alpha val="65000"/>
                  </a:srgbClr>
                </a:innerShdw>
              </a:effectLst>
              <a:latin typeface="AngsanaUPC" pitchFamily="18" charset="-34"/>
              <a:cs typeface="AngsanaUPC" pitchFamily="18" charset="-34"/>
            </a:endParaRPr>
          </a:p>
          <a:p>
            <a:pPr algn="ctr">
              <a:lnSpc>
                <a:spcPts val="2800"/>
              </a:lnSpc>
            </a:pPr>
            <a:r>
              <a:rPr lang="en-US" b="1" dirty="0">
                <a:ln w="1905"/>
                <a:solidFill>
                  <a:srgbClr val="0070C0"/>
                </a:solidFill>
                <a:effectLst>
                  <a:innerShdw blurRad="69850" dist="43180" dir="5400000">
                    <a:srgbClr val="000000">
                      <a:alpha val="65000"/>
                    </a:srgbClr>
                  </a:innerShdw>
                </a:effectLst>
                <a:latin typeface="AngsanaUPC" pitchFamily="18" charset="-34"/>
                <a:cs typeface="AngsanaUPC" pitchFamily="18" charset="-34"/>
              </a:rPr>
              <a:t>Learning to CHANGE : start with shifting the paradigm</a:t>
            </a:r>
            <a:endParaRPr lang="th-TH" b="1" dirty="0">
              <a:ln w="1905"/>
              <a:solidFill>
                <a:srgbClr val="0070C0"/>
              </a:solidFill>
              <a:effectLst>
                <a:innerShdw blurRad="69850" dist="43180" dir="5400000">
                  <a:srgbClr val="000000">
                    <a:alpha val="65000"/>
                  </a:srgbClr>
                </a:innerShdw>
              </a:effectLst>
              <a:latin typeface="AngsanaUPC" pitchFamily="18" charset="-34"/>
              <a:cs typeface="AngsanaUPC" pitchFamily="18" charset="-34"/>
            </a:endParaRPr>
          </a:p>
        </p:txBody>
      </p:sp>
      <p:sp>
        <p:nvSpPr>
          <p:cNvPr id="10" name="Rectangle 9"/>
          <p:cNvSpPr/>
          <p:nvPr/>
        </p:nvSpPr>
        <p:spPr>
          <a:xfrm>
            <a:off x="0" y="336416"/>
            <a:ext cx="9070471" cy="461665"/>
          </a:xfrm>
          <a:prstGeom prst="rect">
            <a:avLst/>
          </a:prstGeom>
        </p:spPr>
        <p:txBody>
          <a:bodyPr wrap="square">
            <a:spAutoFit/>
          </a:bodyPr>
          <a:lstStyle/>
          <a:p>
            <a:pPr algn="ctr"/>
            <a:r>
              <a:rPr lang="th-TH" sz="2400" dirty="0" smtClean="0"/>
              <a:t>“</a:t>
            </a:r>
            <a:r>
              <a:rPr lang="th-TH" sz="2400" dirty="0"/>
              <a:t>เป็นหน่วยงาน</a:t>
            </a:r>
            <a:r>
              <a:rPr lang="th-TH" sz="2400" u="sng" dirty="0"/>
              <a:t>ความมั่นคงทางทะเล</a:t>
            </a:r>
            <a:r>
              <a:rPr lang="th-TH" sz="2400" dirty="0"/>
              <a:t>ที่มี</a:t>
            </a:r>
            <a:r>
              <a:rPr lang="th-TH" sz="2400" u="sng" dirty="0"/>
              <a:t>บทบาทนำในภูมิภาค</a:t>
            </a:r>
            <a:r>
              <a:rPr lang="th-TH" sz="2400" dirty="0"/>
              <a:t> และ</a:t>
            </a:r>
            <a:r>
              <a:rPr lang="th-TH" sz="2400" u="sng" dirty="0"/>
              <a:t>เป็นเลิศในการบริหารจัดการ</a:t>
            </a:r>
            <a:r>
              <a:rPr lang="th-TH" sz="2400" dirty="0" smtClean="0"/>
              <a:t>”</a:t>
            </a:r>
            <a:endParaRPr lang="th-TH" sz="2400" dirty="0"/>
          </a:p>
        </p:txBody>
      </p:sp>
      <p:grpSp>
        <p:nvGrpSpPr>
          <p:cNvPr id="20" name="Group 19"/>
          <p:cNvGrpSpPr/>
          <p:nvPr/>
        </p:nvGrpSpPr>
        <p:grpSpPr>
          <a:xfrm>
            <a:off x="101479" y="1044470"/>
            <a:ext cx="2760692" cy="2197349"/>
            <a:chOff x="163781" y="985396"/>
            <a:chExt cx="2760692" cy="2197349"/>
          </a:xfrm>
        </p:grpSpPr>
        <p:grpSp>
          <p:nvGrpSpPr>
            <p:cNvPr id="3" name="Group 2"/>
            <p:cNvGrpSpPr/>
            <p:nvPr/>
          </p:nvGrpSpPr>
          <p:grpSpPr>
            <a:xfrm>
              <a:off x="163781" y="1461435"/>
              <a:ext cx="2760692" cy="1721310"/>
              <a:chOff x="323617" y="1236259"/>
              <a:chExt cx="3397382" cy="2118290"/>
            </a:xfrm>
          </p:grpSpPr>
          <p:sp>
            <p:nvSpPr>
              <p:cNvPr id="17" name="TextBox 16"/>
              <p:cNvSpPr txBox="1"/>
              <p:nvPr/>
            </p:nvSpPr>
            <p:spPr>
              <a:xfrm>
                <a:off x="323617" y="2710661"/>
                <a:ext cx="3397382" cy="643888"/>
              </a:xfrm>
              <a:prstGeom prst="rect">
                <a:avLst/>
              </a:prstGeom>
              <a:noFill/>
            </p:spPr>
            <p:txBody>
              <a:bodyPr wrap="none" rtlCol="0">
                <a:spAutoFit/>
              </a:bodyPr>
              <a:lstStyle/>
              <a:p>
                <a:pPr algn="ctr"/>
                <a:r>
                  <a:rPr lang="en-US" b="1" dirty="0" smtClean="0">
                    <a:ln w="1905"/>
                    <a:solidFill>
                      <a:srgbClr val="FF0000"/>
                    </a:solidFill>
                    <a:effectLst>
                      <a:innerShdw blurRad="69850" dist="43180" dir="5400000">
                        <a:srgbClr val="000000">
                          <a:alpha val="65000"/>
                        </a:srgbClr>
                      </a:innerShdw>
                    </a:effectLst>
                    <a:latin typeface="AngsanaUPC" pitchFamily="18" charset="-34"/>
                    <a:cs typeface="AngsanaUPC" pitchFamily="18" charset="-34"/>
                  </a:rPr>
                  <a:t>Intelligence Organization</a:t>
                </a:r>
                <a:endParaRPr lang="en-US" b="1" dirty="0">
                  <a:ln w="1905"/>
                  <a:solidFill>
                    <a:srgbClr val="FF0000"/>
                  </a:solidFill>
                  <a:effectLst>
                    <a:innerShdw blurRad="69850" dist="43180" dir="5400000">
                      <a:srgbClr val="000000">
                        <a:alpha val="65000"/>
                      </a:srgbClr>
                    </a:innerShdw>
                  </a:effectLst>
                  <a:latin typeface="AngsanaUPC" pitchFamily="18" charset="-34"/>
                  <a:cs typeface="AngsanaUPC" pitchFamily="18" charset="-34"/>
                </a:endParaRPr>
              </a:p>
            </p:txBody>
          </p:sp>
          <p:pic>
            <p:nvPicPr>
              <p:cNvPr id="9218" name="Picture 2" descr="http://2.bp.blogspot.com/-il7aXtGTFcE/ULHDiRcqTjI/AAAAAAAAAE4/nK5rfBFwRDU/s1600/Agile.jp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16518" y="1236259"/>
                <a:ext cx="2724150" cy="1676401"/>
              </a:xfrm>
              <a:prstGeom prst="rect">
                <a:avLst/>
              </a:prstGeom>
              <a:noFill/>
              <a:extLst>
                <a:ext uri="{909E8E84-426E-40DD-AFC4-6F175D3DCCD1}">
                  <a14:hiddenFill xmlns:a14="http://schemas.microsoft.com/office/drawing/2010/main">
                    <a:solidFill>
                      <a:srgbClr val="FFFFFF"/>
                    </a:solidFill>
                  </a14:hiddenFill>
                </a:ext>
              </a:extLst>
            </p:spPr>
          </p:pic>
        </p:grpSp>
        <p:pic>
          <p:nvPicPr>
            <p:cNvPr id="15" name="Picture 1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flipH="1">
              <a:off x="1150043" y="985396"/>
              <a:ext cx="667022" cy="913466"/>
            </a:xfrm>
            <a:prstGeom prst="rect">
              <a:avLst/>
            </a:prstGeom>
          </p:spPr>
        </p:pic>
      </p:grpSp>
      <p:pic>
        <p:nvPicPr>
          <p:cNvPr id="33" name="Picture 32"/>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793131" y="1848091"/>
            <a:ext cx="1202977" cy="2405953"/>
          </a:xfrm>
          <a:prstGeom prst="rect">
            <a:avLst/>
          </a:prstGeom>
        </p:spPr>
      </p:pic>
      <p:pic>
        <p:nvPicPr>
          <p:cNvPr id="34" name="Picture 33"/>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rot="212209">
            <a:off x="2921115" y="1437688"/>
            <a:ext cx="3244598" cy="767183"/>
          </a:xfrm>
          <a:prstGeom prst="rect">
            <a:avLst/>
          </a:prstGeom>
        </p:spPr>
      </p:pic>
      <p:pic>
        <p:nvPicPr>
          <p:cNvPr id="35" name="Picture 3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rot="212209">
            <a:off x="6049172" y="2671957"/>
            <a:ext cx="2977964" cy="767183"/>
          </a:xfrm>
          <a:prstGeom prst="rect">
            <a:avLst/>
          </a:prstGeom>
        </p:spPr>
      </p:pic>
      <p:pic>
        <p:nvPicPr>
          <p:cNvPr id="36" name="Picture 20" descr="arrow 0 gold  arrow curved 5"/>
          <p:cNvPicPr>
            <a:picLocks noChangeAspect="1" noChangeArrowheads="1"/>
          </p:cNvPicPr>
          <p:nvPr/>
        </p:nvPicPr>
        <p:blipFill>
          <a:blip r:embed="rId16" cstate="print">
            <a:duotone>
              <a:prstClr val="black"/>
              <a:schemeClr val="accent1">
                <a:tint val="45000"/>
                <a:satMod val="400000"/>
              </a:schemeClr>
            </a:duotone>
            <a:extLst>
              <a:ext uri="{BEBA8EAE-BF5A-486C-A8C5-ECC9F3942E4B}">
                <a14:imgProps xmlns:a14="http://schemas.microsoft.com/office/drawing/2010/main">
                  <a14:imgLayer r:embed="rId17">
                    <a14:imgEffect>
                      <a14:saturation sat="0"/>
                    </a14:imgEffect>
                    <a14:imgEffect>
                      <a14:brightnessContrast bright="40000" contrast="40000"/>
                    </a14:imgEffect>
                  </a14:imgLayer>
                </a14:imgProps>
              </a:ext>
            </a:extLst>
          </a:blip>
          <a:srcRect/>
          <a:stretch>
            <a:fillRect/>
          </a:stretch>
        </p:blipFill>
        <p:spPr bwMode="invGray">
          <a:xfrm rot="5400000">
            <a:off x="5583154" y="1866187"/>
            <a:ext cx="935005" cy="1100549"/>
          </a:xfrm>
          <a:prstGeom prst="rect">
            <a:avLst/>
          </a:prstGeom>
          <a:noFill/>
        </p:spPr>
      </p:pic>
      <p:pic>
        <p:nvPicPr>
          <p:cNvPr id="37" name="Picture 20" descr="arrow 0 gold  arrow curved 5"/>
          <p:cNvPicPr>
            <a:picLocks noChangeAspect="1" noChangeArrowheads="1"/>
          </p:cNvPicPr>
          <p:nvPr/>
        </p:nvPicPr>
        <p:blipFill>
          <a:blip r:embed="rId16" cstate="print">
            <a:duotone>
              <a:prstClr val="black"/>
              <a:schemeClr val="accent1">
                <a:tint val="45000"/>
                <a:satMod val="400000"/>
              </a:schemeClr>
            </a:duotone>
            <a:extLst>
              <a:ext uri="{BEBA8EAE-BF5A-486C-A8C5-ECC9F3942E4B}">
                <a14:imgProps xmlns:a14="http://schemas.microsoft.com/office/drawing/2010/main">
                  <a14:imgLayer r:embed="rId17">
                    <a14:imgEffect>
                      <a14:saturation sat="0"/>
                    </a14:imgEffect>
                    <a14:imgEffect>
                      <a14:brightnessContrast bright="40000" contrast="40000"/>
                    </a14:imgEffect>
                  </a14:imgLayer>
                </a14:imgProps>
              </a:ext>
            </a:extLst>
          </a:blip>
          <a:srcRect/>
          <a:stretch>
            <a:fillRect/>
          </a:stretch>
        </p:blipFill>
        <p:spPr bwMode="invGray">
          <a:xfrm rot="16200000" flipH="1">
            <a:off x="2301350" y="1815839"/>
            <a:ext cx="935005" cy="1100549"/>
          </a:xfrm>
          <a:prstGeom prst="rect">
            <a:avLst/>
          </a:prstGeom>
          <a:noFill/>
        </p:spPr>
      </p:pic>
      <p:pic>
        <p:nvPicPr>
          <p:cNvPr id="38" name="Picture 20" descr="arrow 0 gold  arrow curved 5"/>
          <p:cNvPicPr>
            <a:picLocks noChangeAspect="1" noChangeArrowheads="1"/>
          </p:cNvPicPr>
          <p:nvPr/>
        </p:nvPicPr>
        <p:blipFill>
          <a:blip r:embed="rId16" cstate="print">
            <a:duotone>
              <a:prstClr val="black"/>
              <a:schemeClr val="accent1">
                <a:tint val="45000"/>
                <a:satMod val="400000"/>
              </a:schemeClr>
            </a:duotone>
            <a:extLst>
              <a:ext uri="{BEBA8EAE-BF5A-486C-A8C5-ECC9F3942E4B}">
                <a14:imgProps xmlns:a14="http://schemas.microsoft.com/office/drawing/2010/main">
                  <a14:imgLayer r:embed="rId17">
                    <a14:imgEffect>
                      <a14:saturation sat="0"/>
                    </a14:imgEffect>
                    <a14:imgEffect>
                      <a14:brightnessContrast bright="40000" contrast="40000"/>
                    </a14:imgEffect>
                  </a14:imgLayer>
                </a14:imgProps>
              </a:ext>
            </a:extLst>
          </a:blip>
          <a:srcRect/>
          <a:stretch>
            <a:fillRect/>
          </a:stretch>
        </p:blipFill>
        <p:spPr bwMode="invGray">
          <a:xfrm rot="16200000" flipH="1">
            <a:off x="1743233" y="2387096"/>
            <a:ext cx="2109095" cy="1296761"/>
          </a:xfrm>
          <a:prstGeom prst="rect">
            <a:avLst/>
          </a:prstGeom>
          <a:noFill/>
        </p:spPr>
      </p:pic>
      <p:pic>
        <p:nvPicPr>
          <p:cNvPr id="39" name="Picture 20" descr="arrow 0 gold  arrow curved 5"/>
          <p:cNvPicPr>
            <a:picLocks noChangeAspect="1" noChangeArrowheads="1"/>
          </p:cNvPicPr>
          <p:nvPr/>
        </p:nvPicPr>
        <p:blipFill>
          <a:blip r:embed="rId16" cstate="print">
            <a:duotone>
              <a:prstClr val="black"/>
              <a:schemeClr val="accent1">
                <a:tint val="45000"/>
                <a:satMod val="400000"/>
              </a:schemeClr>
            </a:duotone>
            <a:extLst>
              <a:ext uri="{BEBA8EAE-BF5A-486C-A8C5-ECC9F3942E4B}">
                <a14:imgProps xmlns:a14="http://schemas.microsoft.com/office/drawing/2010/main">
                  <a14:imgLayer r:embed="rId17">
                    <a14:imgEffect>
                      <a14:saturation sat="0"/>
                    </a14:imgEffect>
                    <a14:imgEffect>
                      <a14:brightnessContrast bright="40000" contrast="40000"/>
                    </a14:imgEffect>
                  </a14:imgLayer>
                </a14:imgProps>
              </a:ext>
            </a:extLst>
          </a:blip>
          <a:srcRect/>
          <a:stretch>
            <a:fillRect/>
          </a:stretch>
        </p:blipFill>
        <p:spPr bwMode="invGray">
          <a:xfrm rot="5400000">
            <a:off x="5017475" y="2429998"/>
            <a:ext cx="2109095" cy="1296761"/>
          </a:xfrm>
          <a:prstGeom prst="rect">
            <a:avLst/>
          </a:prstGeom>
          <a:noFill/>
        </p:spPr>
      </p:pic>
    </p:spTree>
    <p:extLst>
      <p:ext uri="{BB962C8B-B14F-4D97-AF65-F5344CB8AC3E}">
        <p14:creationId xmlns:p14="http://schemas.microsoft.com/office/powerpoint/2010/main" val="407509384"/>
      </p:ext>
    </p:extLst>
  </p:cSld>
  <p:clrMapOvr>
    <a:masterClrMapping/>
  </p:clrMapOvr>
  <p:transition spd="med">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wheel(1)">
                                      <p:cBhvr>
                                        <p:cTn id="12" dur="20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21" presetClass="entr" presetSubtype="1"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wheel(1)">
                                      <p:cBhvr>
                                        <p:cTn id="17" dur="2000"/>
                                        <p:tgtEl>
                                          <p:spTgt spid="20"/>
                                        </p:tgtEl>
                                      </p:cBhvr>
                                    </p:animEffect>
                                  </p:childTnLst>
                                </p:cTn>
                              </p:par>
                            </p:childTnLst>
                          </p:cTn>
                        </p:par>
                      </p:childTnLst>
                    </p:cTn>
                  </p:par>
                  <p:par>
                    <p:cTn id="18" fill="hold">
                      <p:stCondLst>
                        <p:cond delay="indefinite"/>
                      </p:stCondLst>
                      <p:childTnLst>
                        <p:par>
                          <p:cTn id="19" fill="hold">
                            <p:stCondLst>
                              <p:cond delay="0"/>
                            </p:stCondLst>
                            <p:childTnLst>
                              <p:par>
                                <p:cTn id="20" presetID="21" presetClass="entr" presetSubtype="1"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wheel(1)">
                                      <p:cBhvr>
                                        <p:cTn id="22" dur="2000"/>
                                        <p:tgtEl>
                                          <p:spTgt spid="4"/>
                                        </p:tgtEl>
                                      </p:cBhvr>
                                    </p:animEffect>
                                  </p:childTnLst>
                                </p:cTn>
                              </p:par>
                              <p:par>
                                <p:cTn id="23" presetID="22" presetClass="entr" presetSubtype="4"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wipe(down)">
                                      <p:cBhvr>
                                        <p:cTn id="25" dur="500"/>
                                        <p:tgtEl>
                                          <p:spTgt spid="11"/>
                                        </p:tgtEl>
                                      </p:cBhvr>
                                    </p:animEffect>
                                  </p:childTnLst>
                                </p:cTn>
                              </p:par>
                            </p:childTnLst>
                          </p:cTn>
                        </p:par>
                      </p:childTnLst>
                    </p:cTn>
                  </p:par>
                  <p:par>
                    <p:cTn id="26" fill="hold">
                      <p:stCondLst>
                        <p:cond delay="indefinite"/>
                      </p:stCondLst>
                      <p:childTnLst>
                        <p:par>
                          <p:cTn id="27" fill="hold">
                            <p:stCondLst>
                              <p:cond delay="0"/>
                            </p:stCondLst>
                            <p:childTnLst>
                              <p:par>
                                <p:cTn id="28" presetID="21" presetClass="entr" presetSubtype="1" fill="hold" nodeType="click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wheel(1)">
                                      <p:cBhvr>
                                        <p:cTn id="30" dur="2000"/>
                                        <p:tgtEl>
                                          <p:spTgt spid="5"/>
                                        </p:tgtEl>
                                      </p:cBhvr>
                                    </p:animEffect>
                                  </p:childTnLst>
                                </p:cTn>
                              </p:par>
                            </p:childTnLst>
                          </p:cTn>
                        </p:par>
                      </p:childTnLst>
                    </p:cTn>
                  </p:par>
                  <p:par>
                    <p:cTn id="31" fill="hold">
                      <p:stCondLst>
                        <p:cond delay="indefinite"/>
                      </p:stCondLst>
                      <p:childTnLst>
                        <p:par>
                          <p:cTn id="32" fill="hold">
                            <p:stCondLst>
                              <p:cond delay="0"/>
                            </p:stCondLst>
                            <p:childTnLst>
                              <p:par>
                                <p:cTn id="33" presetID="21" presetClass="entr" presetSubtype="1" fill="hold" nodeType="click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wheel(1)">
                                      <p:cBhvr>
                                        <p:cTn id="35" dur="2000"/>
                                        <p:tgtEl>
                                          <p:spTgt spid="9"/>
                                        </p:tgtEl>
                                      </p:cBhvr>
                                    </p:animEffect>
                                  </p:childTnLst>
                                </p:cTn>
                              </p:par>
                            </p:childTnLst>
                          </p:cTn>
                        </p:par>
                      </p:childTnLst>
                    </p:cTn>
                  </p:par>
                  <p:par>
                    <p:cTn id="36" fill="hold">
                      <p:stCondLst>
                        <p:cond delay="indefinite"/>
                      </p:stCondLst>
                      <p:childTnLst>
                        <p:par>
                          <p:cTn id="37" fill="hold">
                            <p:stCondLst>
                              <p:cond delay="0"/>
                            </p:stCondLst>
                            <p:childTnLst>
                              <p:par>
                                <p:cTn id="38" presetID="21" presetClass="entr" presetSubtype="1" fill="hold" nodeType="clickEffect">
                                  <p:stCondLst>
                                    <p:cond delay="0"/>
                                  </p:stCondLst>
                                  <p:childTnLst>
                                    <p:set>
                                      <p:cBhvr>
                                        <p:cTn id="39" dur="1" fill="hold">
                                          <p:stCondLst>
                                            <p:cond delay="0"/>
                                          </p:stCondLst>
                                        </p:cTn>
                                        <p:tgtEl>
                                          <p:spTgt spid="25"/>
                                        </p:tgtEl>
                                        <p:attrNameLst>
                                          <p:attrName>style.visibility</p:attrName>
                                        </p:attrNameLst>
                                      </p:cBhvr>
                                      <p:to>
                                        <p:strVal val="visible"/>
                                      </p:to>
                                    </p:set>
                                    <p:animEffect transition="in" filter="wheel(1)">
                                      <p:cBhvr>
                                        <p:cTn id="40" dur="2000"/>
                                        <p:tgtEl>
                                          <p:spTgt spid="25"/>
                                        </p:tgtEl>
                                      </p:cBhvr>
                                    </p:animEffect>
                                  </p:childTnLst>
                                </p:cTn>
                              </p:par>
                            </p:childTnLst>
                          </p:cTn>
                        </p:par>
                      </p:childTnLst>
                    </p:cTn>
                  </p:par>
                  <p:par>
                    <p:cTn id="41" fill="hold">
                      <p:stCondLst>
                        <p:cond delay="indefinite"/>
                      </p:stCondLst>
                      <p:childTnLst>
                        <p:par>
                          <p:cTn id="42" fill="hold">
                            <p:stCondLst>
                              <p:cond delay="0"/>
                            </p:stCondLst>
                            <p:childTnLst>
                              <p:par>
                                <p:cTn id="43" presetID="53" presetClass="entr" presetSubtype="16" fill="hold" nodeType="clickEffect">
                                  <p:stCondLst>
                                    <p:cond delay="0"/>
                                  </p:stCondLst>
                                  <p:childTnLst>
                                    <p:set>
                                      <p:cBhvr>
                                        <p:cTn id="44" dur="1" fill="hold">
                                          <p:stCondLst>
                                            <p:cond delay="0"/>
                                          </p:stCondLst>
                                        </p:cTn>
                                        <p:tgtEl>
                                          <p:spTgt spid="29"/>
                                        </p:tgtEl>
                                        <p:attrNameLst>
                                          <p:attrName>style.visibility</p:attrName>
                                        </p:attrNameLst>
                                      </p:cBhvr>
                                      <p:to>
                                        <p:strVal val="visible"/>
                                      </p:to>
                                    </p:set>
                                    <p:anim calcmode="lin" valueType="num">
                                      <p:cBhvr>
                                        <p:cTn id="45" dur="500" fill="hold"/>
                                        <p:tgtEl>
                                          <p:spTgt spid="29"/>
                                        </p:tgtEl>
                                        <p:attrNameLst>
                                          <p:attrName>ppt_w</p:attrName>
                                        </p:attrNameLst>
                                      </p:cBhvr>
                                      <p:tavLst>
                                        <p:tav tm="0">
                                          <p:val>
                                            <p:fltVal val="0"/>
                                          </p:val>
                                        </p:tav>
                                        <p:tav tm="100000">
                                          <p:val>
                                            <p:strVal val="#ppt_w"/>
                                          </p:val>
                                        </p:tav>
                                      </p:tavLst>
                                    </p:anim>
                                    <p:anim calcmode="lin" valueType="num">
                                      <p:cBhvr>
                                        <p:cTn id="46" dur="500" fill="hold"/>
                                        <p:tgtEl>
                                          <p:spTgt spid="29"/>
                                        </p:tgtEl>
                                        <p:attrNameLst>
                                          <p:attrName>ppt_h</p:attrName>
                                        </p:attrNameLst>
                                      </p:cBhvr>
                                      <p:tavLst>
                                        <p:tav tm="0">
                                          <p:val>
                                            <p:fltVal val="0"/>
                                          </p:val>
                                        </p:tav>
                                        <p:tav tm="100000">
                                          <p:val>
                                            <p:strVal val="#ppt_h"/>
                                          </p:val>
                                        </p:tav>
                                      </p:tavLst>
                                    </p:anim>
                                    <p:animEffect transition="in" filter="fade">
                                      <p:cBhvr>
                                        <p:cTn id="47" dur="500"/>
                                        <p:tgtEl>
                                          <p:spTgt spid="29"/>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4"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down)">
                                      <p:cBhvr>
                                        <p:cTn id="52" dur="500"/>
                                        <p:tgtEl>
                                          <p:spTgt spid="34"/>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1" fill="hold" nodeType="clickEffect">
                                  <p:stCondLst>
                                    <p:cond delay="0"/>
                                  </p:stCondLst>
                                  <p:childTnLst>
                                    <p:set>
                                      <p:cBhvr>
                                        <p:cTn id="56" dur="1" fill="hold">
                                          <p:stCondLst>
                                            <p:cond delay="0"/>
                                          </p:stCondLst>
                                        </p:cTn>
                                        <p:tgtEl>
                                          <p:spTgt spid="36"/>
                                        </p:tgtEl>
                                        <p:attrNameLst>
                                          <p:attrName>style.visibility</p:attrName>
                                        </p:attrNameLst>
                                      </p:cBhvr>
                                      <p:to>
                                        <p:strVal val="visible"/>
                                      </p:to>
                                    </p:set>
                                    <p:animEffect transition="in" filter="wipe(up)">
                                      <p:cBhvr>
                                        <p:cTn id="57" dur="500"/>
                                        <p:tgtEl>
                                          <p:spTgt spid="36"/>
                                        </p:tgtEl>
                                      </p:cBhvr>
                                    </p:animEffect>
                                  </p:childTnLst>
                                </p:cTn>
                              </p:par>
                            </p:childTnLst>
                          </p:cTn>
                        </p:par>
                        <p:par>
                          <p:cTn id="58" fill="hold">
                            <p:stCondLst>
                              <p:cond delay="500"/>
                            </p:stCondLst>
                            <p:childTnLst>
                              <p:par>
                                <p:cTn id="59" presetID="22" presetClass="entr" presetSubtype="4" fill="hold" nodeType="afterEffect">
                                  <p:stCondLst>
                                    <p:cond delay="0"/>
                                  </p:stCondLst>
                                  <p:childTnLst>
                                    <p:set>
                                      <p:cBhvr>
                                        <p:cTn id="60" dur="1" fill="hold">
                                          <p:stCondLst>
                                            <p:cond delay="0"/>
                                          </p:stCondLst>
                                        </p:cTn>
                                        <p:tgtEl>
                                          <p:spTgt spid="35"/>
                                        </p:tgtEl>
                                        <p:attrNameLst>
                                          <p:attrName>style.visibility</p:attrName>
                                        </p:attrNameLst>
                                      </p:cBhvr>
                                      <p:to>
                                        <p:strVal val="visible"/>
                                      </p:to>
                                    </p:set>
                                    <p:animEffect transition="in" filter="wipe(down)">
                                      <p:cBhvr>
                                        <p:cTn id="61" dur="500"/>
                                        <p:tgtEl>
                                          <p:spTgt spid="35"/>
                                        </p:tgtEl>
                                      </p:cBhvr>
                                    </p:animEffect>
                                  </p:childTnLst>
                                </p:cTn>
                              </p:par>
                            </p:childTnLst>
                          </p:cTn>
                        </p:par>
                      </p:childTnLst>
                    </p:cTn>
                  </p:par>
                  <p:par>
                    <p:cTn id="62" fill="hold">
                      <p:stCondLst>
                        <p:cond delay="indefinite"/>
                      </p:stCondLst>
                      <p:childTnLst>
                        <p:par>
                          <p:cTn id="63" fill="hold">
                            <p:stCondLst>
                              <p:cond delay="0"/>
                            </p:stCondLst>
                            <p:childTnLst>
                              <p:par>
                                <p:cTn id="64" presetID="22" presetClass="entr" presetSubtype="1" fill="hold" nodeType="clickEffect">
                                  <p:stCondLst>
                                    <p:cond delay="0"/>
                                  </p:stCondLst>
                                  <p:childTnLst>
                                    <p:set>
                                      <p:cBhvr>
                                        <p:cTn id="65" dur="1" fill="hold">
                                          <p:stCondLst>
                                            <p:cond delay="0"/>
                                          </p:stCondLst>
                                        </p:cTn>
                                        <p:tgtEl>
                                          <p:spTgt spid="37"/>
                                        </p:tgtEl>
                                        <p:attrNameLst>
                                          <p:attrName>style.visibility</p:attrName>
                                        </p:attrNameLst>
                                      </p:cBhvr>
                                      <p:to>
                                        <p:strVal val="visible"/>
                                      </p:to>
                                    </p:set>
                                    <p:animEffect transition="in" filter="wipe(up)">
                                      <p:cBhvr>
                                        <p:cTn id="66" dur="500"/>
                                        <p:tgtEl>
                                          <p:spTgt spid="37"/>
                                        </p:tgtEl>
                                      </p:cBhvr>
                                    </p:animEffect>
                                  </p:childTnLst>
                                </p:cTn>
                              </p:par>
                            </p:childTnLst>
                          </p:cTn>
                        </p:par>
                      </p:childTnLst>
                    </p:cTn>
                  </p:par>
                  <p:par>
                    <p:cTn id="67" fill="hold">
                      <p:stCondLst>
                        <p:cond delay="indefinite"/>
                      </p:stCondLst>
                      <p:childTnLst>
                        <p:par>
                          <p:cTn id="68" fill="hold">
                            <p:stCondLst>
                              <p:cond delay="0"/>
                            </p:stCondLst>
                            <p:childTnLst>
                              <p:par>
                                <p:cTn id="69" presetID="22" presetClass="entr" presetSubtype="1" fill="hold" nodeType="clickEffect">
                                  <p:stCondLst>
                                    <p:cond delay="0"/>
                                  </p:stCondLst>
                                  <p:childTnLst>
                                    <p:set>
                                      <p:cBhvr>
                                        <p:cTn id="70" dur="1" fill="hold">
                                          <p:stCondLst>
                                            <p:cond delay="0"/>
                                          </p:stCondLst>
                                        </p:cTn>
                                        <p:tgtEl>
                                          <p:spTgt spid="38"/>
                                        </p:tgtEl>
                                        <p:attrNameLst>
                                          <p:attrName>style.visibility</p:attrName>
                                        </p:attrNameLst>
                                      </p:cBhvr>
                                      <p:to>
                                        <p:strVal val="visible"/>
                                      </p:to>
                                    </p:set>
                                    <p:animEffect transition="in" filter="wipe(up)">
                                      <p:cBhvr>
                                        <p:cTn id="71" dur="500"/>
                                        <p:tgtEl>
                                          <p:spTgt spid="38"/>
                                        </p:tgtEl>
                                      </p:cBhvr>
                                    </p:animEffect>
                                  </p:childTnLst>
                                </p:cTn>
                              </p:par>
                            </p:childTnLst>
                          </p:cTn>
                        </p:par>
                      </p:childTnLst>
                    </p:cTn>
                  </p:par>
                  <p:par>
                    <p:cTn id="72" fill="hold">
                      <p:stCondLst>
                        <p:cond delay="indefinite"/>
                      </p:stCondLst>
                      <p:childTnLst>
                        <p:par>
                          <p:cTn id="73" fill="hold">
                            <p:stCondLst>
                              <p:cond delay="0"/>
                            </p:stCondLst>
                            <p:childTnLst>
                              <p:par>
                                <p:cTn id="74" presetID="22" presetClass="entr" presetSubtype="1" fill="hold" nodeType="clickEffect">
                                  <p:stCondLst>
                                    <p:cond delay="0"/>
                                  </p:stCondLst>
                                  <p:childTnLst>
                                    <p:set>
                                      <p:cBhvr>
                                        <p:cTn id="75" dur="1" fill="hold">
                                          <p:stCondLst>
                                            <p:cond delay="0"/>
                                          </p:stCondLst>
                                        </p:cTn>
                                        <p:tgtEl>
                                          <p:spTgt spid="39"/>
                                        </p:tgtEl>
                                        <p:attrNameLst>
                                          <p:attrName>style.visibility</p:attrName>
                                        </p:attrNameLst>
                                      </p:cBhvr>
                                      <p:to>
                                        <p:strVal val="visible"/>
                                      </p:to>
                                    </p:set>
                                    <p:animEffect transition="in" filter="wipe(up)">
                                      <p:cBhvr>
                                        <p:cTn id="76" dur="500"/>
                                        <p:tgtEl>
                                          <p:spTgt spid="39"/>
                                        </p:tgtEl>
                                      </p:cBhvr>
                                    </p:animEffect>
                                  </p:childTnLst>
                                </p:cTn>
                              </p:par>
                              <p:par>
                                <p:cTn id="77" presetID="23" presetClass="entr" presetSubtype="528" fill="hold" nodeType="withEffect">
                                  <p:stCondLst>
                                    <p:cond delay="0"/>
                                  </p:stCondLst>
                                  <p:childTnLst>
                                    <p:set>
                                      <p:cBhvr>
                                        <p:cTn id="78" dur="1" fill="hold">
                                          <p:stCondLst>
                                            <p:cond delay="0"/>
                                          </p:stCondLst>
                                        </p:cTn>
                                        <p:tgtEl>
                                          <p:spTgt spid="30"/>
                                        </p:tgtEl>
                                        <p:attrNameLst>
                                          <p:attrName>style.visibility</p:attrName>
                                        </p:attrNameLst>
                                      </p:cBhvr>
                                      <p:to>
                                        <p:strVal val="visible"/>
                                      </p:to>
                                    </p:set>
                                    <p:anim calcmode="lin" valueType="num">
                                      <p:cBhvr>
                                        <p:cTn id="79" dur="1100" fill="hold"/>
                                        <p:tgtEl>
                                          <p:spTgt spid="30"/>
                                        </p:tgtEl>
                                        <p:attrNameLst>
                                          <p:attrName>ppt_w</p:attrName>
                                        </p:attrNameLst>
                                      </p:cBhvr>
                                      <p:tavLst>
                                        <p:tav tm="0">
                                          <p:val>
                                            <p:fltVal val="0"/>
                                          </p:val>
                                        </p:tav>
                                        <p:tav tm="100000">
                                          <p:val>
                                            <p:strVal val="#ppt_w"/>
                                          </p:val>
                                        </p:tav>
                                      </p:tavLst>
                                    </p:anim>
                                    <p:anim calcmode="lin" valueType="num">
                                      <p:cBhvr>
                                        <p:cTn id="80" dur="1100" fill="hold"/>
                                        <p:tgtEl>
                                          <p:spTgt spid="30"/>
                                        </p:tgtEl>
                                        <p:attrNameLst>
                                          <p:attrName>ppt_h</p:attrName>
                                        </p:attrNameLst>
                                      </p:cBhvr>
                                      <p:tavLst>
                                        <p:tav tm="0">
                                          <p:val>
                                            <p:fltVal val="0"/>
                                          </p:val>
                                        </p:tav>
                                        <p:tav tm="100000">
                                          <p:val>
                                            <p:strVal val="#ppt_h"/>
                                          </p:val>
                                        </p:tav>
                                      </p:tavLst>
                                    </p:anim>
                                    <p:anim calcmode="lin" valueType="num">
                                      <p:cBhvr>
                                        <p:cTn id="81" dur="1100" fill="hold"/>
                                        <p:tgtEl>
                                          <p:spTgt spid="30"/>
                                        </p:tgtEl>
                                        <p:attrNameLst>
                                          <p:attrName>ppt_x</p:attrName>
                                        </p:attrNameLst>
                                      </p:cBhvr>
                                      <p:tavLst>
                                        <p:tav tm="0">
                                          <p:val>
                                            <p:fltVal val="0.5"/>
                                          </p:val>
                                        </p:tav>
                                        <p:tav tm="100000">
                                          <p:val>
                                            <p:strVal val="#ppt_x"/>
                                          </p:val>
                                        </p:tav>
                                      </p:tavLst>
                                    </p:anim>
                                    <p:anim calcmode="lin" valueType="num">
                                      <p:cBhvr>
                                        <p:cTn id="82" dur="1100" fill="hold"/>
                                        <p:tgtEl>
                                          <p:spTgt spid="30"/>
                                        </p:tgtEl>
                                        <p:attrNameLst>
                                          <p:attrName>ppt_y</p:attrName>
                                        </p:attrNameLst>
                                      </p:cBhvr>
                                      <p:tavLst>
                                        <p:tav tm="0">
                                          <p:val>
                                            <p:fltVal val="0.5"/>
                                          </p:val>
                                        </p:tav>
                                        <p:tav tm="100000">
                                          <p:val>
                                            <p:strVal val="#ppt_y"/>
                                          </p:val>
                                        </p:tav>
                                      </p:tavLst>
                                    </p:anim>
                                  </p:childTnLst>
                                </p:cTn>
                              </p:par>
                            </p:childTnLst>
                          </p:cTn>
                        </p:par>
                      </p:childTnLst>
                    </p:cTn>
                  </p:par>
                  <p:par>
                    <p:cTn id="83" fill="hold">
                      <p:stCondLst>
                        <p:cond delay="indefinite"/>
                      </p:stCondLst>
                      <p:childTnLst>
                        <p:par>
                          <p:cTn id="84" fill="hold">
                            <p:stCondLst>
                              <p:cond delay="0"/>
                            </p:stCondLst>
                            <p:childTnLst>
                              <p:par>
                                <p:cTn id="85" presetID="22" presetClass="entr" presetSubtype="8" fill="hold" grpId="0" nodeType="clickEffect">
                                  <p:stCondLst>
                                    <p:cond delay="0"/>
                                  </p:stCondLst>
                                  <p:childTnLst>
                                    <p:set>
                                      <p:cBhvr>
                                        <p:cTn id="86" dur="1" fill="hold">
                                          <p:stCondLst>
                                            <p:cond delay="0"/>
                                          </p:stCondLst>
                                        </p:cTn>
                                        <p:tgtEl>
                                          <p:spTgt spid="32">
                                            <p:txEl>
                                              <p:pRg st="0" end="0"/>
                                            </p:txEl>
                                          </p:spTgt>
                                        </p:tgtEl>
                                        <p:attrNameLst>
                                          <p:attrName>style.visibility</p:attrName>
                                        </p:attrNameLst>
                                      </p:cBhvr>
                                      <p:to>
                                        <p:strVal val="visible"/>
                                      </p:to>
                                    </p:set>
                                    <p:animEffect transition="in" filter="wipe(left)">
                                      <p:cBhvr>
                                        <p:cTn id="87" dur="500"/>
                                        <p:tgtEl>
                                          <p:spTgt spid="32">
                                            <p:txEl>
                                              <p:pRg st="0" end="0"/>
                                            </p:txEl>
                                          </p:spTgt>
                                        </p:tgtEl>
                                      </p:cBhvr>
                                    </p:animEffect>
                                  </p:childTnLst>
                                </p:cTn>
                              </p:par>
                            </p:childTnLst>
                          </p:cTn>
                        </p:par>
                      </p:childTnLst>
                    </p:cTn>
                  </p:par>
                  <p:par>
                    <p:cTn id="88" fill="hold">
                      <p:stCondLst>
                        <p:cond delay="indefinite"/>
                      </p:stCondLst>
                      <p:childTnLst>
                        <p:par>
                          <p:cTn id="89" fill="hold">
                            <p:stCondLst>
                              <p:cond delay="0"/>
                            </p:stCondLst>
                            <p:childTnLst>
                              <p:par>
                                <p:cTn id="90" presetID="22" presetClass="entr" presetSubtype="8" fill="hold" grpId="0" nodeType="clickEffect">
                                  <p:stCondLst>
                                    <p:cond delay="0"/>
                                  </p:stCondLst>
                                  <p:childTnLst>
                                    <p:set>
                                      <p:cBhvr>
                                        <p:cTn id="91" dur="1" fill="hold">
                                          <p:stCondLst>
                                            <p:cond delay="0"/>
                                          </p:stCondLst>
                                        </p:cTn>
                                        <p:tgtEl>
                                          <p:spTgt spid="32">
                                            <p:txEl>
                                              <p:pRg st="1" end="1"/>
                                            </p:txEl>
                                          </p:spTgt>
                                        </p:tgtEl>
                                        <p:attrNameLst>
                                          <p:attrName>style.visibility</p:attrName>
                                        </p:attrNameLst>
                                      </p:cBhvr>
                                      <p:to>
                                        <p:strVal val="visible"/>
                                      </p:to>
                                    </p:set>
                                    <p:animEffect transition="in" filter="wipe(left)">
                                      <p:cBhvr>
                                        <p:cTn id="92" dur="500"/>
                                        <p:tgtEl>
                                          <p:spTgt spid="32">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build="p" bldLvl="2"/>
      <p:bldP spid="10"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รูปภาพ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1331640" y="1916832"/>
            <a:ext cx="7680176" cy="2833512"/>
          </a:xfrm>
          <a:prstGeom prst="rect">
            <a:avLst/>
          </a:prstGeom>
        </p:spPr>
      </p:pic>
      <p:sp>
        <p:nvSpPr>
          <p:cNvPr id="33" name="Title 1"/>
          <p:cNvSpPr txBox="1">
            <a:spLocks/>
          </p:cNvSpPr>
          <p:nvPr/>
        </p:nvSpPr>
        <p:spPr>
          <a:xfrm>
            <a:off x="323528" y="0"/>
            <a:ext cx="7128791" cy="2535115"/>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auto">
              <a:spcAft>
                <a:spcPts val="0"/>
              </a:spcAft>
            </a:pPr>
            <a:r>
              <a:rPr lang="en-US" sz="3600" b="1" dirty="0" smtClean="0">
                <a:solidFill>
                  <a:srgbClr val="FF6600"/>
                </a:solidFill>
                <a:cs typeface="DB Adman X" panose="02000506090000020004" pitchFamily="2" charset="-34"/>
              </a:rPr>
              <a:t>Can</a:t>
            </a:r>
            <a:r>
              <a:rPr lang="en-US" sz="3600" b="1" dirty="0" smtClean="0">
                <a:cs typeface="DB Adman X" panose="02000506090000020004" pitchFamily="2" charset="-34"/>
              </a:rPr>
              <a:t> we make </a:t>
            </a:r>
            <a:r>
              <a:rPr lang="en-US" sz="3600" b="1" dirty="0" smtClean="0">
                <a:solidFill>
                  <a:srgbClr val="FF6600"/>
                </a:solidFill>
                <a:cs typeface="DB Adman X" panose="02000506090000020004" pitchFamily="2" charset="-34"/>
              </a:rPr>
              <a:t>ourselves </a:t>
            </a:r>
            <a:r>
              <a:rPr lang="en-US" sz="3600" b="1" i="1" dirty="0" smtClean="0">
                <a:cs typeface="DB Adman X" panose="02000506090000020004" pitchFamily="2" charset="-34"/>
              </a:rPr>
              <a:t>more </a:t>
            </a:r>
            <a:br>
              <a:rPr lang="en-US" sz="3600" b="1" i="1" dirty="0" smtClean="0">
                <a:cs typeface="DB Adman X" panose="02000506090000020004" pitchFamily="2" charset="-34"/>
              </a:rPr>
            </a:br>
            <a:r>
              <a:rPr lang="en-US" sz="4800" b="1" i="1" dirty="0" smtClean="0">
                <a:solidFill>
                  <a:srgbClr val="0070C0"/>
                </a:solidFill>
                <a:cs typeface="DB Adman X" panose="02000506090000020004" pitchFamily="2" charset="-34"/>
              </a:rPr>
              <a:t>creative</a:t>
            </a:r>
            <a:r>
              <a:rPr lang="en-US" sz="6600" b="1" dirty="0" smtClean="0">
                <a:cs typeface="DB Adman X" panose="02000506090000020004" pitchFamily="2" charset="-34"/>
              </a:rPr>
              <a:t>?</a:t>
            </a:r>
            <a:endParaRPr lang="th-TH" b="1" dirty="0">
              <a:cs typeface="DB Adman X" panose="02000506090000020004" pitchFamily="2" charset="-34"/>
            </a:endParaRPr>
          </a:p>
        </p:txBody>
      </p:sp>
      <p:sp>
        <p:nvSpPr>
          <p:cNvPr id="34" name="Rectangle 33"/>
          <p:cNvSpPr/>
          <p:nvPr/>
        </p:nvSpPr>
        <p:spPr>
          <a:xfrm>
            <a:off x="755284" y="4869160"/>
            <a:ext cx="7489123" cy="954107"/>
          </a:xfrm>
          <a:prstGeom prst="rect">
            <a:avLst/>
          </a:prstGeom>
        </p:spPr>
        <p:txBody>
          <a:bodyPr wrap="square">
            <a:spAutoFit/>
          </a:bodyPr>
          <a:lstStyle/>
          <a:p>
            <a:r>
              <a:rPr lang="en-US" dirty="0">
                <a:solidFill>
                  <a:srgbClr val="0070C0"/>
                </a:solidFill>
                <a:latin typeface="+mj-lt"/>
                <a:ea typeface="+mj-ea"/>
                <a:cs typeface="DB Adman X" panose="02000506090000020004" pitchFamily="2" charset="-34"/>
              </a:rPr>
              <a:t>The short answer is “</a:t>
            </a:r>
            <a:r>
              <a:rPr lang="en-US" dirty="0">
                <a:solidFill>
                  <a:srgbClr val="FF0000"/>
                </a:solidFill>
                <a:latin typeface="+mj-lt"/>
                <a:ea typeface="+mj-ea"/>
                <a:cs typeface="DB Adman X" panose="02000506090000020004" pitchFamily="2" charset="-34"/>
              </a:rPr>
              <a:t>yes</a:t>
            </a:r>
            <a:r>
              <a:rPr lang="en-US" dirty="0">
                <a:solidFill>
                  <a:srgbClr val="0070C0"/>
                </a:solidFill>
                <a:latin typeface="+mj-lt"/>
                <a:ea typeface="+mj-ea"/>
                <a:cs typeface="DB Adman X" panose="02000506090000020004" pitchFamily="2" charset="-34"/>
              </a:rPr>
              <a:t>” – absolutely.</a:t>
            </a:r>
          </a:p>
          <a:p>
            <a:r>
              <a:rPr lang="en-US" dirty="0">
                <a:solidFill>
                  <a:srgbClr val="0070C0"/>
                </a:solidFill>
                <a:latin typeface="+mj-lt"/>
                <a:ea typeface="+mj-ea"/>
                <a:cs typeface="DB Adman X" panose="02000506090000020004" pitchFamily="2" charset="-34"/>
              </a:rPr>
              <a:t>But, </a:t>
            </a:r>
            <a:r>
              <a:rPr lang="en-US" dirty="0">
                <a:solidFill>
                  <a:srgbClr val="FF0000"/>
                </a:solidFill>
                <a:latin typeface="+mj-lt"/>
                <a:ea typeface="+mj-ea"/>
                <a:cs typeface="DB Adman X" panose="02000506090000020004" pitchFamily="2" charset="-34"/>
              </a:rPr>
              <a:t>how</a:t>
            </a:r>
            <a:r>
              <a:rPr lang="en-US" dirty="0">
                <a:solidFill>
                  <a:srgbClr val="0070C0"/>
                </a:solidFill>
                <a:latin typeface="+mj-lt"/>
                <a:ea typeface="+mj-ea"/>
                <a:cs typeface="DB Adman X" panose="02000506090000020004" pitchFamily="2" charset="-34"/>
              </a:rPr>
              <a:t>? </a:t>
            </a:r>
          </a:p>
        </p:txBody>
      </p:sp>
    </p:spTree>
    <p:extLst>
      <p:ext uri="{BB962C8B-B14F-4D97-AF65-F5344CB8AC3E}">
        <p14:creationId xmlns:p14="http://schemas.microsoft.com/office/powerpoint/2010/main" val="22646463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up)">
                                      <p:cBhvr>
                                        <p:cTn id="7" dur="3000"/>
                                        <p:tgtEl>
                                          <p:spTgt spid="3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34">
                                            <p:txEl>
                                              <p:pRg st="0" end="0"/>
                                            </p:txEl>
                                          </p:spTgt>
                                        </p:tgtEl>
                                        <p:attrNameLst>
                                          <p:attrName>style.visibility</p:attrName>
                                        </p:attrNameLst>
                                      </p:cBhvr>
                                      <p:to>
                                        <p:strVal val="visible"/>
                                      </p:to>
                                    </p:set>
                                    <p:animEffect transition="in" filter="wipe(left)">
                                      <p:cBhvr>
                                        <p:cTn id="12" dur="500"/>
                                        <p:tgtEl>
                                          <p:spTgt spid="34">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34">
                                            <p:txEl>
                                              <p:pRg st="1" end="1"/>
                                            </p:txEl>
                                          </p:spTgt>
                                        </p:tgtEl>
                                        <p:attrNameLst>
                                          <p:attrName>style.visibility</p:attrName>
                                        </p:attrNameLst>
                                      </p:cBhvr>
                                      <p:to>
                                        <p:strVal val="visible"/>
                                      </p:to>
                                    </p:set>
                                    <p:animEffect transition="in" filter="wipe(left)">
                                      <p:cBhvr>
                                        <p:cTn id="17" dur="500"/>
                                        <p:tgtEl>
                                          <p:spTgt spid="3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4"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ชื่อเรื่อง 1"/>
          <p:cNvSpPr txBox="1">
            <a:spLocks/>
          </p:cNvSpPr>
          <p:nvPr/>
        </p:nvSpPr>
        <p:spPr>
          <a:xfrm>
            <a:off x="179512" y="44624"/>
            <a:ext cx="6120680" cy="1925406"/>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0" normalizeH="0" baseline="0" noProof="0" dirty="0" smtClean="0">
                <a:ln>
                  <a:noFill/>
                </a:ln>
                <a:solidFill>
                  <a:sysClr val="windowText" lastClr="000000"/>
                </a:solidFill>
                <a:effectLst/>
                <a:uLnTx/>
                <a:uFillTx/>
                <a:latin typeface="Century Gothic"/>
                <a:ea typeface="+mj-ea"/>
              </a:rPr>
              <a:t>How many </a:t>
            </a:r>
            <a:r>
              <a:rPr kumimoji="0" lang="en-US" sz="6000" b="1" i="0" u="none" strike="noStrike" kern="1200" cap="none" spc="0" normalizeH="0" baseline="0" noProof="0" dirty="0" smtClean="0">
                <a:ln>
                  <a:noFill/>
                </a:ln>
                <a:solidFill>
                  <a:srgbClr val="C00000"/>
                </a:solidFill>
                <a:effectLst/>
                <a:uLnTx/>
                <a:uFillTx/>
                <a:latin typeface="Century Gothic"/>
                <a:ea typeface="+mj-ea"/>
              </a:rPr>
              <a:t>c</a:t>
            </a:r>
            <a:r>
              <a:rPr kumimoji="0" lang="en-US" sz="6000" b="1" i="0" u="none" strike="noStrike" kern="1200" cap="none" spc="0" normalizeH="0" baseline="0" noProof="0" dirty="0" smtClean="0">
                <a:ln>
                  <a:noFill/>
                </a:ln>
                <a:solidFill>
                  <a:srgbClr val="94B6D2"/>
                </a:solidFill>
                <a:effectLst/>
                <a:uLnTx/>
                <a:uFillTx/>
                <a:latin typeface="Century Gothic"/>
                <a:ea typeface="+mj-ea"/>
              </a:rPr>
              <a:t>o</a:t>
            </a:r>
            <a:r>
              <a:rPr kumimoji="0" lang="en-US" sz="6000" b="1" i="0" u="none" strike="noStrike" kern="1200" cap="none" spc="0" normalizeH="0" baseline="0" noProof="0" dirty="0" smtClean="0">
                <a:ln>
                  <a:noFill/>
                </a:ln>
                <a:solidFill>
                  <a:srgbClr val="7030A0"/>
                </a:solidFill>
                <a:effectLst/>
                <a:uLnTx/>
                <a:uFillTx/>
                <a:latin typeface="Century Gothic"/>
                <a:ea typeface="+mj-ea"/>
              </a:rPr>
              <a:t>l</a:t>
            </a:r>
            <a:r>
              <a:rPr kumimoji="0" lang="en-US" sz="6000" b="1" i="0" u="none" strike="noStrike" kern="1200" cap="none" spc="0" normalizeH="0" baseline="0" noProof="0" dirty="0" smtClean="0">
                <a:ln>
                  <a:noFill/>
                </a:ln>
                <a:solidFill>
                  <a:srgbClr val="00B050"/>
                </a:solidFill>
                <a:effectLst/>
                <a:uLnTx/>
                <a:uFillTx/>
                <a:latin typeface="Century Gothic"/>
                <a:ea typeface="+mj-ea"/>
              </a:rPr>
              <a:t>o</a:t>
            </a:r>
            <a:r>
              <a:rPr kumimoji="0" lang="en-US" sz="6000" b="1" i="0" u="none" strike="noStrike" kern="1200" cap="none" spc="0" normalizeH="0" baseline="0" noProof="0" dirty="0" smtClean="0">
                <a:ln>
                  <a:noFill/>
                </a:ln>
                <a:solidFill>
                  <a:srgbClr val="FF0000"/>
                </a:solidFill>
                <a:effectLst/>
                <a:uLnTx/>
                <a:uFillTx/>
                <a:latin typeface="Century Gothic"/>
                <a:ea typeface="+mj-ea"/>
              </a:rPr>
              <a:t>r</a:t>
            </a:r>
            <a:r>
              <a:rPr kumimoji="0" lang="en-US" sz="6000" b="1" i="0" u="none" strike="noStrike" kern="1200" cap="none" spc="0" normalizeH="0" baseline="0" noProof="0" dirty="0" smtClean="0">
                <a:ln>
                  <a:noFill/>
                </a:ln>
                <a:solidFill>
                  <a:srgbClr val="FFC000"/>
                </a:solidFill>
                <a:effectLst/>
                <a:uLnTx/>
                <a:uFillTx/>
                <a:latin typeface="Century Gothic"/>
                <a:ea typeface="+mj-ea"/>
              </a:rPr>
              <a:t>s</a:t>
            </a:r>
            <a:r>
              <a:rPr kumimoji="0" lang="en-US" sz="6000" b="1" i="0" u="none" strike="noStrike" kern="1200" cap="none" spc="0" normalizeH="0" baseline="0" noProof="0" dirty="0" smtClean="0">
                <a:ln>
                  <a:noFill/>
                </a:ln>
                <a:solidFill>
                  <a:sysClr val="windowText" lastClr="000000"/>
                </a:solidFill>
                <a:effectLst/>
                <a:uLnTx/>
                <a:uFillTx/>
                <a:latin typeface="Century Gothic"/>
                <a:ea typeface="+mj-ea"/>
              </a:rPr>
              <a:t> </a:t>
            </a:r>
            <a:br>
              <a:rPr kumimoji="0" lang="en-US" sz="6000" b="1" i="0" u="none" strike="noStrike" kern="1200" cap="none" spc="0" normalizeH="0" baseline="0" noProof="0" dirty="0" smtClean="0">
                <a:ln>
                  <a:noFill/>
                </a:ln>
                <a:solidFill>
                  <a:sysClr val="windowText" lastClr="000000"/>
                </a:solidFill>
                <a:effectLst/>
                <a:uLnTx/>
                <a:uFillTx/>
                <a:latin typeface="Century Gothic"/>
                <a:ea typeface="+mj-ea"/>
              </a:rPr>
            </a:br>
            <a:r>
              <a:rPr kumimoji="0" lang="en-US" sz="4000" b="0" i="0" u="none" strike="noStrike" kern="1200" cap="none" spc="0" normalizeH="0" baseline="0" noProof="0" dirty="0" smtClean="0">
                <a:ln>
                  <a:noFill/>
                </a:ln>
                <a:solidFill>
                  <a:sysClr val="windowText" lastClr="000000"/>
                </a:solidFill>
                <a:effectLst/>
                <a:uLnTx/>
                <a:uFillTx/>
                <a:latin typeface="Century Gothic"/>
                <a:ea typeface="+mj-ea"/>
              </a:rPr>
              <a:t>are there in a rainbow?</a:t>
            </a:r>
            <a:endParaRPr kumimoji="0" lang="en-GB" sz="4000" b="0" i="0" u="none" strike="noStrike" kern="1200" cap="none" spc="0" normalizeH="0" baseline="0" noProof="0" dirty="0">
              <a:ln>
                <a:noFill/>
              </a:ln>
              <a:solidFill>
                <a:sysClr val="windowText" lastClr="000000"/>
              </a:solidFill>
              <a:effectLst/>
              <a:uLnTx/>
              <a:uFillTx/>
              <a:latin typeface="Century Gothic"/>
              <a:ea typeface="+mj-ea"/>
            </a:endParaRPr>
          </a:p>
        </p:txBody>
      </p:sp>
      <p:sp>
        <p:nvSpPr>
          <p:cNvPr id="8" name="ชื่อเรื่องรอง 2"/>
          <p:cNvSpPr txBox="1">
            <a:spLocks/>
          </p:cNvSpPr>
          <p:nvPr/>
        </p:nvSpPr>
        <p:spPr>
          <a:xfrm>
            <a:off x="6012160" y="545532"/>
            <a:ext cx="2999656" cy="923589"/>
          </a:xfrm>
          <a:prstGeom prst="rect">
            <a:avLst/>
          </a:prstGeom>
        </p:spPr>
        <p:txBody>
          <a:bodyPr vert="horz" lIns="91440" tIns="45720" rIns="91440" bIns="45720" rtlCol="0">
            <a:noAutofit/>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th-TH" sz="6600" b="1" i="0" u="none" strike="noStrike" kern="1200" cap="none" spc="0" normalizeH="0" baseline="0" noProof="0" dirty="0" smtClean="0">
                <a:ln>
                  <a:noFill/>
                </a:ln>
                <a:solidFill>
                  <a:srgbClr val="94B6D2"/>
                </a:solidFill>
                <a:effectLst/>
                <a:uLnTx/>
                <a:uFillTx/>
                <a:latin typeface="Browallia New" pitchFamily="34" charset="-34"/>
                <a:ea typeface="+mn-ea"/>
                <a:cs typeface="+mj-cs"/>
              </a:rPr>
              <a:t>รุ้ง</a:t>
            </a:r>
            <a:r>
              <a:rPr kumimoji="0" lang="th-TH" sz="6600" b="1" i="0" u="none" strike="noStrike" kern="1200" cap="none" spc="0" normalizeH="0" baseline="0" noProof="0" dirty="0" smtClean="0">
                <a:ln>
                  <a:noFill/>
                </a:ln>
                <a:solidFill>
                  <a:srgbClr val="FF0000"/>
                </a:solidFill>
                <a:effectLst/>
                <a:uLnTx/>
                <a:uFillTx/>
                <a:latin typeface="Browallia New" pitchFamily="34" charset="-34"/>
                <a:ea typeface="+mn-ea"/>
                <a:cs typeface="+mj-cs"/>
              </a:rPr>
              <a:t>มี</a:t>
            </a:r>
            <a:r>
              <a:rPr kumimoji="0" lang="th-TH" sz="6600" b="1" i="0" u="none" strike="noStrike" kern="1200" cap="none" spc="0" normalizeH="0" baseline="0" noProof="0" dirty="0" smtClean="0">
                <a:ln>
                  <a:noFill/>
                </a:ln>
                <a:solidFill>
                  <a:srgbClr val="FFC000"/>
                </a:solidFill>
                <a:effectLst/>
                <a:uLnTx/>
                <a:uFillTx/>
                <a:latin typeface="Browallia New" pitchFamily="34" charset="-34"/>
                <a:ea typeface="+mn-ea"/>
                <a:cs typeface="+mj-cs"/>
              </a:rPr>
              <a:t>กี่</a:t>
            </a:r>
            <a:r>
              <a:rPr kumimoji="0" lang="th-TH" sz="6600" b="1" i="0" u="none" strike="noStrike" kern="1200" cap="none" spc="0" normalizeH="0" baseline="0" noProof="0" dirty="0" smtClean="0">
                <a:ln>
                  <a:noFill/>
                </a:ln>
                <a:solidFill>
                  <a:srgbClr val="00B050"/>
                </a:solidFill>
                <a:effectLst/>
                <a:uLnTx/>
                <a:uFillTx/>
                <a:latin typeface="Browallia New" pitchFamily="34" charset="-34"/>
                <a:ea typeface="+mn-ea"/>
                <a:cs typeface="+mj-cs"/>
              </a:rPr>
              <a:t>สี</a:t>
            </a:r>
            <a:endParaRPr kumimoji="0" lang="en-GB" sz="6600" b="1" i="0" u="none" strike="noStrike" kern="1200" cap="none" spc="0" normalizeH="0" baseline="0" noProof="0" dirty="0">
              <a:ln>
                <a:noFill/>
              </a:ln>
              <a:solidFill>
                <a:srgbClr val="00B050"/>
              </a:solidFill>
              <a:effectLst/>
              <a:uLnTx/>
              <a:uFillTx/>
              <a:latin typeface="Browallia New" pitchFamily="34" charset="-34"/>
              <a:ea typeface="+mn-ea"/>
              <a:cs typeface="+mj-cs"/>
            </a:endParaRPr>
          </a:p>
        </p:txBody>
      </p:sp>
      <p:pic>
        <p:nvPicPr>
          <p:cNvPr id="12290" name="Picture 2" descr="à¸à¸¥à¸à¸²à¸£à¸à¹à¸à¸«à¸²à¸£à¸¹à¸à¸ à¸²à¸à¸ªà¸³à¸«à¸£à¸±à¸ rainbow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568" y="2132856"/>
            <a:ext cx="7867650" cy="44291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31874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descr="à¸à¸¥à¸à¸²à¸£à¸à¹à¸à¸«à¸²à¸£à¸¹à¸à¸ à¸²à¸à¸ªà¸³à¸«à¸£à¸±à¸ insanit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548680"/>
            <a:ext cx="9048750" cy="58578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3717357"/>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WordArt 5"/>
          <p:cNvSpPr>
            <a:spLocks noChangeArrowheads="1" noChangeShapeType="1" noTextEdit="1"/>
          </p:cNvSpPr>
          <p:nvPr/>
        </p:nvSpPr>
        <p:spPr bwMode="auto">
          <a:xfrm>
            <a:off x="2067595" y="99260"/>
            <a:ext cx="915101" cy="639821"/>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th-TH" sz="2800" b="0" i="0" u="none" strike="noStrike" kern="10" cap="none" spc="0" normalizeH="0" baseline="0" noProof="0">
                <a:ln>
                  <a:noFill/>
                </a:ln>
                <a:solidFill>
                  <a:prstClr val="black"/>
                </a:solidFill>
                <a:effectLst/>
                <a:uLnTx/>
                <a:uFillTx/>
                <a:latin typeface="FreesiaUPC"/>
                <a:ea typeface="+mn-ea"/>
                <a:cs typeface="FreesiaUPC"/>
              </a:rPr>
              <a:t>?</a:t>
            </a:r>
          </a:p>
        </p:txBody>
      </p:sp>
      <p:pic>
        <p:nvPicPr>
          <p:cNvPr id="36" name="Picture 6" descr="QuestionMark"/>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51720" y="169111"/>
            <a:ext cx="936104" cy="64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TextBox 36"/>
          <p:cNvSpPr txBox="1"/>
          <p:nvPr/>
        </p:nvSpPr>
        <p:spPr>
          <a:xfrm>
            <a:off x="179512" y="0"/>
            <a:ext cx="1646605" cy="830997"/>
          </a:xfrm>
          <a:prstGeom prst="rect">
            <a:avLst/>
          </a:prstGeom>
          <a:noFill/>
        </p:spPr>
        <p:txBody>
          <a:bodyPr wrap="none">
            <a:prstTxWarp prst="textStop">
              <a:avLst/>
            </a:prstTxWarp>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800" b="1" i="0" u="none" strike="noStrike" kern="10" cap="none" spc="0" normalizeH="0" baseline="0" noProof="0" dirty="0">
                <a:ln w="19050">
                  <a:solidFill>
                    <a:srgbClr val="99CCFF"/>
                  </a:solidFill>
                  <a:round/>
                  <a:headEnd/>
                  <a:tailEnd/>
                </a:ln>
                <a:solidFill>
                  <a:srgbClr val="0066CC"/>
                </a:solidFill>
                <a:effectLst>
                  <a:outerShdw dist="35921" dir="2700000" algn="ctr" rotWithShape="0">
                    <a:srgbClr val="990000"/>
                  </a:outerShdw>
                </a:effectLst>
                <a:uLnTx/>
                <a:uFillTx/>
                <a:latin typeface="Batang"/>
                <a:ea typeface="Batang"/>
                <a:cs typeface="TH Sarabun New"/>
              </a:rPr>
              <a:t>Thinking</a:t>
            </a:r>
            <a:endParaRPr kumimoji="0" lang="th-TH" sz="8800" b="1" i="0" u="none" strike="noStrike" kern="10" cap="none" spc="0" normalizeH="0" baseline="0" noProof="0" dirty="0">
              <a:ln w="19050">
                <a:solidFill>
                  <a:srgbClr val="99CCFF"/>
                </a:solidFill>
                <a:round/>
                <a:headEnd/>
                <a:tailEnd/>
              </a:ln>
              <a:solidFill>
                <a:srgbClr val="0066CC"/>
              </a:solidFill>
              <a:effectLst>
                <a:outerShdw dist="35921" dir="2700000" algn="ctr" rotWithShape="0">
                  <a:srgbClr val="990000"/>
                </a:outerShdw>
              </a:effectLst>
              <a:uLnTx/>
              <a:uFillTx/>
              <a:latin typeface="Batang"/>
              <a:ea typeface="Batang"/>
              <a:cs typeface="TH Sarabun New"/>
            </a:endParaRPr>
          </a:p>
        </p:txBody>
      </p:sp>
      <p:pic>
        <p:nvPicPr>
          <p:cNvPr id="38" name="Picture 37"/>
          <p:cNvPicPr>
            <a:picLocks noChangeAspect="1"/>
          </p:cNvPicPr>
          <p:nvPr/>
        </p:nvPicPr>
        <p:blipFill>
          <a:blip r:embed="rId3"/>
          <a:stretch>
            <a:fillRect/>
          </a:stretch>
        </p:blipFill>
        <p:spPr>
          <a:xfrm>
            <a:off x="3164846" y="2656625"/>
            <a:ext cx="2371725" cy="2047875"/>
          </a:xfrm>
          <a:prstGeom prst="rect">
            <a:avLst/>
          </a:prstGeom>
        </p:spPr>
      </p:pic>
      <p:sp>
        <p:nvSpPr>
          <p:cNvPr id="43" name="WordArt 17"/>
          <p:cNvSpPr>
            <a:spLocks noChangeArrowheads="1" noChangeShapeType="1" noTextEdit="1"/>
          </p:cNvSpPr>
          <p:nvPr/>
        </p:nvSpPr>
        <p:spPr bwMode="auto">
          <a:xfrm>
            <a:off x="2051720" y="6371067"/>
            <a:ext cx="5486400" cy="295275"/>
          </a:xfrm>
          <a:prstGeom prst="rect">
            <a:avLst/>
          </a:prstGeom>
        </p:spPr>
        <p:txBody>
          <a:bodyPr wrap="none" fromWordArt="1">
            <a:prstTxWarp prst="textPlain">
              <a:avLst>
                <a:gd name="adj" fmla="val 50000"/>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th-TH" sz="3600" b="1" i="0" u="none" strike="noStrike" kern="10" cap="none" spc="0" normalizeH="0" baseline="0" noProof="0" dirty="0" smtClean="0">
                <a:ln w="9525">
                  <a:noFill/>
                  <a:round/>
                  <a:headEnd/>
                  <a:tailEnd/>
                </a:ln>
                <a:solidFill>
                  <a:prstClr val="black"/>
                </a:solidFill>
                <a:effectLst>
                  <a:outerShdw blurRad="38100" dist="38100" dir="2700000" algn="tl">
                    <a:srgbClr val="000000">
                      <a:alpha val="43137"/>
                    </a:srgbClr>
                  </a:outerShdw>
                </a:effectLst>
                <a:uLnTx/>
                <a:uFillTx/>
                <a:latin typeface="Times New Roman"/>
                <a:ea typeface="+mn-ea"/>
                <a:cs typeface="Times New Roman"/>
              </a:rPr>
              <a:t>เวลาที่ท่านเห็นภาพนี้ ท่านนึกถึงเรื่องอะไร</a:t>
            </a:r>
            <a:r>
              <a:rPr kumimoji="0" lang="en-US" sz="3600" b="1" i="0" u="none" strike="noStrike" kern="10" cap="none" spc="0" normalizeH="0" baseline="0" noProof="0" dirty="0" smtClean="0">
                <a:ln w="9525">
                  <a:noFill/>
                  <a:round/>
                  <a:headEnd/>
                  <a:tailEnd/>
                </a:ln>
                <a:solidFill>
                  <a:prstClr val="black"/>
                </a:solidFill>
                <a:effectLst>
                  <a:outerShdw blurRad="38100" dist="38100" dir="2700000" algn="tl">
                    <a:srgbClr val="000000">
                      <a:alpha val="43137"/>
                    </a:srgbClr>
                  </a:outerShdw>
                </a:effectLst>
                <a:uLnTx/>
                <a:uFillTx/>
                <a:latin typeface="Times New Roman"/>
                <a:ea typeface="+mn-ea"/>
                <a:cs typeface="Times New Roman"/>
              </a:rPr>
              <a:t>?</a:t>
            </a:r>
            <a:endParaRPr kumimoji="0" lang="th-TH" sz="3600" b="1" i="0" u="none" strike="noStrike" kern="10" cap="none" spc="0" normalizeH="0" baseline="0" noProof="0" dirty="0">
              <a:ln w="9525">
                <a:noFill/>
                <a:round/>
                <a:headEnd/>
                <a:tailEnd/>
              </a:ln>
              <a:solidFill>
                <a:prstClr val="black"/>
              </a:solidFill>
              <a:effectLst>
                <a:outerShdw blurRad="38100" dist="38100" dir="2700000" algn="tl">
                  <a:srgbClr val="000000">
                    <a:alpha val="43137"/>
                  </a:srgbClr>
                </a:outerShdw>
              </a:effectLst>
              <a:uLnTx/>
              <a:uFillTx/>
              <a:latin typeface="Times New Roman"/>
              <a:ea typeface="+mn-ea"/>
              <a:cs typeface="TH Sarabun New"/>
            </a:endParaRPr>
          </a:p>
        </p:txBody>
      </p:sp>
    </p:spTree>
    <p:extLst>
      <p:ext uri="{BB962C8B-B14F-4D97-AF65-F5344CB8AC3E}">
        <p14:creationId xmlns:p14="http://schemas.microsoft.com/office/powerpoint/2010/main" val="3837112643"/>
      </p:ext>
    </p:extLst>
  </p:cSld>
  <p:clrMapOvr>
    <a:masterClrMapping/>
  </p:clrMapOvr>
  <p:transition>
    <p:strips dir="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38"/>
                                        </p:tgtEl>
                                      </p:cBhvr>
                                    </p:animEffect>
                                    <p:set>
                                      <p:cBhvr>
                                        <p:cTn id="12" dur="1" fill="hold">
                                          <p:stCondLst>
                                            <p:cond delay="499"/>
                                          </p:stCondLst>
                                        </p:cTn>
                                        <p:tgtEl>
                                          <p:spTgt spid="3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r="1928"/>
          <a:stretch/>
        </p:blipFill>
        <p:spPr>
          <a:xfrm>
            <a:off x="1745122" y="17145"/>
            <a:ext cx="7267433" cy="6619875"/>
          </a:xfrm>
          <a:prstGeom prst="rect">
            <a:avLst/>
          </a:prstGeom>
        </p:spPr>
      </p:pic>
      <p:pic>
        <p:nvPicPr>
          <p:cNvPr id="4" name="Picture 3">
            <a:hlinkClick r:id="rId3" action="ppaction://hlinkfile"/>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439" y="4958249"/>
            <a:ext cx="2840355" cy="1832029"/>
          </a:xfrm>
          <a:prstGeom prst="rect">
            <a:avLst/>
          </a:prstGeom>
        </p:spPr>
      </p:pic>
      <p:pic>
        <p:nvPicPr>
          <p:cNvPr id="5" name="Picture 4"/>
          <p:cNvPicPr>
            <a:picLocks noChangeAspect="1"/>
          </p:cNvPicPr>
          <p:nvPr/>
        </p:nvPicPr>
        <p:blipFill rotWithShape="1">
          <a:blip r:embed="rId5">
            <a:extLst>
              <a:ext uri="{28A0092B-C50C-407E-A947-70E740481C1C}">
                <a14:useLocalDpi xmlns:a14="http://schemas.microsoft.com/office/drawing/2010/main" val="0"/>
              </a:ext>
            </a:extLst>
          </a:blip>
          <a:srcRect l="17188" r="11187"/>
          <a:stretch/>
        </p:blipFill>
        <p:spPr>
          <a:xfrm>
            <a:off x="29940" y="303791"/>
            <a:ext cx="8991557" cy="6399904"/>
          </a:xfrm>
          <a:prstGeom prst="rect">
            <a:avLst/>
          </a:prstGeom>
        </p:spPr>
      </p:pic>
    </p:spTree>
    <p:extLst>
      <p:ext uri="{BB962C8B-B14F-4D97-AF65-F5344CB8AC3E}">
        <p14:creationId xmlns:p14="http://schemas.microsoft.com/office/powerpoint/2010/main" val="1645293424"/>
      </p:ext>
    </p:extLst>
  </p:cSld>
  <p:clrMapOvr>
    <a:masterClrMapping/>
  </p:clrMapOvr>
  <p:transition>
    <p:strips dir="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nodeType="clickEffect">
                                  <p:stCondLst>
                                    <p:cond delay="0"/>
                                  </p:stCondLst>
                                  <p:childTnLst>
                                    <p:animEffect transition="out" filter="dissolve">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0147" y="333374"/>
            <a:ext cx="7648993" cy="6136005"/>
          </a:xfrm>
          <a:prstGeom prst="rect">
            <a:avLst/>
          </a:prstGeom>
        </p:spPr>
      </p:pic>
    </p:spTree>
    <p:extLst>
      <p:ext uri="{BB962C8B-B14F-4D97-AF65-F5344CB8AC3E}">
        <p14:creationId xmlns:p14="http://schemas.microsoft.com/office/powerpoint/2010/main" val="1853136684"/>
      </p:ext>
    </p:extLst>
  </p:cSld>
  <p:clrMapOvr>
    <a:masterClrMapping/>
  </p:clrMapOvr>
  <p:transition>
    <p:strips dir="ru"/>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connector stars - gold 6"/>
          <p:cNvPicPr>
            <a:picLocks noChangeAspect="1" noChangeArrowheads="1"/>
          </p:cNvPicPr>
          <p:nvPr/>
        </p:nvPicPr>
        <p:blipFill>
          <a:blip r:embed="rId2" cstate="print">
            <a:duotone>
              <a:schemeClr val="accent2">
                <a:shade val="45000"/>
                <a:satMod val="135000"/>
              </a:schemeClr>
              <a:prstClr val="white"/>
            </a:duotone>
          </a:blip>
          <a:srcRect/>
          <a:stretch>
            <a:fillRect/>
          </a:stretch>
        </p:blipFill>
        <p:spPr bwMode="auto">
          <a:xfrm>
            <a:off x="4551" y="8535"/>
            <a:ext cx="9139449" cy="6868886"/>
          </a:xfrm>
          <a:prstGeom prst="rect">
            <a:avLst/>
          </a:prstGeom>
          <a:noFill/>
        </p:spPr>
      </p:pic>
      <p:sp>
        <p:nvSpPr>
          <p:cNvPr id="8" name="Rectangle 7"/>
          <p:cNvSpPr/>
          <p:nvPr/>
        </p:nvSpPr>
        <p:spPr>
          <a:xfrm>
            <a:off x="2363695" y="2879747"/>
            <a:ext cx="4572000" cy="1126462"/>
          </a:xfrm>
          <a:prstGeom prst="rect">
            <a:avLst/>
          </a:prstGeom>
        </p:spPr>
        <p:txBody>
          <a:bodyPr>
            <a:spAutoFit/>
          </a:bodyPr>
          <a:lstStyle/>
          <a:p>
            <a:pPr lvl="0" algn="ctr" fontAlgn="auto">
              <a:lnSpc>
                <a:spcPct val="80000"/>
              </a:lnSpc>
              <a:spcBef>
                <a:spcPts val="0"/>
              </a:spcBef>
              <a:spcAft>
                <a:spcPts val="0"/>
              </a:spcAft>
              <a:defRPr/>
            </a:pPr>
            <a:r>
              <a:rPr lang="th-TH" dirty="0">
                <a:effectLst>
                  <a:outerShdw blurRad="38100" dist="38100" dir="2700000" algn="tl">
                    <a:srgbClr val="000000">
                      <a:alpha val="43137"/>
                    </a:srgbClr>
                  </a:outerShdw>
                </a:effectLst>
                <a:latin typeface="AngsanaUPC" panose="02020603050405020304" pitchFamily="18" charset="-34"/>
                <a:cs typeface="AngsanaUPC" panose="02020603050405020304" pitchFamily="18" charset="-34"/>
              </a:rPr>
              <a:t>กลยุทธ์ในการจัดการ</a:t>
            </a:r>
            <a:endParaRPr lang="en-US" dirty="0">
              <a:effectLst>
                <a:outerShdw blurRad="38100" dist="38100" dir="2700000" algn="tl">
                  <a:srgbClr val="000000">
                    <a:alpha val="43137"/>
                  </a:srgbClr>
                </a:outerShdw>
              </a:effectLst>
              <a:latin typeface="AngsanaUPC" panose="02020603050405020304" pitchFamily="18" charset="-34"/>
              <a:cs typeface="AngsanaUPC" panose="02020603050405020304" pitchFamily="18" charset="-34"/>
            </a:endParaRPr>
          </a:p>
          <a:p>
            <a:pPr lvl="0" algn="ctr" fontAlgn="auto">
              <a:lnSpc>
                <a:spcPct val="80000"/>
              </a:lnSpc>
              <a:spcBef>
                <a:spcPts val="0"/>
              </a:spcBef>
              <a:spcAft>
                <a:spcPts val="0"/>
              </a:spcAft>
              <a:defRPr/>
            </a:pPr>
            <a:r>
              <a:rPr lang="th-TH" dirty="0">
                <a:effectLst>
                  <a:outerShdw blurRad="38100" dist="38100" dir="2700000" algn="tl">
                    <a:srgbClr val="000000">
                      <a:alpha val="43137"/>
                    </a:srgbClr>
                  </a:outerShdw>
                </a:effectLst>
                <a:latin typeface="AngsanaUPC" panose="02020603050405020304" pitchFamily="18" charset="-34"/>
                <a:cs typeface="AngsanaUPC" panose="02020603050405020304" pitchFamily="18" charset="-34"/>
              </a:rPr>
              <a:t>นวัตกรรมของสวัสดิการ</a:t>
            </a:r>
            <a:r>
              <a:rPr lang="th-TH" dirty="0" smtClean="0">
                <a:effectLst>
                  <a:outerShdw blurRad="38100" dist="38100" dir="2700000" algn="tl">
                    <a:srgbClr val="000000">
                      <a:alpha val="43137"/>
                    </a:srgbClr>
                  </a:outerShdw>
                </a:effectLst>
                <a:latin typeface="AngsanaUPC" panose="02020603050405020304" pitchFamily="18" charset="-34"/>
                <a:cs typeface="AngsanaUPC" panose="02020603050405020304" pitchFamily="18" charset="-34"/>
              </a:rPr>
              <a:t>กองทัพเรือ</a:t>
            </a:r>
          </a:p>
          <a:p>
            <a:pPr algn="ctr" fontAlgn="auto">
              <a:lnSpc>
                <a:spcPct val="80000"/>
              </a:lnSpc>
              <a:spcBef>
                <a:spcPts val="0"/>
              </a:spcBef>
              <a:spcAft>
                <a:spcPts val="0"/>
              </a:spcAft>
              <a:defRPr/>
            </a:pPr>
            <a:r>
              <a:rPr lang="th-TH" dirty="0">
                <a:effectLst>
                  <a:outerShdw blurRad="38100" dist="38100" dir="2700000" algn="tl">
                    <a:srgbClr val="000000">
                      <a:alpha val="43137"/>
                    </a:srgbClr>
                  </a:outerShdw>
                </a:effectLst>
                <a:latin typeface="AngsanaUPC" panose="02020603050405020304" pitchFamily="18" charset="-34"/>
                <a:cs typeface="AngsanaUPC" panose="02020603050405020304" pitchFamily="18" charset="-34"/>
              </a:rPr>
              <a:t>รองรับการขับเคลื่อนโครงการ </a:t>
            </a:r>
            <a:r>
              <a:rPr lang="en-US" dirty="0">
                <a:effectLst>
                  <a:outerShdw blurRad="38100" dist="38100" dir="2700000" algn="tl">
                    <a:srgbClr val="000000">
                      <a:alpha val="43137"/>
                    </a:srgbClr>
                  </a:outerShdw>
                </a:effectLst>
                <a:latin typeface="AngsanaUPC" panose="02020603050405020304" pitchFamily="18" charset="-34"/>
                <a:cs typeface="AngsanaUPC" panose="02020603050405020304" pitchFamily="18" charset="-34"/>
              </a:rPr>
              <a:t>EEC</a:t>
            </a:r>
            <a:endParaRPr lang="th-TH" dirty="0">
              <a:effectLst>
                <a:outerShdw blurRad="38100" dist="38100" dir="2700000" algn="tl">
                  <a:srgbClr val="000000">
                    <a:alpha val="43137"/>
                  </a:srgbClr>
                </a:outerShdw>
              </a:effectLst>
              <a:latin typeface="AngsanaUPC" panose="02020603050405020304" pitchFamily="18" charset="-34"/>
              <a:cs typeface="AngsanaUPC" panose="02020603050405020304" pitchFamily="18" charset="-34"/>
            </a:endParaRPr>
          </a:p>
        </p:txBody>
      </p:sp>
    </p:spTree>
    <p:extLst>
      <p:ext uri="{BB962C8B-B14F-4D97-AF65-F5344CB8AC3E}">
        <p14:creationId xmlns:p14="http://schemas.microsoft.com/office/powerpoint/2010/main" val="1436605032"/>
      </p:ext>
    </p:extLst>
  </p:cSld>
  <p:clrMapOvr>
    <a:masterClrMapping/>
  </p:clrMapOvr>
  <p:transition>
    <p:strips dir="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528"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1100" fill="hold"/>
                                        <p:tgtEl>
                                          <p:spTgt spid="9"/>
                                        </p:tgtEl>
                                        <p:attrNameLst>
                                          <p:attrName>ppt_w</p:attrName>
                                        </p:attrNameLst>
                                      </p:cBhvr>
                                      <p:tavLst>
                                        <p:tav tm="0">
                                          <p:val>
                                            <p:fltVal val="0"/>
                                          </p:val>
                                        </p:tav>
                                        <p:tav tm="100000">
                                          <p:val>
                                            <p:strVal val="#ppt_w"/>
                                          </p:val>
                                        </p:tav>
                                      </p:tavLst>
                                    </p:anim>
                                    <p:anim calcmode="lin" valueType="num">
                                      <p:cBhvr>
                                        <p:cTn id="8" dur="1100" fill="hold"/>
                                        <p:tgtEl>
                                          <p:spTgt spid="9"/>
                                        </p:tgtEl>
                                        <p:attrNameLst>
                                          <p:attrName>ppt_h</p:attrName>
                                        </p:attrNameLst>
                                      </p:cBhvr>
                                      <p:tavLst>
                                        <p:tav tm="0">
                                          <p:val>
                                            <p:fltVal val="0"/>
                                          </p:val>
                                        </p:tav>
                                        <p:tav tm="100000">
                                          <p:val>
                                            <p:strVal val="#ppt_h"/>
                                          </p:val>
                                        </p:tav>
                                      </p:tavLst>
                                    </p:anim>
                                    <p:anim calcmode="lin" valueType="num">
                                      <p:cBhvr>
                                        <p:cTn id="9" dur="1100" fill="hold"/>
                                        <p:tgtEl>
                                          <p:spTgt spid="9"/>
                                        </p:tgtEl>
                                        <p:attrNameLst>
                                          <p:attrName>ppt_x</p:attrName>
                                        </p:attrNameLst>
                                      </p:cBhvr>
                                      <p:tavLst>
                                        <p:tav tm="0">
                                          <p:val>
                                            <p:fltVal val="0.5"/>
                                          </p:val>
                                        </p:tav>
                                        <p:tav tm="100000">
                                          <p:val>
                                            <p:strVal val="#ppt_x"/>
                                          </p:val>
                                        </p:tav>
                                      </p:tavLst>
                                    </p:anim>
                                    <p:anim calcmode="lin" valueType="num">
                                      <p:cBhvr>
                                        <p:cTn id="10" dur="1100" fill="hold"/>
                                        <p:tgtEl>
                                          <p:spTgt spid="9"/>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p:cNvSpPr/>
          <p:nvPr/>
        </p:nvSpPr>
        <p:spPr>
          <a:xfrm>
            <a:off x="2129479" y="4885776"/>
            <a:ext cx="362600" cy="707886"/>
          </a:xfrm>
          <a:prstGeom prst="rect">
            <a:avLst/>
          </a:prstGeom>
        </p:spPr>
        <p:txBody>
          <a:bodyPr wrap="none">
            <a:spAutoFit/>
          </a:bodyPr>
          <a:lstStyle/>
          <a:p>
            <a:r>
              <a:rPr lang="en-US" sz="4000" b="1" dirty="0" smtClean="0">
                <a:solidFill>
                  <a:srgbClr val="C00000"/>
                </a:solidFill>
                <a:effectLst>
                  <a:outerShdw blurRad="38100" dist="38100" dir="2700000" algn="tl">
                    <a:srgbClr val="000000">
                      <a:alpha val="43137"/>
                    </a:srgbClr>
                  </a:outerShdw>
                </a:effectLst>
                <a:latin typeface="Mistral" pitchFamily="66" charset="0"/>
                <a:cs typeface="AngsanaUPC" pitchFamily="18" charset="-34"/>
              </a:rPr>
              <a:t>S</a:t>
            </a:r>
            <a:endParaRPr lang="th-TH" sz="4000" b="1" dirty="0">
              <a:solidFill>
                <a:srgbClr val="FFFF00"/>
              </a:solidFill>
              <a:effectLst>
                <a:outerShdw blurRad="38100" dist="38100" dir="2700000" algn="tl">
                  <a:srgbClr val="000000">
                    <a:alpha val="43137"/>
                  </a:srgbClr>
                </a:outerShdw>
              </a:effectLst>
              <a:latin typeface="Mistral" pitchFamily="66" charset="0"/>
              <a:cs typeface="AngsanaUPC" pitchFamily="18" charset="-34"/>
            </a:endParaRPr>
          </a:p>
        </p:txBody>
      </p:sp>
      <p:sp>
        <p:nvSpPr>
          <p:cNvPr id="78" name="Rectangle 77"/>
          <p:cNvSpPr/>
          <p:nvPr/>
        </p:nvSpPr>
        <p:spPr>
          <a:xfrm>
            <a:off x="2129479" y="2651490"/>
            <a:ext cx="433132" cy="707886"/>
          </a:xfrm>
          <a:prstGeom prst="rect">
            <a:avLst/>
          </a:prstGeom>
        </p:spPr>
        <p:txBody>
          <a:bodyPr wrap="none">
            <a:spAutoFit/>
          </a:bodyPr>
          <a:lstStyle/>
          <a:p>
            <a:r>
              <a:rPr lang="en-US" sz="4000" b="1" dirty="0" smtClean="0">
                <a:solidFill>
                  <a:srgbClr val="C00000"/>
                </a:solidFill>
                <a:effectLst>
                  <a:outerShdw blurRad="38100" dist="38100" dir="2700000" algn="tl">
                    <a:srgbClr val="000000">
                      <a:alpha val="43137"/>
                    </a:srgbClr>
                  </a:outerShdw>
                </a:effectLst>
                <a:latin typeface="Mistral" pitchFamily="66" charset="0"/>
                <a:cs typeface="AngsanaUPC" pitchFamily="18" charset="-34"/>
              </a:rPr>
              <a:t>D</a:t>
            </a:r>
            <a:endParaRPr lang="th-TH" sz="4000" b="1" dirty="0">
              <a:solidFill>
                <a:srgbClr val="FFFF00"/>
              </a:solidFill>
              <a:effectLst>
                <a:outerShdw blurRad="38100" dist="38100" dir="2700000" algn="tl">
                  <a:srgbClr val="000000">
                    <a:alpha val="43137"/>
                  </a:srgbClr>
                </a:outerShdw>
              </a:effectLst>
              <a:latin typeface="Mistral" pitchFamily="66" charset="0"/>
              <a:cs typeface="AngsanaUPC" pitchFamily="18" charset="-34"/>
            </a:endParaRPr>
          </a:p>
        </p:txBody>
      </p:sp>
      <p:sp>
        <p:nvSpPr>
          <p:cNvPr id="79" name="Rectangle 78"/>
          <p:cNvSpPr/>
          <p:nvPr/>
        </p:nvSpPr>
        <p:spPr>
          <a:xfrm>
            <a:off x="2129479" y="4093688"/>
            <a:ext cx="410690" cy="707886"/>
          </a:xfrm>
          <a:prstGeom prst="rect">
            <a:avLst/>
          </a:prstGeom>
        </p:spPr>
        <p:txBody>
          <a:bodyPr wrap="none">
            <a:spAutoFit/>
          </a:bodyPr>
          <a:lstStyle/>
          <a:p>
            <a:r>
              <a:rPr lang="en-US" sz="4000" b="1" dirty="0" smtClean="0">
                <a:solidFill>
                  <a:srgbClr val="C00000"/>
                </a:solidFill>
                <a:effectLst>
                  <a:outerShdw blurRad="38100" dist="38100" dir="2700000" algn="tl">
                    <a:srgbClr val="000000">
                      <a:alpha val="43137"/>
                    </a:srgbClr>
                  </a:outerShdw>
                </a:effectLst>
                <a:latin typeface="Mistral" pitchFamily="66" charset="0"/>
                <a:cs typeface="AngsanaUPC" pitchFamily="18" charset="-34"/>
              </a:rPr>
              <a:t>A</a:t>
            </a:r>
            <a:endParaRPr lang="th-TH" sz="4000" b="1" dirty="0">
              <a:solidFill>
                <a:srgbClr val="FFFF00"/>
              </a:solidFill>
              <a:effectLst>
                <a:outerShdw blurRad="38100" dist="38100" dir="2700000" algn="tl">
                  <a:srgbClr val="000000">
                    <a:alpha val="43137"/>
                  </a:srgbClr>
                </a:outerShdw>
              </a:effectLst>
              <a:latin typeface="Mistral" pitchFamily="66" charset="0"/>
              <a:cs typeface="AngsanaUPC" pitchFamily="18" charset="-34"/>
            </a:endParaRPr>
          </a:p>
        </p:txBody>
      </p:sp>
      <p:sp>
        <p:nvSpPr>
          <p:cNvPr id="80" name="Rectangle 79"/>
          <p:cNvSpPr/>
          <p:nvPr/>
        </p:nvSpPr>
        <p:spPr>
          <a:xfrm>
            <a:off x="2129479" y="3401379"/>
            <a:ext cx="530915" cy="707886"/>
          </a:xfrm>
          <a:prstGeom prst="rect">
            <a:avLst/>
          </a:prstGeom>
        </p:spPr>
        <p:txBody>
          <a:bodyPr wrap="none">
            <a:spAutoFit/>
          </a:bodyPr>
          <a:lstStyle/>
          <a:p>
            <a:r>
              <a:rPr lang="en-US" sz="4000" b="1" dirty="0" smtClean="0">
                <a:solidFill>
                  <a:srgbClr val="C00000"/>
                </a:solidFill>
                <a:effectLst>
                  <a:outerShdw blurRad="38100" dist="38100" dir="2700000" algn="tl">
                    <a:srgbClr val="000000">
                      <a:alpha val="43137"/>
                    </a:srgbClr>
                  </a:outerShdw>
                </a:effectLst>
                <a:latin typeface="Mistral" pitchFamily="66" charset="0"/>
                <a:cs typeface="AngsanaUPC" pitchFamily="18" charset="-34"/>
              </a:rPr>
              <a:t>E</a:t>
            </a:r>
            <a:r>
              <a:rPr lang="en-US" sz="4000" b="1" dirty="0" smtClean="0">
                <a:solidFill>
                  <a:prstClr val="black"/>
                </a:solidFill>
                <a:effectLst>
                  <a:outerShdw blurRad="38100" dist="38100" dir="2700000" algn="tl">
                    <a:srgbClr val="000000">
                      <a:alpha val="43137"/>
                    </a:srgbClr>
                  </a:outerShdw>
                </a:effectLst>
                <a:latin typeface="Mistral" pitchFamily="66" charset="0"/>
                <a:cs typeface="AngsanaUPC" pitchFamily="18" charset="-34"/>
              </a:rPr>
              <a:t> </a:t>
            </a:r>
            <a:endParaRPr lang="th-TH" sz="4000" b="1" dirty="0">
              <a:solidFill>
                <a:srgbClr val="FFFF00"/>
              </a:solidFill>
              <a:effectLst>
                <a:outerShdw blurRad="38100" dist="38100" dir="2700000" algn="tl">
                  <a:srgbClr val="000000">
                    <a:alpha val="43137"/>
                  </a:srgbClr>
                </a:outerShdw>
              </a:effectLst>
              <a:latin typeface="Mistral" pitchFamily="66" charset="0"/>
              <a:cs typeface="AngsanaUPC" pitchFamily="18" charset="-34"/>
            </a:endParaRPr>
          </a:p>
        </p:txBody>
      </p:sp>
      <p:sp>
        <p:nvSpPr>
          <p:cNvPr id="81" name="Rectangle 80"/>
          <p:cNvSpPr/>
          <p:nvPr/>
        </p:nvSpPr>
        <p:spPr>
          <a:xfrm>
            <a:off x="2129479" y="1934085"/>
            <a:ext cx="293670" cy="707886"/>
          </a:xfrm>
          <a:prstGeom prst="rect">
            <a:avLst/>
          </a:prstGeom>
        </p:spPr>
        <p:txBody>
          <a:bodyPr wrap="none">
            <a:spAutoFit/>
          </a:bodyPr>
          <a:lstStyle/>
          <a:p>
            <a:r>
              <a:rPr lang="en-US" sz="4000" b="1" dirty="0" smtClean="0">
                <a:solidFill>
                  <a:srgbClr val="C00000"/>
                </a:solidFill>
                <a:effectLst>
                  <a:outerShdw blurRad="38100" dist="38100" dir="2700000" algn="tl">
                    <a:srgbClr val="000000">
                      <a:alpha val="43137"/>
                    </a:srgbClr>
                  </a:outerShdw>
                </a:effectLst>
                <a:latin typeface="Mistral" pitchFamily="66" charset="0"/>
                <a:cs typeface="AngsanaUPC" pitchFamily="18" charset="-34"/>
              </a:rPr>
              <a:t>I</a:t>
            </a:r>
            <a:endParaRPr lang="th-TH" sz="4000" b="1" dirty="0">
              <a:solidFill>
                <a:prstClr val="black"/>
              </a:solidFill>
              <a:effectLst>
                <a:outerShdw blurRad="38100" dist="38100" dir="2700000" algn="tl">
                  <a:srgbClr val="000000">
                    <a:alpha val="43137"/>
                  </a:srgbClr>
                </a:outerShdw>
              </a:effectLst>
              <a:latin typeface="Mistral" pitchFamily="66" charset="0"/>
              <a:cs typeface="AngsanaUPC" pitchFamily="18" charset="-34"/>
            </a:endParaRPr>
          </a:p>
        </p:txBody>
      </p:sp>
      <p:sp>
        <p:nvSpPr>
          <p:cNvPr id="27" name="TextBox 26"/>
          <p:cNvSpPr txBox="1"/>
          <p:nvPr/>
        </p:nvSpPr>
        <p:spPr>
          <a:xfrm>
            <a:off x="4510134" y="1916839"/>
            <a:ext cx="4355976" cy="733534"/>
          </a:xfrm>
          <a:prstGeom prst="rect">
            <a:avLst/>
          </a:prstGeom>
          <a:noFill/>
        </p:spPr>
        <p:txBody>
          <a:bodyPr wrap="square" rtlCol="0">
            <a:spAutoFit/>
          </a:bodyPr>
          <a:lstStyle/>
          <a:p>
            <a:pPr>
              <a:lnSpc>
                <a:spcPts val="5000"/>
              </a:lnSpc>
            </a:pPr>
            <a:r>
              <a:rPr lang="th-TH" sz="4000" b="1" dirty="0" smtClean="0">
                <a:solidFill>
                  <a:srgbClr val="FF0000"/>
                </a:solidFill>
                <a:effectLst>
                  <a:outerShdw blurRad="38100" dist="38100" dir="2700000" algn="tl">
                    <a:srgbClr val="000000">
                      <a:alpha val="43137"/>
                    </a:srgbClr>
                  </a:outerShdw>
                </a:effectLst>
                <a:latin typeface="TH NiramitIT๙ " pitchFamily="2" charset="-34"/>
                <a:cs typeface="TH NiramitIT๙ " pitchFamily="2" charset="-34"/>
              </a:rPr>
              <a:t>นวัตกรรม เกิดขึ้นได้</a:t>
            </a:r>
            <a:endParaRPr lang="th-TH" sz="4000" b="1" dirty="0">
              <a:solidFill>
                <a:srgbClr val="FF0000"/>
              </a:solidFill>
              <a:effectLst>
                <a:outerShdw blurRad="38100" dist="38100" dir="2700000" algn="tl">
                  <a:srgbClr val="000000">
                    <a:alpha val="43137"/>
                  </a:srgbClr>
                </a:outerShdw>
              </a:effectLst>
              <a:latin typeface="TH NiramitIT๙ " pitchFamily="2" charset="-34"/>
              <a:cs typeface="TH NiramitIT๙ " pitchFamily="2" charset="-34"/>
            </a:endParaRPr>
          </a:p>
        </p:txBody>
      </p:sp>
      <p:sp>
        <p:nvSpPr>
          <p:cNvPr id="9" name="Rectangle 8"/>
          <p:cNvSpPr/>
          <p:nvPr/>
        </p:nvSpPr>
        <p:spPr>
          <a:xfrm>
            <a:off x="2123728" y="4881354"/>
            <a:ext cx="1407758" cy="707886"/>
          </a:xfrm>
          <a:prstGeom prst="rect">
            <a:avLst/>
          </a:prstGeom>
        </p:spPr>
        <p:txBody>
          <a:bodyPr wrap="none">
            <a:spAutoFit/>
          </a:bodyPr>
          <a:lstStyle/>
          <a:p>
            <a:r>
              <a:rPr lang="en-US" sz="4000" b="1" dirty="0">
                <a:solidFill>
                  <a:srgbClr val="C00000"/>
                </a:solidFill>
                <a:effectLst>
                  <a:outerShdw blurRad="38100" dist="38100" dir="2700000" algn="tl">
                    <a:srgbClr val="000000">
                      <a:alpha val="43137"/>
                    </a:srgbClr>
                  </a:outerShdw>
                </a:effectLst>
                <a:latin typeface="Mistral" pitchFamily="66" charset="0"/>
                <a:cs typeface="AngsanaUPC" pitchFamily="18" charset="-34"/>
              </a:rPr>
              <a:t>S</a:t>
            </a:r>
            <a:r>
              <a:rPr lang="en-US" sz="4000" b="1" dirty="0">
                <a:solidFill>
                  <a:prstClr val="black"/>
                </a:solidFill>
                <a:effectLst>
                  <a:outerShdw blurRad="38100" dist="38100" dir="2700000" algn="tl">
                    <a:srgbClr val="000000">
                      <a:alpha val="43137"/>
                    </a:srgbClr>
                  </a:outerShdw>
                </a:effectLst>
                <a:latin typeface="Mistral" pitchFamily="66" charset="0"/>
                <a:cs typeface="AngsanaUPC" pitchFamily="18" charset="-34"/>
              </a:rPr>
              <a:t>upport</a:t>
            </a:r>
            <a:endParaRPr lang="th-TH" sz="4000" b="1" dirty="0">
              <a:solidFill>
                <a:srgbClr val="FFFF00"/>
              </a:solidFill>
              <a:effectLst>
                <a:outerShdw blurRad="38100" dist="38100" dir="2700000" algn="tl">
                  <a:srgbClr val="000000">
                    <a:alpha val="43137"/>
                  </a:srgbClr>
                </a:outerShdw>
              </a:effectLst>
              <a:latin typeface="Mistral" pitchFamily="66" charset="0"/>
              <a:cs typeface="AngsanaUPC" pitchFamily="18" charset="-34"/>
            </a:endParaRPr>
          </a:p>
        </p:txBody>
      </p:sp>
      <p:sp>
        <p:nvSpPr>
          <p:cNvPr id="10" name="Rectangle 9"/>
          <p:cNvSpPr/>
          <p:nvPr/>
        </p:nvSpPr>
        <p:spPr>
          <a:xfrm>
            <a:off x="2123728" y="2647068"/>
            <a:ext cx="1035861" cy="707886"/>
          </a:xfrm>
          <a:prstGeom prst="rect">
            <a:avLst/>
          </a:prstGeom>
        </p:spPr>
        <p:txBody>
          <a:bodyPr wrap="none">
            <a:spAutoFit/>
          </a:bodyPr>
          <a:lstStyle/>
          <a:p>
            <a:r>
              <a:rPr lang="en-US" sz="4000" b="1" dirty="0" smtClean="0">
                <a:solidFill>
                  <a:srgbClr val="C00000"/>
                </a:solidFill>
                <a:effectLst>
                  <a:outerShdw blurRad="38100" dist="38100" dir="2700000" algn="tl">
                    <a:srgbClr val="000000">
                      <a:alpha val="43137"/>
                    </a:srgbClr>
                  </a:outerShdw>
                </a:effectLst>
                <a:latin typeface="Mistral" pitchFamily="66" charset="0"/>
                <a:cs typeface="AngsanaUPC" pitchFamily="18" charset="-34"/>
              </a:rPr>
              <a:t>D</a:t>
            </a:r>
            <a:r>
              <a:rPr lang="en-US" sz="4000" b="1" dirty="0" smtClean="0">
                <a:solidFill>
                  <a:prstClr val="black"/>
                </a:solidFill>
                <a:effectLst>
                  <a:outerShdw blurRad="38100" dist="38100" dir="2700000" algn="tl">
                    <a:srgbClr val="000000">
                      <a:alpha val="43137"/>
                    </a:srgbClr>
                  </a:outerShdw>
                </a:effectLst>
                <a:latin typeface="Mistral" pitchFamily="66" charset="0"/>
                <a:cs typeface="AngsanaUPC" pitchFamily="18" charset="-34"/>
              </a:rPr>
              <a:t>rive</a:t>
            </a:r>
            <a:endParaRPr lang="th-TH" sz="4000" b="1" dirty="0">
              <a:solidFill>
                <a:srgbClr val="FFFF00"/>
              </a:solidFill>
              <a:effectLst>
                <a:outerShdw blurRad="38100" dist="38100" dir="2700000" algn="tl">
                  <a:srgbClr val="000000">
                    <a:alpha val="43137"/>
                  </a:srgbClr>
                </a:outerShdw>
              </a:effectLst>
              <a:latin typeface="Mistral" pitchFamily="66" charset="0"/>
              <a:cs typeface="AngsanaUPC" pitchFamily="18" charset="-34"/>
            </a:endParaRPr>
          </a:p>
        </p:txBody>
      </p:sp>
      <p:sp>
        <p:nvSpPr>
          <p:cNvPr id="11" name="Rectangle 10"/>
          <p:cNvSpPr/>
          <p:nvPr/>
        </p:nvSpPr>
        <p:spPr>
          <a:xfrm>
            <a:off x="2123728" y="4089266"/>
            <a:ext cx="2138727" cy="707886"/>
          </a:xfrm>
          <a:prstGeom prst="rect">
            <a:avLst/>
          </a:prstGeom>
        </p:spPr>
        <p:txBody>
          <a:bodyPr wrap="none">
            <a:spAutoFit/>
          </a:bodyPr>
          <a:lstStyle/>
          <a:p>
            <a:r>
              <a:rPr lang="en-US" sz="4000" b="1" dirty="0" smtClean="0">
                <a:solidFill>
                  <a:srgbClr val="C00000"/>
                </a:solidFill>
                <a:effectLst>
                  <a:outerShdw blurRad="38100" dist="38100" dir="2700000" algn="tl">
                    <a:srgbClr val="000000">
                      <a:alpha val="43137"/>
                    </a:srgbClr>
                  </a:outerShdw>
                </a:effectLst>
                <a:latin typeface="Mistral" pitchFamily="66" charset="0"/>
                <a:cs typeface="AngsanaUPC" pitchFamily="18" charset="-34"/>
              </a:rPr>
              <a:t>A</a:t>
            </a:r>
            <a:r>
              <a:rPr lang="en-US" sz="4000" b="1" dirty="0" smtClean="0">
                <a:solidFill>
                  <a:prstClr val="black"/>
                </a:solidFill>
                <a:effectLst>
                  <a:outerShdw blurRad="38100" dist="38100" dir="2700000" algn="tl">
                    <a:srgbClr val="000000">
                      <a:alpha val="43137"/>
                    </a:srgbClr>
                  </a:outerShdw>
                </a:effectLst>
                <a:latin typeface="Mistral" pitchFamily="66" charset="0"/>
                <a:cs typeface="AngsanaUPC" pitchFamily="18" charset="-34"/>
              </a:rPr>
              <a:t>chievement</a:t>
            </a:r>
            <a:endParaRPr lang="th-TH" sz="4000" b="1" dirty="0">
              <a:solidFill>
                <a:srgbClr val="FFFF00"/>
              </a:solidFill>
              <a:effectLst>
                <a:outerShdw blurRad="38100" dist="38100" dir="2700000" algn="tl">
                  <a:srgbClr val="000000">
                    <a:alpha val="43137"/>
                  </a:srgbClr>
                </a:outerShdw>
              </a:effectLst>
              <a:latin typeface="Mistral" pitchFamily="66" charset="0"/>
              <a:cs typeface="AngsanaUPC" pitchFamily="18" charset="-34"/>
            </a:endParaRPr>
          </a:p>
        </p:txBody>
      </p:sp>
      <p:sp>
        <p:nvSpPr>
          <p:cNvPr id="12" name="Rectangle 11"/>
          <p:cNvSpPr/>
          <p:nvPr/>
        </p:nvSpPr>
        <p:spPr>
          <a:xfrm>
            <a:off x="2123728" y="3396957"/>
            <a:ext cx="2316660" cy="707886"/>
          </a:xfrm>
          <a:prstGeom prst="rect">
            <a:avLst/>
          </a:prstGeom>
        </p:spPr>
        <p:txBody>
          <a:bodyPr wrap="none">
            <a:spAutoFit/>
          </a:bodyPr>
          <a:lstStyle/>
          <a:p>
            <a:r>
              <a:rPr lang="en-US" sz="4000" b="1" dirty="0" smtClean="0">
                <a:solidFill>
                  <a:srgbClr val="C00000"/>
                </a:solidFill>
                <a:effectLst>
                  <a:outerShdw blurRad="38100" dist="38100" dir="2700000" algn="tl">
                    <a:srgbClr val="000000">
                      <a:alpha val="43137"/>
                    </a:srgbClr>
                  </a:outerShdw>
                </a:effectLst>
                <a:latin typeface="Mistral" pitchFamily="66" charset="0"/>
                <a:cs typeface="AngsanaUPC" pitchFamily="18" charset="-34"/>
              </a:rPr>
              <a:t>E</a:t>
            </a:r>
            <a:r>
              <a:rPr lang="en-US" sz="4000" b="1" dirty="0" smtClean="0">
                <a:solidFill>
                  <a:prstClr val="black"/>
                </a:solidFill>
                <a:effectLst>
                  <a:outerShdw blurRad="38100" dist="38100" dir="2700000" algn="tl">
                    <a:srgbClr val="000000">
                      <a:alpha val="43137"/>
                    </a:srgbClr>
                  </a:outerShdw>
                </a:effectLst>
                <a:latin typeface="Mistral" pitchFamily="66" charset="0"/>
                <a:cs typeface="AngsanaUPC" pitchFamily="18" charset="-34"/>
              </a:rPr>
              <a:t>ffectiveness </a:t>
            </a:r>
            <a:endParaRPr lang="th-TH" sz="4000" b="1" dirty="0">
              <a:solidFill>
                <a:srgbClr val="FFFF00"/>
              </a:solidFill>
              <a:effectLst>
                <a:outerShdw blurRad="38100" dist="38100" dir="2700000" algn="tl">
                  <a:srgbClr val="000000">
                    <a:alpha val="43137"/>
                  </a:srgbClr>
                </a:outerShdw>
              </a:effectLst>
              <a:latin typeface="Mistral" pitchFamily="66" charset="0"/>
              <a:cs typeface="AngsanaUPC" pitchFamily="18" charset="-34"/>
            </a:endParaRPr>
          </a:p>
        </p:txBody>
      </p:sp>
      <p:sp>
        <p:nvSpPr>
          <p:cNvPr id="13" name="Rectangle 12"/>
          <p:cNvSpPr/>
          <p:nvPr/>
        </p:nvSpPr>
        <p:spPr>
          <a:xfrm>
            <a:off x="2123728" y="1929663"/>
            <a:ext cx="2018501" cy="707886"/>
          </a:xfrm>
          <a:prstGeom prst="rect">
            <a:avLst/>
          </a:prstGeom>
        </p:spPr>
        <p:txBody>
          <a:bodyPr wrap="none">
            <a:spAutoFit/>
          </a:bodyPr>
          <a:lstStyle/>
          <a:p>
            <a:r>
              <a:rPr lang="en-US" sz="4000" b="1" dirty="0" smtClean="0">
                <a:solidFill>
                  <a:srgbClr val="C00000"/>
                </a:solidFill>
                <a:effectLst>
                  <a:outerShdw blurRad="38100" dist="38100" dir="2700000" algn="tl">
                    <a:srgbClr val="000000">
                      <a:alpha val="43137"/>
                    </a:srgbClr>
                  </a:outerShdw>
                </a:effectLst>
                <a:latin typeface="Mistral" pitchFamily="66" charset="0"/>
                <a:cs typeface="AngsanaUPC" pitchFamily="18" charset="-34"/>
              </a:rPr>
              <a:t>I</a:t>
            </a:r>
            <a:r>
              <a:rPr lang="en-US" sz="4000" b="1" dirty="0" smtClean="0">
                <a:solidFill>
                  <a:prstClr val="black"/>
                </a:solidFill>
                <a:effectLst>
                  <a:outerShdw blurRad="38100" dist="38100" dir="2700000" algn="tl">
                    <a:srgbClr val="000000">
                      <a:alpha val="43137"/>
                    </a:srgbClr>
                  </a:outerShdw>
                </a:effectLst>
                <a:latin typeface="Mistral" pitchFamily="66" charset="0"/>
                <a:cs typeface="AngsanaUPC" pitchFamily="18" charset="-34"/>
              </a:rPr>
              <a:t>nnovation</a:t>
            </a:r>
            <a:endParaRPr lang="th-TH" sz="4000" b="1" dirty="0">
              <a:solidFill>
                <a:prstClr val="black"/>
              </a:solidFill>
              <a:effectLst>
                <a:outerShdw blurRad="38100" dist="38100" dir="2700000" algn="tl">
                  <a:srgbClr val="000000">
                    <a:alpha val="43137"/>
                  </a:srgbClr>
                </a:outerShdw>
              </a:effectLst>
              <a:latin typeface="Mistral" pitchFamily="66" charset="0"/>
              <a:cs typeface="AngsanaUPC" pitchFamily="18" charset="-34"/>
            </a:endParaRPr>
          </a:p>
        </p:txBody>
      </p:sp>
      <p:pic>
        <p:nvPicPr>
          <p:cNvPr id="71" name="Picture 7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648" y="301069"/>
            <a:ext cx="1686598" cy="2260714"/>
          </a:xfrm>
          <a:prstGeom prst="rect">
            <a:avLst/>
          </a:prstGeom>
        </p:spPr>
      </p:pic>
      <p:sp>
        <p:nvSpPr>
          <p:cNvPr id="72" name="TextBox 71"/>
          <p:cNvSpPr txBox="1"/>
          <p:nvPr/>
        </p:nvSpPr>
        <p:spPr>
          <a:xfrm>
            <a:off x="4510134" y="2634244"/>
            <a:ext cx="4608512" cy="733534"/>
          </a:xfrm>
          <a:prstGeom prst="rect">
            <a:avLst/>
          </a:prstGeom>
          <a:noFill/>
        </p:spPr>
        <p:txBody>
          <a:bodyPr wrap="square" rtlCol="0">
            <a:spAutoFit/>
          </a:bodyPr>
          <a:lstStyle/>
          <a:p>
            <a:pPr>
              <a:lnSpc>
                <a:spcPts val="5000"/>
              </a:lnSpc>
            </a:pPr>
            <a:r>
              <a:rPr lang="th-TH" sz="4000" b="1" dirty="0" smtClean="0">
                <a:solidFill>
                  <a:srgbClr val="FF0000"/>
                </a:solidFill>
                <a:effectLst>
                  <a:outerShdw blurRad="38100" dist="38100" dir="2700000" algn="tl">
                    <a:srgbClr val="000000">
                      <a:alpha val="43137"/>
                    </a:srgbClr>
                  </a:outerShdw>
                </a:effectLst>
                <a:latin typeface="TH NiramitIT๙ " pitchFamily="2" charset="-34"/>
                <a:cs typeface="TH NiramitIT๙ " pitchFamily="2" charset="-34"/>
              </a:rPr>
              <a:t>จากการกระตุ้น และผลักดัน</a:t>
            </a:r>
            <a:endParaRPr lang="th-TH" sz="4000" b="1" dirty="0">
              <a:solidFill>
                <a:srgbClr val="FF0000"/>
              </a:solidFill>
              <a:effectLst>
                <a:outerShdw blurRad="38100" dist="38100" dir="2700000" algn="tl">
                  <a:srgbClr val="000000">
                    <a:alpha val="43137"/>
                  </a:srgbClr>
                </a:outerShdw>
              </a:effectLst>
              <a:latin typeface="TH NiramitIT๙ " pitchFamily="2" charset="-34"/>
              <a:cs typeface="TH NiramitIT๙ " pitchFamily="2" charset="-34"/>
            </a:endParaRPr>
          </a:p>
        </p:txBody>
      </p:sp>
      <p:sp>
        <p:nvSpPr>
          <p:cNvPr id="73" name="Rectangle 72"/>
          <p:cNvSpPr/>
          <p:nvPr/>
        </p:nvSpPr>
        <p:spPr>
          <a:xfrm>
            <a:off x="2346045" y="685041"/>
            <a:ext cx="5739071" cy="830997"/>
          </a:xfrm>
          <a:prstGeom prst="rect">
            <a:avLst/>
          </a:prstGeom>
        </p:spPr>
        <p:txBody>
          <a:bodyPr wrap="none">
            <a:spAutoFit/>
          </a:bodyPr>
          <a:lstStyle/>
          <a:p>
            <a:pPr algn="ctr"/>
            <a:r>
              <a:rPr lang="en-US" sz="4800" b="1" dirty="0" smtClean="0">
                <a:solidFill>
                  <a:srgbClr val="000099"/>
                </a:solidFill>
                <a:latin typeface="Mistral" pitchFamily="66" charset="0"/>
                <a:cs typeface="AngsanaUPC" pitchFamily="18" charset="-34"/>
              </a:rPr>
              <a:t>The Innovative Organization</a:t>
            </a:r>
            <a:endParaRPr lang="th-TH" sz="4800" b="1" dirty="0">
              <a:solidFill>
                <a:srgbClr val="000099"/>
              </a:solidFill>
              <a:latin typeface="Mistral" pitchFamily="66" charset="0"/>
              <a:cs typeface="AngsanaUPC" pitchFamily="18" charset="-34"/>
            </a:endParaRPr>
          </a:p>
        </p:txBody>
      </p:sp>
      <p:sp>
        <p:nvSpPr>
          <p:cNvPr id="74" name="TextBox 73"/>
          <p:cNvSpPr txBox="1"/>
          <p:nvPr/>
        </p:nvSpPr>
        <p:spPr>
          <a:xfrm>
            <a:off x="4510134" y="3396957"/>
            <a:ext cx="4608512" cy="733534"/>
          </a:xfrm>
          <a:prstGeom prst="rect">
            <a:avLst/>
          </a:prstGeom>
          <a:noFill/>
        </p:spPr>
        <p:txBody>
          <a:bodyPr wrap="square" rtlCol="0">
            <a:spAutoFit/>
          </a:bodyPr>
          <a:lstStyle/>
          <a:p>
            <a:pPr>
              <a:lnSpc>
                <a:spcPts val="5000"/>
              </a:lnSpc>
            </a:pPr>
            <a:r>
              <a:rPr lang="th-TH" sz="4000" b="1" dirty="0" smtClean="0">
                <a:solidFill>
                  <a:srgbClr val="FF0000"/>
                </a:solidFill>
                <a:effectLst>
                  <a:outerShdw blurRad="38100" dist="38100" dir="2700000" algn="tl">
                    <a:srgbClr val="000000">
                      <a:alpha val="43137"/>
                    </a:srgbClr>
                  </a:outerShdw>
                </a:effectLst>
                <a:latin typeface="TH NiramitIT๙ " pitchFamily="2" charset="-34"/>
                <a:cs typeface="TH NiramitIT๙ " pitchFamily="2" charset="-34"/>
              </a:rPr>
              <a:t>ให้เกิดผลอย่างแท้จริง</a:t>
            </a:r>
            <a:endParaRPr lang="th-TH" sz="4000" b="1" dirty="0">
              <a:solidFill>
                <a:srgbClr val="FF0000"/>
              </a:solidFill>
              <a:effectLst>
                <a:outerShdw blurRad="38100" dist="38100" dir="2700000" algn="tl">
                  <a:srgbClr val="000000">
                    <a:alpha val="43137"/>
                  </a:srgbClr>
                </a:outerShdw>
              </a:effectLst>
              <a:latin typeface="TH NiramitIT๙ " pitchFamily="2" charset="-34"/>
              <a:cs typeface="TH NiramitIT๙ " pitchFamily="2" charset="-34"/>
            </a:endParaRPr>
          </a:p>
        </p:txBody>
      </p:sp>
      <p:sp>
        <p:nvSpPr>
          <p:cNvPr id="75" name="TextBox 74"/>
          <p:cNvSpPr txBox="1"/>
          <p:nvPr/>
        </p:nvSpPr>
        <p:spPr>
          <a:xfrm>
            <a:off x="4510134" y="4089266"/>
            <a:ext cx="4608512" cy="733534"/>
          </a:xfrm>
          <a:prstGeom prst="rect">
            <a:avLst/>
          </a:prstGeom>
          <a:noFill/>
        </p:spPr>
        <p:txBody>
          <a:bodyPr wrap="square" rtlCol="0">
            <a:spAutoFit/>
          </a:bodyPr>
          <a:lstStyle/>
          <a:p>
            <a:pPr>
              <a:lnSpc>
                <a:spcPts val="5000"/>
              </a:lnSpc>
            </a:pPr>
            <a:r>
              <a:rPr lang="th-TH" sz="4000" b="1" dirty="0" smtClean="0">
                <a:solidFill>
                  <a:srgbClr val="FF0000"/>
                </a:solidFill>
                <a:effectLst>
                  <a:outerShdw blurRad="38100" dist="38100" dir="2700000" algn="tl">
                    <a:srgbClr val="000000">
                      <a:alpha val="43137"/>
                    </a:srgbClr>
                  </a:outerShdw>
                </a:effectLst>
                <a:latin typeface="TH NiramitIT๙ " pitchFamily="2" charset="-34"/>
                <a:cs typeface="TH NiramitIT๙ " pitchFamily="2" charset="-34"/>
              </a:rPr>
              <a:t>เพื่อบรรลุความสำเร็จ</a:t>
            </a:r>
            <a:endParaRPr lang="th-TH" sz="4000" b="1" dirty="0">
              <a:solidFill>
                <a:srgbClr val="FF0000"/>
              </a:solidFill>
              <a:effectLst>
                <a:outerShdw blurRad="38100" dist="38100" dir="2700000" algn="tl">
                  <a:srgbClr val="000000">
                    <a:alpha val="43137"/>
                  </a:srgbClr>
                </a:outerShdw>
              </a:effectLst>
              <a:latin typeface="TH NiramitIT๙ " pitchFamily="2" charset="-34"/>
              <a:cs typeface="TH NiramitIT๙ " pitchFamily="2" charset="-34"/>
            </a:endParaRPr>
          </a:p>
        </p:txBody>
      </p:sp>
      <p:sp>
        <p:nvSpPr>
          <p:cNvPr id="76" name="TextBox 75"/>
          <p:cNvSpPr txBox="1"/>
          <p:nvPr/>
        </p:nvSpPr>
        <p:spPr>
          <a:xfrm>
            <a:off x="4510134" y="4881354"/>
            <a:ext cx="4608512" cy="1374735"/>
          </a:xfrm>
          <a:prstGeom prst="rect">
            <a:avLst/>
          </a:prstGeom>
          <a:noFill/>
        </p:spPr>
        <p:txBody>
          <a:bodyPr wrap="square" rtlCol="0">
            <a:spAutoFit/>
          </a:bodyPr>
          <a:lstStyle/>
          <a:p>
            <a:pPr>
              <a:lnSpc>
                <a:spcPts val="5000"/>
              </a:lnSpc>
            </a:pPr>
            <a:r>
              <a:rPr lang="th-TH" sz="4000" b="1" dirty="0" smtClean="0">
                <a:solidFill>
                  <a:srgbClr val="FF0000"/>
                </a:solidFill>
                <a:effectLst>
                  <a:outerShdw blurRad="38100" dist="38100" dir="2700000" algn="tl">
                    <a:srgbClr val="000000">
                      <a:alpha val="43137"/>
                    </a:srgbClr>
                  </a:outerShdw>
                </a:effectLst>
                <a:latin typeface="TH NiramitIT๙ " pitchFamily="2" charset="-34"/>
                <a:cs typeface="TH NiramitIT๙ " pitchFamily="2" charset="-34"/>
              </a:rPr>
              <a:t>ภายใต้</a:t>
            </a:r>
            <a:r>
              <a:rPr lang="th-TH" sz="4000" b="1" dirty="0" smtClean="0">
                <a:solidFill>
                  <a:srgbClr val="000099"/>
                </a:solidFill>
                <a:effectLst>
                  <a:outerShdw blurRad="38100" dist="38100" dir="2700000" algn="tl">
                    <a:srgbClr val="000000">
                      <a:alpha val="43137"/>
                    </a:srgbClr>
                  </a:outerShdw>
                </a:effectLst>
                <a:latin typeface="TH NiramitIT๙ " pitchFamily="2" charset="-34"/>
                <a:cs typeface="TH NiramitIT๙ " pitchFamily="2" charset="-34"/>
              </a:rPr>
              <a:t>การสนับสนุนอย่างเต็มที่จาก</a:t>
            </a:r>
            <a:r>
              <a:rPr lang="th-TH" sz="4000" b="1" u="sng" dirty="0" smtClean="0">
                <a:solidFill>
                  <a:srgbClr val="FF0000"/>
                </a:solidFill>
                <a:effectLst>
                  <a:outerShdw blurRad="38100" dist="38100" dir="2700000" algn="tl">
                    <a:srgbClr val="000000">
                      <a:alpha val="43137"/>
                    </a:srgbClr>
                  </a:outerShdw>
                </a:effectLst>
                <a:latin typeface="TH NiramitIT๙ " pitchFamily="2" charset="-34"/>
                <a:cs typeface="TH NiramitIT๙ " pitchFamily="2" charset="-34"/>
              </a:rPr>
              <a:t>ผู้บริหาร</a:t>
            </a:r>
            <a:r>
              <a:rPr lang="th-TH" sz="4000" b="1" dirty="0" smtClean="0">
                <a:solidFill>
                  <a:srgbClr val="000099"/>
                </a:solidFill>
                <a:effectLst>
                  <a:outerShdw blurRad="38100" dist="38100" dir="2700000" algn="tl">
                    <a:srgbClr val="000000">
                      <a:alpha val="43137"/>
                    </a:srgbClr>
                  </a:outerShdw>
                </a:effectLst>
                <a:latin typeface="TH NiramitIT๙ " pitchFamily="2" charset="-34"/>
                <a:cs typeface="TH NiramitIT๙ " pitchFamily="2" charset="-34"/>
              </a:rPr>
              <a:t>ทุกคน</a:t>
            </a:r>
            <a:endParaRPr lang="th-TH" sz="4000" b="1" dirty="0">
              <a:solidFill>
                <a:srgbClr val="000099"/>
              </a:solidFill>
              <a:effectLst>
                <a:outerShdw blurRad="38100" dist="38100" dir="2700000" algn="tl">
                  <a:srgbClr val="000000">
                    <a:alpha val="43137"/>
                  </a:srgbClr>
                </a:outerShdw>
              </a:effectLst>
              <a:latin typeface="TH NiramitIT๙ " pitchFamily="2" charset="-34"/>
              <a:cs typeface="TH NiramitIT๙ " pitchFamily="2" charset="-34"/>
            </a:endParaRPr>
          </a:p>
        </p:txBody>
      </p:sp>
      <p:sp>
        <p:nvSpPr>
          <p:cNvPr id="3" name="Rectangle 2"/>
          <p:cNvSpPr/>
          <p:nvPr/>
        </p:nvSpPr>
        <p:spPr>
          <a:xfrm>
            <a:off x="588952" y="868962"/>
            <a:ext cx="1317990" cy="523220"/>
          </a:xfrm>
          <a:prstGeom prst="rect">
            <a:avLst/>
          </a:prstGeom>
        </p:spPr>
        <p:txBody>
          <a:bodyPr wrap="none">
            <a:spAutoFit/>
          </a:bodyPr>
          <a:lstStyle/>
          <a:p>
            <a:r>
              <a:rPr lang="en-US" b="1" dirty="0">
                <a:solidFill>
                  <a:srgbClr val="C00000"/>
                </a:solidFill>
                <a:latin typeface="Mistral" pitchFamily="66" charset="0"/>
                <a:cs typeface="AngsanaUPC" pitchFamily="18" charset="-34"/>
              </a:rPr>
              <a:t>I D E A S </a:t>
            </a:r>
            <a:endParaRPr lang="th-TH" dirty="0"/>
          </a:p>
        </p:txBody>
      </p:sp>
    </p:spTree>
    <p:extLst>
      <p:ext uri="{BB962C8B-B14F-4D97-AF65-F5344CB8AC3E}">
        <p14:creationId xmlns:p14="http://schemas.microsoft.com/office/powerpoint/2010/main" val="10759686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78"/>
                                        </p:tgtEl>
                                        <p:attrNameLst>
                                          <p:attrName>style.visibility</p:attrName>
                                        </p:attrNameLst>
                                      </p:cBhvr>
                                      <p:to>
                                        <p:strVal val="visible"/>
                                      </p:to>
                                    </p:set>
                                    <p:animEffect transition="in" filter="wipe(up)">
                                      <p:cBhvr>
                                        <p:cTn id="11" dur="500"/>
                                        <p:tgtEl>
                                          <p:spTgt spid="78"/>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80"/>
                                        </p:tgtEl>
                                        <p:attrNameLst>
                                          <p:attrName>style.visibility</p:attrName>
                                        </p:attrNameLst>
                                      </p:cBhvr>
                                      <p:to>
                                        <p:strVal val="visible"/>
                                      </p:to>
                                    </p:set>
                                    <p:animEffect transition="in" filter="wipe(up)">
                                      <p:cBhvr>
                                        <p:cTn id="15" dur="500"/>
                                        <p:tgtEl>
                                          <p:spTgt spid="80"/>
                                        </p:tgtEl>
                                      </p:cBhvr>
                                    </p:animEffect>
                                  </p:childTnLst>
                                </p:cTn>
                              </p:par>
                            </p:childTnLst>
                          </p:cTn>
                        </p:par>
                        <p:par>
                          <p:cTn id="16" fill="hold">
                            <p:stCondLst>
                              <p:cond delay="1500"/>
                            </p:stCondLst>
                            <p:childTnLst>
                              <p:par>
                                <p:cTn id="17" presetID="22" presetClass="entr" presetSubtype="1" fill="hold" grpId="0" nodeType="afterEffect">
                                  <p:stCondLst>
                                    <p:cond delay="0"/>
                                  </p:stCondLst>
                                  <p:childTnLst>
                                    <p:set>
                                      <p:cBhvr>
                                        <p:cTn id="18" dur="1" fill="hold">
                                          <p:stCondLst>
                                            <p:cond delay="0"/>
                                          </p:stCondLst>
                                        </p:cTn>
                                        <p:tgtEl>
                                          <p:spTgt spid="79"/>
                                        </p:tgtEl>
                                        <p:attrNameLst>
                                          <p:attrName>style.visibility</p:attrName>
                                        </p:attrNameLst>
                                      </p:cBhvr>
                                      <p:to>
                                        <p:strVal val="visible"/>
                                      </p:to>
                                    </p:set>
                                    <p:animEffect transition="in" filter="wipe(up)">
                                      <p:cBhvr>
                                        <p:cTn id="19" dur="500"/>
                                        <p:tgtEl>
                                          <p:spTgt spid="79"/>
                                        </p:tgtEl>
                                      </p:cBhvr>
                                    </p:animEffect>
                                  </p:childTnLst>
                                </p:cTn>
                              </p:par>
                            </p:childTnLst>
                          </p:cTn>
                        </p:par>
                        <p:par>
                          <p:cTn id="20" fill="hold">
                            <p:stCondLst>
                              <p:cond delay="2000"/>
                            </p:stCondLst>
                            <p:childTnLst>
                              <p:par>
                                <p:cTn id="21" presetID="22" presetClass="entr" presetSubtype="1" fill="hold" grpId="0" nodeType="afterEffect">
                                  <p:stCondLst>
                                    <p:cond delay="0"/>
                                  </p:stCondLst>
                                  <p:childTnLst>
                                    <p:set>
                                      <p:cBhvr>
                                        <p:cTn id="22" dur="1" fill="hold">
                                          <p:stCondLst>
                                            <p:cond delay="0"/>
                                          </p:stCondLst>
                                        </p:cTn>
                                        <p:tgtEl>
                                          <p:spTgt spid="77"/>
                                        </p:tgtEl>
                                        <p:attrNameLst>
                                          <p:attrName>style.visibility</p:attrName>
                                        </p:attrNameLst>
                                      </p:cBhvr>
                                      <p:to>
                                        <p:strVal val="visible"/>
                                      </p:to>
                                    </p:set>
                                    <p:animEffect transition="in" filter="wipe(up)">
                                      <p:cBhvr>
                                        <p:cTn id="23" dur="500"/>
                                        <p:tgtEl>
                                          <p:spTgt spid="77"/>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grpId="0" nodeType="click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wipe(left)">
                                      <p:cBhvr>
                                        <p:cTn id="28" dur="1000"/>
                                        <p:tgtEl>
                                          <p:spTgt spid="13"/>
                                        </p:tgtEl>
                                      </p:cBhvr>
                                    </p:animEffect>
                                  </p:childTnLst>
                                </p:cTn>
                              </p:par>
                            </p:childTnLst>
                          </p:cTn>
                        </p:par>
                        <p:par>
                          <p:cTn id="29" fill="hold">
                            <p:stCondLst>
                              <p:cond delay="1000"/>
                            </p:stCondLst>
                            <p:childTnLst>
                              <p:par>
                                <p:cTn id="30" presetID="22" presetClass="entr" presetSubtype="8" fill="hold" grpId="0" nodeType="after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wipe(left)">
                                      <p:cBhvr>
                                        <p:cTn id="32" dur="1000"/>
                                        <p:tgtEl>
                                          <p:spTgt spid="27"/>
                                        </p:tgtEl>
                                      </p:cBhvr>
                                    </p:animEffect>
                                  </p:childTnLst>
                                </p:cTn>
                              </p:par>
                            </p:childTnLst>
                          </p:cTn>
                        </p:par>
                        <p:par>
                          <p:cTn id="33" fill="hold">
                            <p:stCondLst>
                              <p:cond delay="2000"/>
                            </p:stCondLst>
                            <p:childTnLst>
                              <p:par>
                                <p:cTn id="34" presetID="22" presetClass="entr" presetSubtype="8" fill="hold" grpId="0" nodeType="after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wipe(left)">
                                      <p:cBhvr>
                                        <p:cTn id="36" dur="1000"/>
                                        <p:tgtEl>
                                          <p:spTgt spid="10"/>
                                        </p:tgtEl>
                                      </p:cBhvr>
                                    </p:animEffect>
                                  </p:childTnLst>
                                </p:cTn>
                              </p:par>
                            </p:childTnLst>
                          </p:cTn>
                        </p:par>
                        <p:par>
                          <p:cTn id="37" fill="hold">
                            <p:stCondLst>
                              <p:cond delay="3000"/>
                            </p:stCondLst>
                            <p:childTnLst>
                              <p:par>
                                <p:cTn id="38" presetID="22" presetClass="entr" presetSubtype="8" fill="hold" grpId="0" nodeType="afterEffect">
                                  <p:stCondLst>
                                    <p:cond delay="0"/>
                                  </p:stCondLst>
                                  <p:childTnLst>
                                    <p:set>
                                      <p:cBhvr>
                                        <p:cTn id="39" dur="1" fill="hold">
                                          <p:stCondLst>
                                            <p:cond delay="0"/>
                                          </p:stCondLst>
                                        </p:cTn>
                                        <p:tgtEl>
                                          <p:spTgt spid="72"/>
                                        </p:tgtEl>
                                        <p:attrNameLst>
                                          <p:attrName>style.visibility</p:attrName>
                                        </p:attrNameLst>
                                      </p:cBhvr>
                                      <p:to>
                                        <p:strVal val="visible"/>
                                      </p:to>
                                    </p:set>
                                    <p:animEffect transition="in" filter="wipe(left)">
                                      <p:cBhvr>
                                        <p:cTn id="40" dur="1000"/>
                                        <p:tgtEl>
                                          <p:spTgt spid="72"/>
                                        </p:tgtEl>
                                      </p:cBhvr>
                                    </p:animEffect>
                                  </p:childTnLst>
                                </p:cTn>
                              </p:par>
                            </p:childTnLst>
                          </p:cTn>
                        </p:par>
                        <p:par>
                          <p:cTn id="41" fill="hold">
                            <p:stCondLst>
                              <p:cond delay="4000"/>
                            </p:stCondLst>
                            <p:childTnLst>
                              <p:par>
                                <p:cTn id="42" presetID="22" presetClass="entr" presetSubtype="8" fill="hold" grpId="0" nodeType="after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wipe(left)">
                                      <p:cBhvr>
                                        <p:cTn id="44" dur="1000"/>
                                        <p:tgtEl>
                                          <p:spTgt spid="12"/>
                                        </p:tgtEl>
                                      </p:cBhvr>
                                    </p:animEffect>
                                  </p:childTnLst>
                                </p:cTn>
                              </p:par>
                            </p:childTnLst>
                          </p:cTn>
                        </p:par>
                        <p:par>
                          <p:cTn id="45" fill="hold">
                            <p:stCondLst>
                              <p:cond delay="5000"/>
                            </p:stCondLst>
                            <p:childTnLst>
                              <p:par>
                                <p:cTn id="46" presetID="22" presetClass="entr" presetSubtype="8" fill="hold" grpId="0" nodeType="afterEffect">
                                  <p:stCondLst>
                                    <p:cond delay="0"/>
                                  </p:stCondLst>
                                  <p:childTnLst>
                                    <p:set>
                                      <p:cBhvr>
                                        <p:cTn id="47" dur="1" fill="hold">
                                          <p:stCondLst>
                                            <p:cond delay="0"/>
                                          </p:stCondLst>
                                        </p:cTn>
                                        <p:tgtEl>
                                          <p:spTgt spid="74"/>
                                        </p:tgtEl>
                                        <p:attrNameLst>
                                          <p:attrName>style.visibility</p:attrName>
                                        </p:attrNameLst>
                                      </p:cBhvr>
                                      <p:to>
                                        <p:strVal val="visible"/>
                                      </p:to>
                                    </p:set>
                                    <p:animEffect transition="in" filter="wipe(left)">
                                      <p:cBhvr>
                                        <p:cTn id="48" dur="1000"/>
                                        <p:tgtEl>
                                          <p:spTgt spid="74"/>
                                        </p:tgtEl>
                                      </p:cBhvr>
                                    </p:animEffect>
                                  </p:childTnLst>
                                </p:cTn>
                              </p:par>
                            </p:childTnLst>
                          </p:cTn>
                        </p:par>
                        <p:par>
                          <p:cTn id="49" fill="hold">
                            <p:stCondLst>
                              <p:cond delay="6000"/>
                            </p:stCondLst>
                            <p:childTnLst>
                              <p:par>
                                <p:cTn id="50" presetID="22" presetClass="entr" presetSubtype="8" fill="hold" grpId="0" nodeType="afterEffect">
                                  <p:stCondLst>
                                    <p:cond delay="0"/>
                                  </p:stCondLst>
                                  <p:childTnLst>
                                    <p:set>
                                      <p:cBhvr>
                                        <p:cTn id="51" dur="1" fill="hold">
                                          <p:stCondLst>
                                            <p:cond delay="0"/>
                                          </p:stCondLst>
                                        </p:cTn>
                                        <p:tgtEl>
                                          <p:spTgt spid="11"/>
                                        </p:tgtEl>
                                        <p:attrNameLst>
                                          <p:attrName>style.visibility</p:attrName>
                                        </p:attrNameLst>
                                      </p:cBhvr>
                                      <p:to>
                                        <p:strVal val="visible"/>
                                      </p:to>
                                    </p:set>
                                    <p:animEffect transition="in" filter="wipe(left)">
                                      <p:cBhvr>
                                        <p:cTn id="52" dur="1000"/>
                                        <p:tgtEl>
                                          <p:spTgt spid="11"/>
                                        </p:tgtEl>
                                      </p:cBhvr>
                                    </p:animEffect>
                                  </p:childTnLst>
                                </p:cTn>
                              </p:par>
                            </p:childTnLst>
                          </p:cTn>
                        </p:par>
                        <p:par>
                          <p:cTn id="53" fill="hold">
                            <p:stCondLst>
                              <p:cond delay="7000"/>
                            </p:stCondLst>
                            <p:childTnLst>
                              <p:par>
                                <p:cTn id="54" presetID="22" presetClass="entr" presetSubtype="8" fill="hold" grpId="0" nodeType="afterEffect">
                                  <p:stCondLst>
                                    <p:cond delay="0"/>
                                  </p:stCondLst>
                                  <p:childTnLst>
                                    <p:set>
                                      <p:cBhvr>
                                        <p:cTn id="55" dur="1" fill="hold">
                                          <p:stCondLst>
                                            <p:cond delay="0"/>
                                          </p:stCondLst>
                                        </p:cTn>
                                        <p:tgtEl>
                                          <p:spTgt spid="75"/>
                                        </p:tgtEl>
                                        <p:attrNameLst>
                                          <p:attrName>style.visibility</p:attrName>
                                        </p:attrNameLst>
                                      </p:cBhvr>
                                      <p:to>
                                        <p:strVal val="visible"/>
                                      </p:to>
                                    </p:set>
                                    <p:animEffect transition="in" filter="wipe(left)">
                                      <p:cBhvr>
                                        <p:cTn id="56" dur="1000"/>
                                        <p:tgtEl>
                                          <p:spTgt spid="75"/>
                                        </p:tgtEl>
                                      </p:cBhvr>
                                    </p:animEffect>
                                  </p:childTnLst>
                                </p:cTn>
                              </p:par>
                            </p:childTnLst>
                          </p:cTn>
                        </p:par>
                        <p:par>
                          <p:cTn id="57" fill="hold">
                            <p:stCondLst>
                              <p:cond delay="8000"/>
                            </p:stCondLst>
                            <p:childTnLst>
                              <p:par>
                                <p:cTn id="58" presetID="22" presetClass="entr" presetSubtype="8" fill="hold" grpId="0" nodeType="afterEffect">
                                  <p:stCondLst>
                                    <p:cond delay="0"/>
                                  </p:stCondLst>
                                  <p:childTnLst>
                                    <p:set>
                                      <p:cBhvr>
                                        <p:cTn id="59" dur="1" fill="hold">
                                          <p:stCondLst>
                                            <p:cond delay="0"/>
                                          </p:stCondLst>
                                        </p:cTn>
                                        <p:tgtEl>
                                          <p:spTgt spid="9"/>
                                        </p:tgtEl>
                                        <p:attrNameLst>
                                          <p:attrName>style.visibility</p:attrName>
                                        </p:attrNameLst>
                                      </p:cBhvr>
                                      <p:to>
                                        <p:strVal val="visible"/>
                                      </p:to>
                                    </p:set>
                                    <p:animEffect transition="in" filter="wipe(left)">
                                      <p:cBhvr>
                                        <p:cTn id="60" dur="1000"/>
                                        <p:tgtEl>
                                          <p:spTgt spid="9"/>
                                        </p:tgtEl>
                                      </p:cBhvr>
                                    </p:animEffect>
                                  </p:childTnLst>
                                </p:cTn>
                              </p:par>
                            </p:childTnLst>
                          </p:cTn>
                        </p:par>
                        <p:par>
                          <p:cTn id="61" fill="hold">
                            <p:stCondLst>
                              <p:cond delay="9000"/>
                            </p:stCondLst>
                            <p:childTnLst>
                              <p:par>
                                <p:cTn id="62" presetID="22" presetClass="entr" presetSubtype="8" fill="hold" grpId="0" nodeType="afterEffect">
                                  <p:stCondLst>
                                    <p:cond delay="0"/>
                                  </p:stCondLst>
                                  <p:childTnLst>
                                    <p:set>
                                      <p:cBhvr>
                                        <p:cTn id="63" dur="1" fill="hold">
                                          <p:stCondLst>
                                            <p:cond delay="0"/>
                                          </p:stCondLst>
                                        </p:cTn>
                                        <p:tgtEl>
                                          <p:spTgt spid="76"/>
                                        </p:tgtEl>
                                        <p:attrNameLst>
                                          <p:attrName>style.visibility</p:attrName>
                                        </p:attrNameLst>
                                      </p:cBhvr>
                                      <p:to>
                                        <p:strVal val="visible"/>
                                      </p:to>
                                    </p:set>
                                    <p:animEffect transition="in" filter="wipe(left)">
                                      <p:cBhvr>
                                        <p:cTn id="64" dur="10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78" grpId="0"/>
      <p:bldP spid="79" grpId="0"/>
      <p:bldP spid="80" grpId="0"/>
      <p:bldP spid="81" grpId="0"/>
      <p:bldP spid="27" grpId="0"/>
      <p:bldP spid="9" grpId="0"/>
      <p:bldP spid="10" grpId="0"/>
      <p:bldP spid="11" grpId="0"/>
      <p:bldP spid="12" grpId="0"/>
      <p:bldP spid="13" grpId="0"/>
      <p:bldP spid="72" grpId="0"/>
      <p:bldP spid="74" grpId="0"/>
      <p:bldP spid="75" grpId="0"/>
      <p:bldP spid="76"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0" y="-157431"/>
            <a:ext cx="9144000" cy="7126941"/>
            <a:chOff x="0" y="-157431"/>
            <a:chExt cx="9144000" cy="7126941"/>
          </a:xfrm>
        </p:grpSpPr>
        <p:pic>
          <p:nvPicPr>
            <p:cNvPr id="5" name="Picture 4"/>
            <p:cNvPicPr>
              <a:picLocks noChangeAspect="1"/>
            </p:cNvPicPr>
            <p:nvPr/>
          </p:nvPicPr>
          <p:blipFill>
            <a:blip r:embed="rId3"/>
            <a:stretch>
              <a:fillRect/>
            </a:stretch>
          </p:blipFill>
          <p:spPr>
            <a:xfrm>
              <a:off x="0" y="-157431"/>
              <a:ext cx="9144000" cy="7126941"/>
            </a:xfrm>
            <a:prstGeom prst="rect">
              <a:avLst/>
            </a:prstGeom>
          </p:spPr>
        </p:pic>
        <p:pic>
          <p:nvPicPr>
            <p:cNvPr id="10246" name="Picture 6" descr="http://i245.photobucket.com/albums/gg78/Zom08/egg.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9804" y="3955448"/>
              <a:ext cx="2744479" cy="269346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017518741"/>
      </p:ext>
    </p:extLst>
  </p:cSld>
  <p:clrMapOvr>
    <a:masterClrMapping/>
  </p:clrMapOvr>
  <p:transition spd="slow">
    <p:split orient="vert"/>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4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400" y="-101027"/>
            <a:ext cx="2278720" cy="3142542"/>
          </a:xfrm>
          <a:prstGeom prst="rect">
            <a:avLst/>
          </a:prstGeom>
        </p:spPr>
      </p:pic>
      <p:grpSp>
        <p:nvGrpSpPr>
          <p:cNvPr id="38" name="Group 37"/>
          <p:cNvGrpSpPr/>
          <p:nvPr/>
        </p:nvGrpSpPr>
        <p:grpSpPr>
          <a:xfrm>
            <a:off x="25400" y="19050"/>
            <a:ext cx="9027160" cy="6781800"/>
            <a:chOff x="25400" y="25400"/>
            <a:chExt cx="9138684" cy="6781800"/>
          </a:xfrm>
        </p:grpSpPr>
        <p:sp>
          <p:nvSpPr>
            <p:cNvPr id="2" name="AutoShape 2"/>
            <p:cNvSpPr>
              <a:spLocks noChangeArrowheads="1"/>
            </p:cNvSpPr>
            <p:nvPr/>
          </p:nvSpPr>
          <p:spPr bwMode="auto">
            <a:xfrm>
              <a:off x="25400" y="25400"/>
              <a:ext cx="9138684" cy="6781800"/>
            </a:xfrm>
            <a:prstGeom prst="flowChartAlternateProcess">
              <a:avLst/>
            </a:prstGeom>
            <a:ln>
              <a:headEnd/>
              <a:tailEnd type="none" w="lg" len="lg"/>
            </a:ln>
          </p:spPr>
          <p:style>
            <a:lnRef idx="1">
              <a:schemeClr val="accent4"/>
            </a:lnRef>
            <a:fillRef idx="2">
              <a:schemeClr val="accent4"/>
            </a:fillRef>
            <a:effectRef idx="1">
              <a:schemeClr val="accent4"/>
            </a:effectRef>
            <a:fontRef idx="minor">
              <a:schemeClr val="dk1"/>
            </a:fontRef>
          </p:style>
          <p:txBody>
            <a:bodyPr wrap="none" anchor="ctr"/>
            <a:lstStyle/>
            <a:p>
              <a:endParaRPr lang="th-TH" sz="2800" dirty="0">
                <a:solidFill>
                  <a:prstClr val="white"/>
                </a:solidFill>
                <a:latin typeface="AngsanaUPC" panose="02020603050405020304" pitchFamily="18" charset="-34"/>
              </a:endParaRPr>
            </a:p>
          </p:txBody>
        </p:sp>
        <p:sp>
          <p:nvSpPr>
            <p:cNvPr id="3" name="AutoShape 3"/>
            <p:cNvSpPr>
              <a:spLocks noChangeArrowheads="1"/>
            </p:cNvSpPr>
            <p:nvPr/>
          </p:nvSpPr>
          <p:spPr bwMode="auto">
            <a:xfrm>
              <a:off x="2519363" y="115888"/>
              <a:ext cx="4105275" cy="863600"/>
            </a:xfrm>
            <a:prstGeom prst="flowChartAlternateProcess">
              <a:avLst/>
            </a:prstGeom>
            <a:ln>
              <a:headEnd/>
              <a:tailEnd type="none" w="lg" len="lg"/>
            </a:ln>
          </p:spPr>
          <p:style>
            <a:lnRef idx="0">
              <a:schemeClr val="accent4"/>
            </a:lnRef>
            <a:fillRef idx="3">
              <a:schemeClr val="accent4"/>
            </a:fillRef>
            <a:effectRef idx="3">
              <a:schemeClr val="accent4"/>
            </a:effectRef>
            <a:fontRef idx="minor">
              <a:schemeClr val="lt1"/>
            </a:fontRef>
          </p:style>
          <p:txBody>
            <a:bodyPr wrap="none" anchor="ctr"/>
            <a:lstStyle/>
            <a:p>
              <a:endParaRPr lang="th-TH" sz="2800" dirty="0">
                <a:solidFill>
                  <a:prstClr val="white"/>
                </a:solidFill>
                <a:latin typeface="AngsanaUPC" panose="02020603050405020304" pitchFamily="18" charset="-34"/>
              </a:endParaRPr>
            </a:p>
          </p:txBody>
        </p:sp>
        <p:sp>
          <p:nvSpPr>
            <p:cNvPr id="4" name="WordArt 4"/>
            <p:cNvSpPr>
              <a:spLocks noChangeArrowheads="1" noChangeShapeType="1" noTextEdit="1"/>
            </p:cNvSpPr>
            <p:nvPr/>
          </p:nvSpPr>
          <p:spPr bwMode="auto">
            <a:xfrm>
              <a:off x="2609516" y="180283"/>
              <a:ext cx="3945831" cy="698500"/>
            </a:xfrm>
            <a:prstGeom prst="rect">
              <a:avLst/>
            </a:prstGeom>
          </p:spPr>
          <p:txBody>
            <a:bodyPr wrap="none" fromWordArt="1">
              <a:prstTxWarp prst="textPlain">
                <a:avLst>
                  <a:gd name="adj" fmla="val 50000"/>
                </a:avLst>
              </a:prstTxWarp>
              <a:scene3d>
                <a:camera prst="orthographicFront"/>
                <a:lightRig rig="flat" dir="tl">
                  <a:rot lat="0" lon="0" rev="6600000"/>
                </a:lightRig>
              </a:scene3d>
              <a:sp3d extrusionH="25400" contourW="8890">
                <a:bevelT w="38100" h="31750"/>
                <a:contourClr>
                  <a:schemeClr val="accent2">
                    <a:shade val="75000"/>
                  </a:schemeClr>
                </a:contourClr>
              </a:sp3d>
            </a:bodyPr>
            <a:lstStyle/>
            <a:p>
              <a:r>
                <a:rPr lang="th-TH" sz="4800" b="1" kern="10" dirty="0">
                  <a:ln w="11430"/>
                  <a:gradFill>
                    <a:gsLst>
                      <a:gs pos="0">
                        <a:srgbClr val="CCAF0A">
                          <a:tint val="70000"/>
                          <a:satMod val="245000"/>
                        </a:srgbClr>
                      </a:gs>
                      <a:gs pos="75000">
                        <a:srgbClr val="CCAF0A">
                          <a:tint val="90000"/>
                          <a:shade val="60000"/>
                          <a:satMod val="240000"/>
                        </a:srgbClr>
                      </a:gs>
                      <a:gs pos="100000">
                        <a:srgbClr val="CCAF0A">
                          <a:tint val="100000"/>
                          <a:shade val="50000"/>
                          <a:satMod val="240000"/>
                        </a:srgbClr>
                      </a:gs>
                    </a:gsLst>
                    <a:lin ang="5400000"/>
                  </a:gradFill>
                  <a:effectLst>
                    <a:outerShdw blurRad="50800" dist="39000" dir="5460000" algn="tl">
                      <a:srgbClr val="000000">
                        <a:alpha val="38000"/>
                      </a:srgbClr>
                    </a:outerShdw>
                  </a:effectLst>
                  <a:latin typeface="LilyUPC"/>
                </a:rPr>
                <a:t>แตกต่าง อย่างโดดเด่น</a:t>
              </a:r>
            </a:p>
          </p:txBody>
        </p:sp>
        <p:sp>
          <p:nvSpPr>
            <p:cNvPr id="10" name="Rounded Rectangle 9"/>
            <p:cNvSpPr/>
            <p:nvPr/>
          </p:nvSpPr>
          <p:spPr>
            <a:xfrm>
              <a:off x="52248" y="1071392"/>
              <a:ext cx="9029618" cy="1109663"/>
            </a:xfrm>
            <a:prstGeom prst="roundRect">
              <a:avLst/>
            </a:prstGeom>
            <a:solidFill>
              <a:schemeClr val="bg1"/>
            </a:solidFill>
          </p:spPr>
          <p:style>
            <a:lnRef idx="1">
              <a:schemeClr val="accent5"/>
            </a:lnRef>
            <a:fillRef idx="3">
              <a:schemeClr val="accent5"/>
            </a:fillRef>
            <a:effectRef idx="2">
              <a:schemeClr val="accent5"/>
            </a:effectRef>
            <a:fontRef idx="minor">
              <a:schemeClr val="lt1"/>
            </a:fontRef>
          </p:style>
          <p:txBody>
            <a:bodyPr rtlCol="0" anchor="ctr"/>
            <a:lstStyle/>
            <a:p>
              <a:pPr algn="ctr"/>
              <a:endParaRPr lang="th-TH" sz="2800" dirty="0">
                <a:solidFill>
                  <a:prstClr val="white"/>
                </a:solidFill>
                <a:latin typeface="AngsanaUPC" panose="02020603050405020304" pitchFamily="18" charset="-34"/>
              </a:endParaRPr>
            </a:p>
          </p:txBody>
        </p:sp>
        <p:pic>
          <p:nvPicPr>
            <p:cNvPr id="40" name="Picture 39" descr="KMUTT.png"/>
            <p:cNvPicPr>
              <a:picLocks noChangeAspect="1"/>
            </p:cNvPicPr>
            <p:nvPr/>
          </p:nvPicPr>
          <p:blipFill>
            <a:blip r:embed="rId4" cstate="print"/>
            <a:stretch>
              <a:fillRect/>
            </a:stretch>
          </p:blipFill>
          <p:spPr>
            <a:xfrm>
              <a:off x="66066" y="1071546"/>
              <a:ext cx="934947" cy="1131172"/>
            </a:xfrm>
            <a:prstGeom prst="rect">
              <a:avLst/>
            </a:prstGeom>
          </p:spPr>
        </p:pic>
      </p:grpSp>
      <p:grpSp>
        <p:nvGrpSpPr>
          <p:cNvPr id="11" name="Group 10"/>
          <p:cNvGrpSpPr/>
          <p:nvPr/>
        </p:nvGrpSpPr>
        <p:grpSpPr>
          <a:xfrm>
            <a:off x="6071949" y="1103524"/>
            <a:ext cx="3201498" cy="1171125"/>
            <a:chOff x="96238" y="1049730"/>
            <a:chExt cx="3201498" cy="1171125"/>
          </a:xfrm>
        </p:grpSpPr>
        <p:pic>
          <p:nvPicPr>
            <p:cNvPr id="12" name="Picture 11" descr="ใบไม้.png"/>
            <p:cNvPicPr>
              <a:picLocks noChangeAspect="1"/>
            </p:cNvPicPr>
            <p:nvPr/>
          </p:nvPicPr>
          <p:blipFill>
            <a:blip r:embed="rId5" cstate="print">
              <a:duotone>
                <a:prstClr val="black"/>
                <a:srgbClr val="92D050">
                  <a:tint val="45000"/>
                  <a:satMod val="400000"/>
                </a:srgbClr>
              </a:duotone>
            </a:blip>
            <a:stretch>
              <a:fillRect/>
            </a:stretch>
          </p:blipFill>
          <p:spPr>
            <a:xfrm rot="16616785">
              <a:off x="1405196" y="328315"/>
              <a:ext cx="1171125" cy="2613955"/>
            </a:xfrm>
            <a:prstGeom prst="rect">
              <a:avLst/>
            </a:prstGeom>
            <a:scene3d>
              <a:camera prst="isometricLeftDown"/>
              <a:lightRig rig="threePt" dir="t"/>
            </a:scene3d>
            <a:sp3d>
              <a:bevelT/>
            </a:sp3d>
          </p:spPr>
        </p:pic>
        <p:pic>
          <p:nvPicPr>
            <p:cNvPr id="13" name="Picture 12" descr="rice1.png"/>
            <p:cNvPicPr>
              <a:picLocks noChangeAspect="1"/>
            </p:cNvPicPr>
            <p:nvPr/>
          </p:nvPicPr>
          <p:blipFill>
            <a:blip r:embed="rId6" cstate="print"/>
            <a:stretch>
              <a:fillRect/>
            </a:stretch>
          </p:blipFill>
          <p:spPr>
            <a:xfrm rot="16200000">
              <a:off x="1371171" y="1343607"/>
              <a:ext cx="113997" cy="444189"/>
            </a:xfrm>
            <a:prstGeom prst="rect">
              <a:avLst/>
            </a:prstGeom>
          </p:spPr>
        </p:pic>
        <p:pic>
          <p:nvPicPr>
            <p:cNvPr id="14" name="Picture 2" descr="F:\Pictures\Ants\ant_fire.jpg"/>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rot="601750">
              <a:off x="96238" y="1153407"/>
              <a:ext cx="1243458" cy="614305"/>
            </a:xfrm>
            <a:prstGeom prst="rect">
              <a:avLst/>
            </a:prstGeom>
            <a:noFill/>
          </p:spPr>
        </p:pic>
        <p:pic>
          <p:nvPicPr>
            <p:cNvPr id="15" name="Picture 14" descr="rice1.png"/>
            <p:cNvPicPr>
              <a:picLocks noChangeAspect="1"/>
            </p:cNvPicPr>
            <p:nvPr/>
          </p:nvPicPr>
          <p:blipFill>
            <a:blip r:embed="rId6" cstate="print"/>
            <a:stretch>
              <a:fillRect/>
            </a:stretch>
          </p:blipFill>
          <p:spPr>
            <a:xfrm rot="15892418">
              <a:off x="1881273" y="1250994"/>
              <a:ext cx="113997" cy="444189"/>
            </a:xfrm>
            <a:prstGeom prst="rect">
              <a:avLst/>
            </a:prstGeom>
          </p:spPr>
        </p:pic>
        <p:pic>
          <p:nvPicPr>
            <p:cNvPr id="16" name="Picture 15" descr="rice1.png"/>
            <p:cNvPicPr>
              <a:picLocks noChangeAspect="1"/>
            </p:cNvPicPr>
            <p:nvPr/>
          </p:nvPicPr>
          <p:blipFill>
            <a:blip r:embed="rId6" cstate="print"/>
            <a:stretch>
              <a:fillRect/>
            </a:stretch>
          </p:blipFill>
          <p:spPr>
            <a:xfrm rot="17666388">
              <a:off x="1719457" y="1338136"/>
              <a:ext cx="113997" cy="444189"/>
            </a:xfrm>
            <a:prstGeom prst="rect">
              <a:avLst/>
            </a:prstGeom>
          </p:spPr>
        </p:pic>
        <p:pic>
          <p:nvPicPr>
            <p:cNvPr id="17" name="Picture 16" descr="rice1.png"/>
            <p:cNvPicPr>
              <a:picLocks noChangeAspect="1"/>
            </p:cNvPicPr>
            <p:nvPr/>
          </p:nvPicPr>
          <p:blipFill>
            <a:blip r:embed="rId6" cstate="print"/>
            <a:stretch>
              <a:fillRect/>
            </a:stretch>
          </p:blipFill>
          <p:spPr>
            <a:xfrm rot="16845826">
              <a:off x="1658552" y="1441082"/>
              <a:ext cx="113997" cy="444189"/>
            </a:xfrm>
            <a:prstGeom prst="rect">
              <a:avLst/>
            </a:prstGeom>
          </p:spPr>
        </p:pic>
        <p:pic>
          <p:nvPicPr>
            <p:cNvPr id="18" name="Picture 17" descr="rice1.png"/>
            <p:cNvPicPr>
              <a:picLocks noChangeAspect="1"/>
            </p:cNvPicPr>
            <p:nvPr/>
          </p:nvPicPr>
          <p:blipFill>
            <a:blip r:embed="rId6" cstate="print"/>
            <a:stretch>
              <a:fillRect/>
            </a:stretch>
          </p:blipFill>
          <p:spPr>
            <a:xfrm rot="17802566">
              <a:off x="2097050" y="1518954"/>
              <a:ext cx="113997" cy="444189"/>
            </a:xfrm>
            <a:prstGeom prst="rect">
              <a:avLst/>
            </a:prstGeom>
          </p:spPr>
        </p:pic>
        <p:pic>
          <p:nvPicPr>
            <p:cNvPr id="19" name="Picture 18" descr="KMUTT.png"/>
            <p:cNvPicPr>
              <a:picLocks noChangeAspect="1"/>
            </p:cNvPicPr>
            <p:nvPr/>
          </p:nvPicPr>
          <p:blipFill>
            <a:blip r:embed="rId4" cstate="print">
              <a:duotone>
                <a:prstClr val="black"/>
                <a:srgbClr val="00B050">
                  <a:tint val="45000"/>
                  <a:satMod val="400000"/>
                </a:srgbClr>
              </a:duotone>
            </a:blip>
            <a:stretch>
              <a:fillRect/>
            </a:stretch>
          </p:blipFill>
          <p:spPr>
            <a:xfrm rot="19996498">
              <a:off x="2006823" y="1278235"/>
              <a:ext cx="634900" cy="768151"/>
            </a:xfrm>
            <a:prstGeom prst="rect">
              <a:avLst/>
            </a:prstGeom>
          </p:spPr>
        </p:pic>
        <p:pic>
          <p:nvPicPr>
            <p:cNvPr id="20" name="Picture 19" descr="rice1.png"/>
            <p:cNvPicPr>
              <a:picLocks noChangeAspect="1"/>
            </p:cNvPicPr>
            <p:nvPr/>
          </p:nvPicPr>
          <p:blipFill>
            <a:blip r:embed="rId6" cstate="print"/>
            <a:stretch>
              <a:fillRect/>
            </a:stretch>
          </p:blipFill>
          <p:spPr>
            <a:xfrm rot="17546281">
              <a:off x="1493679" y="1538557"/>
              <a:ext cx="113997" cy="444189"/>
            </a:xfrm>
            <a:prstGeom prst="rect">
              <a:avLst/>
            </a:prstGeom>
          </p:spPr>
        </p:pic>
        <p:pic>
          <p:nvPicPr>
            <p:cNvPr id="21" name="Picture 20" descr="rice1.png"/>
            <p:cNvPicPr>
              <a:picLocks noChangeAspect="1"/>
            </p:cNvPicPr>
            <p:nvPr/>
          </p:nvPicPr>
          <p:blipFill>
            <a:blip r:embed="rId6" cstate="print"/>
            <a:stretch>
              <a:fillRect/>
            </a:stretch>
          </p:blipFill>
          <p:spPr>
            <a:xfrm rot="16553565">
              <a:off x="1873034" y="1596512"/>
              <a:ext cx="113997" cy="444189"/>
            </a:xfrm>
            <a:prstGeom prst="rect">
              <a:avLst/>
            </a:prstGeom>
          </p:spPr>
        </p:pic>
      </p:grpSp>
      <p:grpSp>
        <p:nvGrpSpPr>
          <p:cNvPr id="22" name="Group 21"/>
          <p:cNvGrpSpPr/>
          <p:nvPr/>
        </p:nvGrpSpPr>
        <p:grpSpPr>
          <a:xfrm>
            <a:off x="1222035" y="1285860"/>
            <a:ext cx="4901748" cy="668463"/>
            <a:chOff x="3249033" y="1408368"/>
            <a:chExt cx="4901748" cy="668463"/>
          </a:xfrm>
        </p:grpSpPr>
        <p:grpSp>
          <p:nvGrpSpPr>
            <p:cNvPr id="23" name="Group 35"/>
            <p:cNvGrpSpPr/>
            <p:nvPr/>
          </p:nvGrpSpPr>
          <p:grpSpPr>
            <a:xfrm>
              <a:off x="4233122" y="1416450"/>
              <a:ext cx="968896" cy="660381"/>
              <a:chOff x="3488189" y="1408368"/>
              <a:chExt cx="968896" cy="660381"/>
            </a:xfrm>
          </p:grpSpPr>
          <p:pic>
            <p:nvPicPr>
              <p:cNvPr id="36" name="Picture 33" descr="ant1.png"/>
              <p:cNvPicPr>
                <a:picLocks noChangeAspect="1"/>
              </p:cNvPicPr>
              <p:nvPr/>
            </p:nvPicPr>
            <p:blipFill>
              <a:blip r:embed="rId8" cstate="print"/>
              <a:stretch>
                <a:fillRect/>
              </a:stretch>
            </p:blipFill>
            <p:spPr>
              <a:xfrm>
                <a:off x="3488189" y="1416450"/>
                <a:ext cx="968896" cy="652299"/>
              </a:xfrm>
              <a:prstGeom prst="rect">
                <a:avLst/>
              </a:prstGeom>
            </p:spPr>
          </p:pic>
          <p:pic>
            <p:nvPicPr>
              <p:cNvPr id="37" name="Picture 34" descr="rice1.png"/>
              <p:cNvPicPr>
                <a:picLocks noChangeAspect="1"/>
              </p:cNvPicPr>
              <p:nvPr/>
            </p:nvPicPr>
            <p:blipFill>
              <a:blip r:embed="rId6" cstate="print"/>
              <a:stretch>
                <a:fillRect/>
              </a:stretch>
            </p:blipFill>
            <p:spPr>
              <a:xfrm rot="16893384">
                <a:off x="3888257" y="1243272"/>
                <a:ext cx="113997" cy="444189"/>
              </a:xfrm>
              <a:prstGeom prst="rect">
                <a:avLst/>
              </a:prstGeom>
            </p:spPr>
          </p:pic>
        </p:grpSp>
        <p:grpSp>
          <p:nvGrpSpPr>
            <p:cNvPr id="24" name="Group 49"/>
            <p:cNvGrpSpPr/>
            <p:nvPr/>
          </p:nvGrpSpPr>
          <p:grpSpPr>
            <a:xfrm>
              <a:off x="3249033" y="1408368"/>
              <a:ext cx="968896" cy="660381"/>
              <a:chOff x="3488189" y="1408368"/>
              <a:chExt cx="968896" cy="660381"/>
            </a:xfrm>
          </p:grpSpPr>
          <p:pic>
            <p:nvPicPr>
              <p:cNvPr id="34" name="Picture 33" descr="ant1.png"/>
              <p:cNvPicPr>
                <a:picLocks noChangeAspect="1"/>
              </p:cNvPicPr>
              <p:nvPr/>
            </p:nvPicPr>
            <p:blipFill>
              <a:blip r:embed="rId8" cstate="print"/>
              <a:stretch>
                <a:fillRect/>
              </a:stretch>
            </p:blipFill>
            <p:spPr>
              <a:xfrm>
                <a:off x="3488189" y="1416450"/>
                <a:ext cx="968896" cy="652299"/>
              </a:xfrm>
              <a:prstGeom prst="rect">
                <a:avLst/>
              </a:prstGeom>
            </p:spPr>
          </p:pic>
          <p:pic>
            <p:nvPicPr>
              <p:cNvPr id="35" name="Picture 34" descr="rice1.png"/>
              <p:cNvPicPr>
                <a:picLocks noChangeAspect="1"/>
              </p:cNvPicPr>
              <p:nvPr/>
            </p:nvPicPr>
            <p:blipFill>
              <a:blip r:embed="rId6" cstate="print"/>
              <a:stretch>
                <a:fillRect/>
              </a:stretch>
            </p:blipFill>
            <p:spPr>
              <a:xfrm rot="16893384">
                <a:off x="3888257" y="1243272"/>
                <a:ext cx="113997" cy="444189"/>
              </a:xfrm>
              <a:prstGeom prst="rect">
                <a:avLst/>
              </a:prstGeom>
            </p:spPr>
          </p:pic>
        </p:grpSp>
        <p:grpSp>
          <p:nvGrpSpPr>
            <p:cNvPr id="25" name="Group 40"/>
            <p:cNvGrpSpPr/>
            <p:nvPr/>
          </p:nvGrpSpPr>
          <p:grpSpPr>
            <a:xfrm>
              <a:off x="5187950" y="1416450"/>
              <a:ext cx="968896" cy="660381"/>
              <a:chOff x="3488189" y="1408368"/>
              <a:chExt cx="968896" cy="660381"/>
            </a:xfrm>
          </p:grpSpPr>
          <p:pic>
            <p:nvPicPr>
              <p:cNvPr id="32" name="Picture 31" descr="ant1.png"/>
              <p:cNvPicPr>
                <a:picLocks noChangeAspect="1"/>
              </p:cNvPicPr>
              <p:nvPr/>
            </p:nvPicPr>
            <p:blipFill>
              <a:blip r:embed="rId8" cstate="print"/>
              <a:stretch>
                <a:fillRect/>
              </a:stretch>
            </p:blipFill>
            <p:spPr>
              <a:xfrm>
                <a:off x="3488189" y="1416450"/>
                <a:ext cx="968896" cy="652299"/>
              </a:xfrm>
              <a:prstGeom prst="rect">
                <a:avLst/>
              </a:prstGeom>
            </p:spPr>
          </p:pic>
          <p:pic>
            <p:nvPicPr>
              <p:cNvPr id="33" name="Picture 32" descr="rice1.png"/>
              <p:cNvPicPr>
                <a:picLocks noChangeAspect="1"/>
              </p:cNvPicPr>
              <p:nvPr/>
            </p:nvPicPr>
            <p:blipFill>
              <a:blip r:embed="rId6" cstate="print"/>
              <a:stretch>
                <a:fillRect/>
              </a:stretch>
            </p:blipFill>
            <p:spPr>
              <a:xfrm rot="16893384">
                <a:off x="3888257" y="1243272"/>
                <a:ext cx="113997" cy="444189"/>
              </a:xfrm>
              <a:prstGeom prst="rect">
                <a:avLst/>
              </a:prstGeom>
            </p:spPr>
          </p:pic>
        </p:grpSp>
        <p:grpSp>
          <p:nvGrpSpPr>
            <p:cNvPr id="26" name="Group 43"/>
            <p:cNvGrpSpPr/>
            <p:nvPr/>
          </p:nvGrpSpPr>
          <p:grpSpPr>
            <a:xfrm>
              <a:off x="6191375" y="1416450"/>
              <a:ext cx="968896" cy="660381"/>
              <a:chOff x="3488189" y="1408368"/>
              <a:chExt cx="968896" cy="660381"/>
            </a:xfrm>
          </p:grpSpPr>
          <p:pic>
            <p:nvPicPr>
              <p:cNvPr id="30" name="Picture 29" descr="ant1.png"/>
              <p:cNvPicPr>
                <a:picLocks noChangeAspect="1"/>
              </p:cNvPicPr>
              <p:nvPr/>
            </p:nvPicPr>
            <p:blipFill>
              <a:blip r:embed="rId8" cstate="print"/>
              <a:stretch>
                <a:fillRect/>
              </a:stretch>
            </p:blipFill>
            <p:spPr>
              <a:xfrm>
                <a:off x="3488189" y="1416450"/>
                <a:ext cx="968896" cy="652299"/>
              </a:xfrm>
              <a:prstGeom prst="rect">
                <a:avLst/>
              </a:prstGeom>
            </p:spPr>
          </p:pic>
          <p:pic>
            <p:nvPicPr>
              <p:cNvPr id="31" name="Picture 30" descr="rice1.png"/>
              <p:cNvPicPr>
                <a:picLocks noChangeAspect="1"/>
              </p:cNvPicPr>
              <p:nvPr/>
            </p:nvPicPr>
            <p:blipFill>
              <a:blip r:embed="rId6" cstate="print"/>
              <a:stretch>
                <a:fillRect/>
              </a:stretch>
            </p:blipFill>
            <p:spPr>
              <a:xfrm rot="16893384">
                <a:off x="3888257" y="1243272"/>
                <a:ext cx="113997" cy="444189"/>
              </a:xfrm>
              <a:prstGeom prst="rect">
                <a:avLst/>
              </a:prstGeom>
            </p:spPr>
          </p:pic>
        </p:grpSp>
        <p:grpSp>
          <p:nvGrpSpPr>
            <p:cNvPr id="27" name="Group 46"/>
            <p:cNvGrpSpPr/>
            <p:nvPr/>
          </p:nvGrpSpPr>
          <p:grpSpPr>
            <a:xfrm>
              <a:off x="7181885" y="1416450"/>
              <a:ext cx="968896" cy="660381"/>
              <a:chOff x="3488189" y="1408368"/>
              <a:chExt cx="968896" cy="660381"/>
            </a:xfrm>
          </p:grpSpPr>
          <p:pic>
            <p:nvPicPr>
              <p:cNvPr id="28" name="Picture 27" descr="ant1.png"/>
              <p:cNvPicPr>
                <a:picLocks noChangeAspect="1"/>
              </p:cNvPicPr>
              <p:nvPr/>
            </p:nvPicPr>
            <p:blipFill>
              <a:blip r:embed="rId8" cstate="print"/>
              <a:stretch>
                <a:fillRect/>
              </a:stretch>
            </p:blipFill>
            <p:spPr>
              <a:xfrm>
                <a:off x="3488189" y="1416450"/>
                <a:ext cx="968896" cy="652299"/>
              </a:xfrm>
              <a:prstGeom prst="rect">
                <a:avLst/>
              </a:prstGeom>
            </p:spPr>
          </p:pic>
          <p:pic>
            <p:nvPicPr>
              <p:cNvPr id="29" name="Picture 28" descr="rice1.png"/>
              <p:cNvPicPr>
                <a:picLocks noChangeAspect="1"/>
              </p:cNvPicPr>
              <p:nvPr/>
            </p:nvPicPr>
            <p:blipFill>
              <a:blip r:embed="rId6" cstate="print"/>
              <a:stretch>
                <a:fillRect/>
              </a:stretch>
            </p:blipFill>
            <p:spPr>
              <a:xfrm rot="16893384">
                <a:off x="3888257" y="1243272"/>
                <a:ext cx="113997" cy="444189"/>
              </a:xfrm>
              <a:prstGeom prst="rect">
                <a:avLst/>
              </a:prstGeom>
            </p:spPr>
          </p:pic>
        </p:grpSp>
      </p:grpSp>
      <p:sp>
        <p:nvSpPr>
          <p:cNvPr id="39" name="Rectangle 38"/>
          <p:cNvSpPr/>
          <p:nvPr/>
        </p:nvSpPr>
        <p:spPr>
          <a:xfrm>
            <a:off x="7092280" y="6256089"/>
            <a:ext cx="1890261" cy="646331"/>
          </a:xfrm>
          <a:prstGeom prst="rect">
            <a:avLst/>
          </a:prstGeom>
        </p:spPr>
        <p:txBody>
          <a:bodyPr wrap="none">
            <a:spAutoFit/>
          </a:bodyPr>
          <a:lstStyle/>
          <a:p>
            <a:pPr fontAlgn="base">
              <a:spcBef>
                <a:spcPct val="0"/>
              </a:spcBef>
              <a:spcAft>
                <a:spcPct val="0"/>
              </a:spcAft>
            </a:pPr>
            <a:r>
              <a:rPr lang="th-TH" sz="3600" b="1" dirty="0">
                <a:solidFill>
                  <a:srgbClr val="FF0000"/>
                </a:solidFill>
                <a:effectLst>
                  <a:outerShdw blurRad="38100" dist="38100" dir="2700000" algn="tl">
                    <a:srgbClr val="000000">
                      <a:alpha val="43137"/>
                    </a:srgbClr>
                  </a:outerShdw>
                </a:effectLst>
                <a:latin typeface="Worasait" pitchFamily="2" charset="0"/>
                <a:cs typeface="Worasait" pitchFamily="2" charset="0"/>
              </a:rPr>
              <a:t>ขอบคุณครับ</a:t>
            </a:r>
            <a:endParaRPr lang="th-TH" sz="3600" b="1" dirty="0">
              <a:solidFill>
                <a:srgbClr val="FFFF00"/>
              </a:solidFill>
              <a:latin typeface="AngsanaUPC" pitchFamily="18" charset="-34"/>
              <a:cs typeface="AngsanaUPC" pitchFamily="18" charset="-34"/>
            </a:endParaRPr>
          </a:p>
        </p:txBody>
      </p:sp>
      <p:sp>
        <p:nvSpPr>
          <p:cNvPr id="43" name="Rectangle 5"/>
          <p:cNvSpPr>
            <a:spLocks noChangeArrowheads="1"/>
          </p:cNvSpPr>
          <p:nvPr/>
        </p:nvSpPr>
        <p:spPr bwMode="auto">
          <a:xfrm>
            <a:off x="107950" y="2388851"/>
            <a:ext cx="8964613" cy="4535487"/>
          </a:xfrm>
          <a:prstGeom prst="rect">
            <a:avLst/>
          </a:prstGeom>
          <a:noFill/>
          <a:ln w="9525">
            <a:noFill/>
            <a:miter lim="800000"/>
            <a:headEnd/>
            <a:tailEnd/>
          </a:ln>
          <a:effectLst/>
        </p:spPr>
        <p:txBody>
          <a:bodyPr lIns="92075" tIns="46038" rIns="92075" bIns="46038"/>
          <a:lstStyle/>
          <a:p>
            <a:pPr marL="342900" indent="-342900">
              <a:lnSpc>
                <a:spcPct val="90000"/>
              </a:lnSpc>
            </a:pPr>
            <a:r>
              <a:rPr lang="en-US" sz="2400" b="0" u="sng" dirty="0">
                <a:solidFill>
                  <a:srgbClr val="0070C0"/>
                </a:solidFill>
                <a:latin typeface="Tahoma" pitchFamily="34" charset="0"/>
                <a:cs typeface="Tahoma" pitchFamily="34" charset="0"/>
              </a:rPr>
              <a:t>THE ANT PHILOSOPHY</a:t>
            </a:r>
            <a:r>
              <a:rPr lang="en-US" sz="3200" b="0" dirty="0">
                <a:solidFill>
                  <a:srgbClr val="0070C0"/>
                </a:solidFill>
                <a:latin typeface="Tahoma" pitchFamily="34" charset="0"/>
                <a:cs typeface="Tahoma" pitchFamily="34" charset="0"/>
              </a:rPr>
              <a:t>	 </a:t>
            </a:r>
            <a:r>
              <a:rPr lang="en-US" sz="2000" b="0" dirty="0">
                <a:solidFill>
                  <a:srgbClr val="0070C0"/>
                </a:solidFill>
                <a:latin typeface="Tahoma" pitchFamily="34" charset="0"/>
                <a:cs typeface="Tahoma" pitchFamily="34" charset="0"/>
              </a:rPr>
              <a:t>by Jim </a:t>
            </a:r>
            <a:r>
              <a:rPr lang="en-US" sz="2000" b="0" dirty="0" err="1">
                <a:solidFill>
                  <a:srgbClr val="0070C0"/>
                </a:solidFill>
                <a:latin typeface="Tahoma" pitchFamily="34" charset="0"/>
                <a:cs typeface="Tahoma" pitchFamily="34" charset="0"/>
              </a:rPr>
              <a:t>Rohn</a:t>
            </a:r>
            <a:endParaRPr lang="en-US" sz="2000" b="0" dirty="0">
              <a:solidFill>
                <a:srgbClr val="0070C0"/>
              </a:solidFill>
              <a:latin typeface="Tahoma" pitchFamily="34" charset="0"/>
              <a:cs typeface="Tahoma" pitchFamily="34" charset="0"/>
            </a:endParaRPr>
          </a:p>
          <a:p>
            <a:pPr marL="342900" indent="-342900">
              <a:lnSpc>
                <a:spcPct val="90000"/>
              </a:lnSpc>
            </a:pPr>
            <a:endParaRPr lang="en-US" sz="2000" b="0" dirty="0">
              <a:solidFill>
                <a:srgbClr val="0070C0"/>
              </a:solidFill>
              <a:latin typeface="Tahoma" pitchFamily="34" charset="0"/>
              <a:cs typeface="Tahoma" pitchFamily="34" charset="0"/>
            </a:endParaRPr>
          </a:p>
          <a:p>
            <a:pPr marL="342900" indent="-342900">
              <a:lnSpc>
                <a:spcPct val="90000"/>
              </a:lnSpc>
            </a:pPr>
            <a:r>
              <a:rPr lang="en-US" sz="2000" b="0" dirty="0">
                <a:solidFill>
                  <a:srgbClr val="0070C0"/>
                </a:solidFill>
                <a:latin typeface="Tahoma" pitchFamily="34" charset="0"/>
                <a:cs typeface="Tahoma" pitchFamily="34" charset="0"/>
              </a:rPr>
              <a:t>ANTS NEVER QUIT  </a:t>
            </a:r>
            <a:endParaRPr lang="th-TH" sz="2000" b="0" dirty="0">
              <a:solidFill>
                <a:srgbClr val="0070C0"/>
              </a:solidFill>
              <a:latin typeface="Tahoma" pitchFamily="34" charset="0"/>
              <a:cs typeface="Tahoma" pitchFamily="34" charset="0"/>
            </a:endParaRPr>
          </a:p>
          <a:p>
            <a:pPr marL="342900" indent="-342900">
              <a:lnSpc>
                <a:spcPct val="90000"/>
              </a:lnSpc>
            </a:pPr>
            <a:r>
              <a:rPr lang="th-TH" sz="2000" b="0" dirty="0">
                <a:solidFill>
                  <a:srgbClr val="0070C0"/>
                </a:solidFill>
                <a:latin typeface="Tahoma" pitchFamily="34" charset="0"/>
                <a:cs typeface="Tahoma" pitchFamily="34" charset="0"/>
              </a:rPr>
              <a:t>	มดไม่เคยละความพยายาม</a:t>
            </a:r>
          </a:p>
          <a:p>
            <a:pPr marL="342900" indent="-342900">
              <a:lnSpc>
                <a:spcPct val="90000"/>
              </a:lnSpc>
            </a:pPr>
            <a:endParaRPr lang="th-TH" sz="2000" b="0" dirty="0">
              <a:solidFill>
                <a:srgbClr val="0070C0"/>
              </a:solidFill>
              <a:latin typeface="Tahoma" pitchFamily="34" charset="0"/>
              <a:cs typeface="Tahoma" pitchFamily="34" charset="0"/>
            </a:endParaRPr>
          </a:p>
          <a:p>
            <a:pPr marL="342900" indent="-342900">
              <a:lnSpc>
                <a:spcPct val="90000"/>
              </a:lnSpc>
            </a:pPr>
            <a:r>
              <a:rPr lang="en-US" sz="2000" b="0" dirty="0">
                <a:solidFill>
                  <a:srgbClr val="0070C0"/>
                </a:solidFill>
                <a:latin typeface="Tahoma" pitchFamily="34" charset="0"/>
                <a:cs typeface="Tahoma" pitchFamily="34" charset="0"/>
              </a:rPr>
              <a:t>ANTS THINK WINTER ALL SUMMER </a:t>
            </a:r>
            <a:endParaRPr lang="th-TH" sz="2000" b="0" dirty="0">
              <a:solidFill>
                <a:srgbClr val="0070C0"/>
              </a:solidFill>
              <a:latin typeface="Tahoma" pitchFamily="34" charset="0"/>
              <a:cs typeface="Tahoma" pitchFamily="34" charset="0"/>
            </a:endParaRPr>
          </a:p>
          <a:p>
            <a:pPr marL="342900" indent="-342900">
              <a:lnSpc>
                <a:spcPct val="90000"/>
              </a:lnSpc>
            </a:pPr>
            <a:r>
              <a:rPr lang="th-TH" sz="2000" b="0" dirty="0">
                <a:solidFill>
                  <a:srgbClr val="0070C0"/>
                </a:solidFill>
                <a:latin typeface="Tahoma" pitchFamily="34" charset="0"/>
                <a:cs typeface="Tahoma" pitchFamily="34" charset="0"/>
              </a:rPr>
              <a:t>	มดคิดถึงฤดูหนาวตลอดฤดูร้อน</a:t>
            </a:r>
          </a:p>
          <a:p>
            <a:pPr marL="342900" indent="-342900">
              <a:lnSpc>
                <a:spcPct val="90000"/>
              </a:lnSpc>
            </a:pPr>
            <a:endParaRPr lang="th-TH" sz="2000" b="0" dirty="0">
              <a:solidFill>
                <a:srgbClr val="0070C0"/>
              </a:solidFill>
              <a:latin typeface="Tahoma" pitchFamily="34" charset="0"/>
              <a:cs typeface="Tahoma" pitchFamily="34" charset="0"/>
            </a:endParaRPr>
          </a:p>
          <a:p>
            <a:pPr marL="342900" indent="-342900">
              <a:lnSpc>
                <a:spcPct val="90000"/>
              </a:lnSpc>
            </a:pPr>
            <a:r>
              <a:rPr lang="en-US" sz="2000" b="0" dirty="0">
                <a:solidFill>
                  <a:srgbClr val="0070C0"/>
                </a:solidFill>
                <a:latin typeface="Tahoma" pitchFamily="34" charset="0"/>
                <a:cs typeface="Tahoma" pitchFamily="34" charset="0"/>
              </a:rPr>
              <a:t>ANTS THINK SUMMER ALL WINTER </a:t>
            </a:r>
            <a:endParaRPr lang="th-TH" sz="2000" b="0" dirty="0">
              <a:solidFill>
                <a:srgbClr val="0070C0"/>
              </a:solidFill>
              <a:latin typeface="Tahoma" pitchFamily="34" charset="0"/>
              <a:cs typeface="Tahoma" pitchFamily="34" charset="0"/>
            </a:endParaRPr>
          </a:p>
          <a:p>
            <a:pPr marL="342900" indent="-342900">
              <a:lnSpc>
                <a:spcPct val="90000"/>
              </a:lnSpc>
            </a:pPr>
            <a:r>
              <a:rPr lang="th-TH" sz="2000" b="0" dirty="0">
                <a:solidFill>
                  <a:srgbClr val="0070C0"/>
                </a:solidFill>
                <a:latin typeface="Tahoma" pitchFamily="34" charset="0"/>
                <a:cs typeface="Tahoma" pitchFamily="34" charset="0"/>
              </a:rPr>
              <a:t>	มดคิดถึงฤดูร้อนตลอดฤดูหนาว</a:t>
            </a:r>
          </a:p>
          <a:p>
            <a:pPr marL="342900" indent="-342900">
              <a:lnSpc>
                <a:spcPct val="90000"/>
              </a:lnSpc>
            </a:pPr>
            <a:endParaRPr lang="th-TH" sz="2000" b="0" dirty="0">
              <a:solidFill>
                <a:srgbClr val="0070C0"/>
              </a:solidFill>
              <a:latin typeface="Tahoma" pitchFamily="34" charset="0"/>
              <a:cs typeface="Tahoma" pitchFamily="34" charset="0"/>
            </a:endParaRPr>
          </a:p>
          <a:p>
            <a:pPr marL="342900" indent="-342900">
              <a:lnSpc>
                <a:spcPct val="90000"/>
              </a:lnSpc>
            </a:pPr>
            <a:r>
              <a:rPr lang="en-US" sz="2000" b="0" dirty="0">
                <a:solidFill>
                  <a:srgbClr val="0070C0"/>
                </a:solidFill>
                <a:latin typeface="Tahoma" pitchFamily="34" charset="0"/>
                <a:cs typeface="Tahoma" pitchFamily="34" charset="0"/>
              </a:rPr>
              <a:t>ALL-THAT-THEY-POSSIBLY-CAN</a:t>
            </a:r>
          </a:p>
          <a:p>
            <a:pPr marL="342900" indent="-342900">
              <a:lnSpc>
                <a:spcPct val="90000"/>
              </a:lnSpc>
            </a:pPr>
            <a:r>
              <a:rPr lang="th-TH" sz="2000" b="0" dirty="0">
                <a:solidFill>
                  <a:srgbClr val="0070C0"/>
                </a:solidFill>
                <a:latin typeface="Tahoma" pitchFamily="34" charset="0"/>
                <a:cs typeface="Tahoma" pitchFamily="34" charset="0"/>
              </a:rPr>
              <a:t>	มดทุ่มเททุกสิ่งเท่าที่สามารถ</a:t>
            </a:r>
          </a:p>
        </p:txBody>
      </p:sp>
      <p:sp>
        <p:nvSpPr>
          <p:cNvPr id="44" name="Rectangle 43"/>
          <p:cNvSpPr/>
          <p:nvPr/>
        </p:nvSpPr>
        <p:spPr>
          <a:xfrm>
            <a:off x="3779912" y="3380412"/>
            <a:ext cx="5077874" cy="400110"/>
          </a:xfrm>
          <a:prstGeom prst="rect">
            <a:avLst/>
          </a:prstGeom>
        </p:spPr>
        <p:txBody>
          <a:bodyPr wrap="square">
            <a:spAutoFit/>
          </a:bodyPr>
          <a:lstStyle/>
          <a:p>
            <a:r>
              <a:rPr lang="th-TH" sz="2000" b="0" dirty="0">
                <a:solidFill>
                  <a:srgbClr val="FF0000"/>
                </a:solidFill>
                <a:effectLst>
                  <a:outerShdw blurRad="38100" dist="38100" dir="2700000" algn="tl">
                    <a:srgbClr val="000000">
                      <a:alpha val="43137"/>
                    </a:srgbClr>
                  </a:outerShdw>
                </a:effectLst>
                <a:latin typeface="Tahoma" pitchFamily="34" charset="0"/>
                <a:cs typeface="Tahoma" pitchFamily="34" charset="0"/>
              </a:rPr>
              <a:t>- ชาวบางมด  จะไม่ยอมท้อถอย ไม่จนต่อปัญหา</a:t>
            </a:r>
            <a:endParaRPr lang="th-TH" sz="2800" b="0" dirty="0">
              <a:solidFill>
                <a:srgbClr val="FF0000"/>
              </a:solidFill>
              <a:effectLst>
                <a:outerShdw blurRad="38100" dist="38100" dir="2700000" algn="tl">
                  <a:srgbClr val="000000">
                    <a:alpha val="43137"/>
                  </a:srgbClr>
                </a:outerShdw>
              </a:effectLst>
            </a:endParaRPr>
          </a:p>
        </p:txBody>
      </p:sp>
      <p:sp>
        <p:nvSpPr>
          <p:cNvPr id="45" name="Rectangle 44"/>
          <p:cNvSpPr/>
          <p:nvPr/>
        </p:nvSpPr>
        <p:spPr>
          <a:xfrm>
            <a:off x="3779912" y="4190348"/>
            <a:ext cx="5486826" cy="400110"/>
          </a:xfrm>
          <a:prstGeom prst="rect">
            <a:avLst/>
          </a:prstGeom>
        </p:spPr>
        <p:txBody>
          <a:bodyPr wrap="square">
            <a:spAutoFit/>
          </a:bodyPr>
          <a:lstStyle/>
          <a:p>
            <a:r>
              <a:rPr lang="en-US" sz="2000" b="0" dirty="0">
                <a:solidFill>
                  <a:srgbClr val="FF0000"/>
                </a:solidFill>
                <a:effectLst>
                  <a:outerShdw blurRad="38100" dist="38100" dir="2700000" algn="tl">
                    <a:srgbClr val="000000">
                      <a:alpha val="43137"/>
                    </a:srgbClr>
                  </a:outerShdw>
                </a:effectLst>
                <a:latin typeface="Tahoma" pitchFamily="34" charset="0"/>
                <a:cs typeface="Tahoma" pitchFamily="34" charset="0"/>
              </a:rPr>
              <a:t>-</a:t>
            </a:r>
            <a:r>
              <a:rPr lang="th-TH" sz="2000" b="0" dirty="0">
                <a:solidFill>
                  <a:srgbClr val="FF0000"/>
                </a:solidFill>
                <a:effectLst>
                  <a:outerShdw blurRad="38100" dist="38100" dir="2700000" algn="tl">
                    <a:srgbClr val="000000">
                      <a:alpha val="43137"/>
                    </a:srgbClr>
                  </a:outerShdw>
                </a:effectLst>
                <a:latin typeface="Tahoma" pitchFamily="34" charset="0"/>
                <a:cs typeface="Tahoma" pitchFamily="34" charset="0"/>
              </a:rPr>
              <a:t> ชาวบางมด จะ</a:t>
            </a:r>
            <a:r>
              <a:rPr lang="th-TH" sz="2000" b="0" dirty="0" smtClean="0">
                <a:solidFill>
                  <a:srgbClr val="FF0000"/>
                </a:solidFill>
                <a:effectLst>
                  <a:outerShdw blurRad="38100" dist="38100" dir="2700000" algn="tl">
                    <a:srgbClr val="000000">
                      <a:alpha val="43137"/>
                    </a:srgbClr>
                  </a:outerShdw>
                </a:effectLst>
                <a:latin typeface="Tahoma" pitchFamily="34" charset="0"/>
                <a:cs typeface="Tahoma" pitchFamily="34" charset="0"/>
              </a:rPr>
              <a:t>คาดการณ์และวางแผนไป</a:t>
            </a:r>
            <a:r>
              <a:rPr lang="th-TH" sz="2000" b="0" dirty="0">
                <a:solidFill>
                  <a:srgbClr val="FF0000"/>
                </a:solidFill>
                <a:effectLst>
                  <a:outerShdw blurRad="38100" dist="38100" dir="2700000" algn="tl">
                    <a:srgbClr val="000000">
                      <a:alpha val="43137"/>
                    </a:srgbClr>
                  </a:outerShdw>
                </a:effectLst>
                <a:latin typeface="Tahoma" pitchFamily="34" charset="0"/>
                <a:cs typeface="Tahoma" pitchFamily="34" charset="0"/>
              </a:rPr>
              <a:t>ข้างหน้า</a:t>
            </a:r>
            <a:endParaRPr lang="th-TH" sz="2800" b="0" dirty="0">
              <a:solidFill>
                <a:srgbClr val="FF0000"/>
              </a:solidFill>
              <a:effectLst>
                <a:outerShdw blurRad="38100" dist="38100" dir="2700000" algn="tl">
                  <a:srgbClr val="000000">
                    <a:alpha val="43137"/>
                  </a:srgbClr>
                </a:outerShdw>
              </a:effectLst>
            </a:endParaRPr>
          </a:p>
        </p:txBody>
      </p:sp>
      <p:sp>
        <p:nvSpPr>
          <p:cNvPr id="46" name="Rectangle 45"/>
          <p:cNvSpPr/>
          <p:nvPr/>
        </p:nvSpPr>
        <p:spPr>
          <a:xfrm>
            <a:off x="3779912" y="4992869"/>
            <a:ext cx="5438318" cy="400110"/>
          </a:xfrm>
          <a:prstGeom prst="rect">
            <a:avLst/>
          </a:prstGeom>
        </p:spPr>
        <p:txBody>
          <a:bodyPr wrap="square">
            <a:spAutoFit/>
          </a:bodyPr>
          <a:lstStyle/>
          <a:p>
            <a:r>
              <a:rPr lang="en-US" sz="2000" b="0" dirty="0">
                <a:solidFill>
                  <a:srgbClr val="FF0000"/>
                </a:solidFill>
                <a:effectLst>
                  <a:outerShdw blurRad="38100" dist="38100" dir="2700000" algn="tl">
                    <a:srgbClr val="000000">
                      <a:alpha val="43137"/>
                    </a:srgbClr>
                  </a:outerShdw>
                </a:effectLst>
                <a:latin typeface="Tahoma" pitchFamily="34" charset="0"/>
                <a:cs typeface="Tahoma" pitchFamily="34" charset="0"/>
              </a:rPr>
              <a:t>-</a:t>
            </a:r>
            <a:r>
              <a:rPr lang="th-TH" sz="2000" b="0" dirty="0">
                <a:solidFill>
                  <a:srgbClr val="FF0000"/>
                </a:solidFill>
                <a:effectLst>
                  <a:outerShdw blurRad="38100" dist="38100" dir="2700000" algn="tl">
                    <a:srgbClr val="000000">
                      <a:alpha val="43137"/>
                    </a:srgbClr>
                  </a:outerShdw>
                </a:effectLst>
                <a:latin typeface="Tahoma" pitchFamily="34" charset="0"/>
                <a:cs typeface="Tahoma" pitchFamily="34" charset="0"/>
              </a:rPr>
              <a:t> ชาวบางมด </a:t>
            </a:r>
            <a:r>
              <a:rPr lang="th-TH" sz="2000" b="0" dirty="0" smtClean="0">
                <a:solidFill>
                  <a:srgbClr val="FF0000"/>
                </a:solidFill>
                <a:effectLst>
                  <a:outerShdw blurRad="38100" dist="38100" dir="2700000" algn="tl">
                    <a:srgbClr val="000000">
                      <a:alpha val="43137"/>
                    </a:srgbClr>
                  </a:outerShdw>
                </a:effectLst>
                <a:latin typeface="Tahoma" pitchFamily="34" charset="0"/>
                <a:cs typeface="Tahoma" pitchFamily="34" charset="0"/>
              </a:rPr>
              <a:t>จะมีความหวัง และมอง</a:t>
            </a:r>
            <a:r>
              <a:rPr lang="th-TH" sz="2000" b="0" dirty="0">
                <a:solidFill>
                  <a:srgbClr val="FF0000"/>
                </a:solidFill>
                <a:effectLst>
                  <a:outerShdw blurRad="38100" dist="38100" dir="2700000" algn="tl">
                    <a:srgbClr val="000000">
                      <a:alpha val="43137"/>
                    </a:srgbClr>
                  </a:outerShdw>
                </a:effectLst>
                <a:latin typeface="Tahoma" pitchFamily="34" charset="0"/>
                <a:cs typeface="Tahoma" pitchFamily="34" charset="0"/>
              </a:rPr>
              <a:t>โลกในแง่ดี</a:t>
            </a:r>
            <a:endParaRPr lang="th-TH" sz="2800" b="0" dirty="0">
              <a:solidFill>
                <a:srgbClr val="FF0000"/>
              </a:solidFill>
              <a:effectLst>
                <a:outerShdw blurRad="38100" dist="38100" dir="2700000" algn="tl">
                  <a:srgbClr val="000000">
                    <a:alpha val="43137"/>
                  </a:srgbClr>
                </a:outerShdw>
              </a:effectLst>
            </a:endParaRPr>
          </a:p>
        </p:txBody>
      </p:sp>
      <p:sp>
        <p:nvSpPr>
          <p:cNvPr id="47" name="Rectangle 46"/>
          <p:cNvSpPr/>
          <p:nvPr/>
        </p:nvSpPr>
        <p:spPr>
          <a:xfrm>
            <a:off x="3779912" y="5846464"/>
            <a:ext cx="5036844" cy="400110"/>
          </a:xfrm>
          <a:prstGeom prst="rect">
            <a:avLst/>
          </a:prstGeom>
        </p:spPr>
        <p:txBody>
          <a:bodyPr wrap="square">
            <a:spAutoFit/>
          </a:bodyPr>
          <a:lstStyle/>
          <a:p>
            <a:r>
              <a:rPr lang="en-US" sz="2000" b="0" dirty="0">
                <a:solidFill>
                  <a:srgbClr val="FF0000"/>
                </a:solidFill>
                <a:effectLst>
                  <a:outerShdw blurRad="38100" dist="38100" dir="2700000" algn="tl">
                    <a:srgbClr val="000000">
                      <a:alpha val="43137"/>
                    </a:srgbClr>
                  </a:outerShdw>
                </a:effectLst>
                <a:latin typeface="Tahoma" pitchFamily="34" charset="0"/>
                <a:cs typeface="Tahoma" pitchFamily="34" charset="0"/>
              </a:rPr>
              <a:t>-</a:t>
            </a:r>
            <a:r>
              <a:rPr lang="th-TH" sz="2000" b="0" dirty="0">
                <a:solidFill>
                  <a:srgbClr val="FF0000"/>
                </a:solidFill>
                <a:effectLst>
                  <a:outerShdw blurRad="38100" dist="38100" dir="2700000" algn="tl">
                    <a:srgbClr val="000000">
                      <a:alpha val="43137"/>
                    </a:srgbClr>
                  </a:outerShdw>
                </a:effectLst>
                <a:latin typeface="Tahoma" pitchFamily="34" charset="0"/>
                <a:cs typeface="Tahoma" pitchFamily="34" charset="0"/>
              </a:rPr>
              <a:t> ชาวบางมด </a:t>
            </a:r>
            <a:r>
              <a:rPr lang="th-TH" sz="2000" b="0" dirty="0" smtClean="0">
                <a:solidFill>
                  <a:srgbClr val="FF0000"/>
                </a:solidFill>
                <a:effectLst>
                  <a:outerShdw blurRad="38100" dist="38100" dir="2700000" algn="tl">
                    <a:srgbClr val="000000">
                      <a:alpha val="43137"/>
                    </a:srgbClr>
                  </a:outerShdw>
                </a:effectLst>
                <a:latin typeface="Tahoma" pitchFamily="34" charset="0"/>
                <a:cs typeface="Tahoma" pitchFamily="34" charset="0"/>
              </a:rPr>
              <a:t>จะร่วมกันทำอย่าเต็มศักยภาพ</a:t>
            </a:r>
            <a:endParaRPr lang="th-TH" sz="2800" b="0" dirty="0">
              <a:solidFill>
                <a:srgbClr val="FF0000"/>
              </a:solidFill>
              <a:effectLst>
                <a:outerShdw blurRad="38100" dist="38100" dir="2700000" algn="tl">
                  <a:srgbClr val="000000">
                    <a:alpha val="43137"/>
                  </a:srgbClr>
                </a:outerShdw>
              </a:effectLst>
            </a:endParaRPr>
          </a:p>
        </p:txBody>
      </p:sp>
      <p:sp>
        <p:nvSpPr>
          <p:cNvPr id="48" name="Slide Number Placeholder 47"/>
          <p:cNvSpPr>
            <a:spLocks noGrp="1"/>
          </p:cNvSpPr>
          <p:nvPr>
            <p:ph type="sldNum" sz="quarter" idx="12"/>
          </p:nvPr>
        </p:nvSpPr>
        <p:spPr/>
        <p:txBody>
          <a:bodyPr/>
          <a:lstStyle/>
          <a:p>
            <a:fld id="{8892B0ED-4054-42B7-A893-2D57CE8DC8A6}" type="slidenum">
              <a:rPr lang="th-TH" smtClean="0">
                <a:solidFill>
                  <a:prstClr val="black">
                    <a:tint val="75000"/>
                  </a:prstClr>
                </a:solidFill>
              </a:rPr>
              <a:pPr/>
              <a:t>39</a:t>
            </a:fld>
            <a:endParaRPr lang="th-TH">
              <a:solidFill>
                <a:prstClr val="black">
                  <a:tint val="75000"/>
                </a:prstClr>
              </a:solidFill>
            </a:endParaRPr>
          </a:p>
        </p:txBody>
      </p:sp>
    </p:spTree>
    <p:extLst>
      <p:ext uri="{BB962C8B-B14F-4D97-AF65-F5344CB8AC3E}">
        <p14:creationId xmlns:p14="http://schemas.microsoft.com/office/powerpoint/2010/main" val="108178494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2"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slide(fromRight)">
                                      <p:cBhvr>
                                        <p:cTn id="12" dur="2000"/>
                                        <p:tgtEl>
                                          <p:spTgt spid="22"/>
                                        </p:tgtEl>
                                      </p:cBhvr>
                                    </p:animEffect>
                                  </p:childTnLst>
                                </p:cTn>
                              </p:par>
                            </p:childTnLst>
                          </p:cTn>
                        </p:par>
                        <p:par>
                          <p:cTn id="13" fill="hold">
                            <p:stCondLst>
                              <p:cond delay="2000"/>
                            </p:stCondLst>
                            <p:childTnLst>
                              <p:par>
                                <p:cTn id="14" presetID="12" presetClass="entr" presetSubtype="2" fill="hold" nodeType="afterEffect">
                                  <p:stCondLst>
                                    <p:cond delay="0"/>
                                  </p:stCondLst>
                                  <p:childTnLst>
                                    <p:set>
                                      <p:cBhvr>
                                        <p:cTn id="15" dur="1" fill="hold">
                                          <p:stCondLst>
                                            <p:cond delay="0"/>
                                          </p:stCondLst>
                                        </p:cTn>
                                        <p:tgtEl>
                                          <p:spTgt spid="11"/>
                                        </p:tgtEl>
                                        <p:attrNameLst>
                                          <p:attrName>style.visibility</p:attrName>
                                        </p:attrNameLst>
                                      </p:cBhvr>
                                      <p:to>
                                        <p:strVal val="visible"/>
                                      </p:to>
                                    </p:set>
                                    <p:anim calcmode="lin" valueType="num">
                                      <p:cBhvr additive="base">
                                        <p:cTn id="16" dur="2000"/>
                                        <p:tgtEl>
                                          <p:spTgt spid="11"/>
                                        </p:tgtEl>
                                        <p:attrNameLst>
                                          <p:attrName>ppt_x</p:attrName>
                                        </p:attrNameLst>
                                      </p:cBhvr>
                                      <p:tavLst>
                                        <p:tav tm="0">
                                          <p:val>
                                            <p:strVal val="#ppt_x+#ppt_w*1.125000"/>
                                          </p:val>
                                        </p:tav>
                                        <p:tav tm="100000">
                                          <p:val>
                                            <p:strVal val="#ppt_x"/>
                                          </p:val>
                                        </p:tav>
                                      </p:tavLst>
                                    </p:anim>
                                    <p:animEffect transition="in" filter="wipe(left)">
                                      <p:cBhvr>
                                        <p:cTn id="17" dur="20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43">
                                            <p:txEl>
                                              <p:pRg st="0" end="0"/>
                                            </p:txEl>
                                          </p:spTgt>
                                        </p:tgtEl>
                                        <p:attrNameLst>
                                          <p:attrName>style.visibility</p:attrName>
                                        </p:attrNameLst>
                                      </p:cBhvr>
                                      <p:to>
                                        <p:strVal val="visible"/>
                                      </p:to>
                                    </p:set>
                                    <p:animEffect transition="in" filter="wipe(left)">
                                      <p:cBhvr>
                                        <p:cTn id="22" dur="500"/>
                                        <p:tgtEl>
                                          <p:spTgt spid="43">
                                            <p:txEl>
                                              <p:pRg st="0" end="0"/>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43">
                                            <p:txEl>
                                              <p:pRg st="2" end="2"/>
                                            </p:txEl>
                                          </p:spTgt>
                                        </p:tgtEl>
                                        <p:attrNameLst>
                                          <p:attrName>style.visibility</p:attrName>
                                        </p:attrNameLst>
                                      </p:cBhvr>
                                      <p:to>
                                        <p:strVal val="visible"/>
                                      </p:to>
                                    </p:set>
                                    <p:animEffect transition="in" filter="wipe(left)">
                                      <p:cBhvr>
                                        <p:cTn id="27" dur="500"/>
                                        <p:tgtEl>
                                          <p:spTgt spid="43">
                                            <p:txEl>
                                              <p:pRg st="2" end="2"/>
                                            </p:txEl>
                                          </p:spTgt>
                                        </p:tgtEl>
                                      </p:cBhvr>
                                    </p:animEffect>
                                  </p:childTnLst>
                                </p:cTn>
                              </p:par>
                            </p:childTnLst>
                          </p:cTn>
                        </p:par>
                        <p:par>
                          <p:cTn id="28" fill="hold">
                            <p:stCondLst>
                              <p:cond delay="500"/>
                            </p:stCondLst>
                            <p:childTnLst>
                              <p:par>
                                <p:cTn id="29" presetID="22" presetClass="entr" presetSubtype="8" fill="hold" grpId="0" nodeType="afterEffect">
                                  <p:stCondLst>
                                    <p:cond delay="0"/>
                                  </p:stCondLst>
                                  <p:childTnLst>
                                    <p:set>
                                      <p:cBhvr>
                                        <p:cTn id="30" dur="1" fill="hold">
                                          <p:stCondLst>
                                            <p:cond delay="0"/>
                                          </p:stCondLst>
                                        </p:cTn>
                                        <p:tgtEl>
                                          <p:spTgt spid="43">
                                            <p:txEl>
                                              <p:pRg st="3" end="3"/>
                                            </p:txEl>
                                          </p:spTgt>
                                        </p:tgtEl>
                                        <p:attrNameLst>
                                          <p:attrName>style.visibility</p:attrName>
                                        </p:attrNameLst>
                                      </p:cBhvr>
                                      <p:to>
                                        <p:strVal val="visible"/>
                                      </p:to>
                                    </p:set>
                                    <p:animEffect transition="in" filter="wipe(left)">
                                      <p:cBhvr>
                                        <p:cTn id="31" dur="500"/>
                                        <p:tgtEl>
                                          <p:spTgt spid="43">
                                            <p:txEl>
                                              <p:pRg st="3" end="3"/>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8" fill="hold" grpId="0" nodeType="clickEffect">
                                  <p:stCondLst>
                                    <p:cond delay="0"/>
                                  </p:stCondLst>
                                  <p:childTnLst>
                                    <p:set>
                                      <p:cBhvr>
                                        <p:cTn id="35" dur="1" fill="hold">
                                          <p:stCondLst>
                                            <p:cond delay="0"/>
                                          </p:stCondLst>
                                        </p:cTn>
                                        <p:tgtEl>
                                          <p:spTgt spid="44"/>
                                        </p:tgtEl>
                                        <p:attrNameLst>
                                          <p:attrName>style.visibility</p:attrName>
                                        </p:attrNameLst>
                                      </p:cBhvr>
                                      <p:to>
                                        <p:strVal val="visible"/>
                                      </p:to>
                                    </p:set>
                                    <p:animEffect transition="in" filter="wipe(left)">
                                      <p:cBhvr>
                                        <p:cTn id="36" dur="500"/>
                                        <p:tgtEl>
                                          <p:spTgt spid="44"/>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grpId="0" nodeType="clickEffect">
                                  <p:stCondLst>
                                    <p:cond delay="0"/>
                                  </p:stCondLst>
                                  <p:childTnLst>
                                    <p:set>
                                      <p:cBhvr>
                                        <p:cTn id="40" dur="1" fill="hold">
                                          <p:stCondLst>
                                            <p:cond delay="0"/>
                                          </p:stCondLst>
                                        </p:cTn>
                                        <p:tgtEl>
                                          <p:spTgt spid="43">
                                            <p:txEl>
                                              <p:pRg st="5" end="5"/>
                                            </p:txEl>
                                          </p:spTgt>
                                        </p:tgtEl>
                                        <p:attrNameLst>
                                          <p:attrName>style.visibility</p:attrName>
                                        </p:attrNameLst>
                                      </p:cBhvr>
                                      <p:to>
                                        <p:strVal val="visible"/>
                                      </p:to>
                                    </p:set>
                                    <p:animEffect transition="in" filter="wipe(left)">
                                      <p:cBhvr>
                                        <p:cTn id="41" dur="500"/>
                                        <p:tgtEl>
                                          <p:spTgt spid="43">
                                            <p:txEl>
                                              <p:pRg st="5" end="5"/>
                                            </p:txEl>
                                          </p:spTgt>
                                        </p:tgtEl>
                                      </p:cBhvr>
                                    </p:animEffect>
                                  </p:childTnLst>
                                </p:cTn>
                              </p:par>
                            </p:childTnLst>
                          </p:cTn>
                        </p:par>
                        <p:par>
                          <p:cTn id="42" fill="hold">
                            <p:stCondLst>
                              <p:cond delay="500"/>
                            </p:stCondLst>
                            <p:childTnLst>
                              <p:par>
                                <p:cTn id="43" presetID="22" presetClass="entr" presetSubtype="8" fill="hold" grpId="0" nodeType="afterEffect">
                                  <p:stCondLst>
                                    <p:cond delay="0"/>
                                  </p:stCondLst>
                                  <p:childTnLst>
                                    <p:set>
                                      <p:cBhvr>
                                        <p:cTn id="44" dur="1" fill="hold">
                                          <p:stCondLst>
                                            <p:cond delay="0"/>
                                          </p:stCondLst>
                                        </p:cTn>
                                        <p:tgtEl>
                                          <p:spTgt spid="43">
                                            <p:txEl>
                                              <p:pRg st="6" end="6"/>
                                            </p:txEl>
                                          </p:spTgt>
                                        </p:tgtEl>
                                        <p:attrNameLst>
                                          <p:attrName>style.visibility</p:attrName>
                                        </p:attrNameLst>
                                      </p:cBhvr>
                                      <p:to>
                                        <p:strVal val="visible"/>
                                      </p:to>
                                    </p:set>
                                    <p:animEffect transition="in" filter="wipe(left)">
                                      <p:cBhvr>
                                        <p:cTn id="45" dur="500"/>
                                        <p:tgtEl>
                                          <p:spTgt spid="43">
                                            <p:txEl>
                                              <p:pRg st="6" end="6"/>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8" fill="hold" grpId="0" nodeType="clickEffect">
                                  <p:stCondLst>
                                    <p:cond delay="0"/>
                                  </p:stCondLst>
                                  <p:childTnLst>
                                    <p:set>
                                      <p:cBhvr>
                                        <p:cTn id="49" dur="1" fill="hold">
                                          <p:stCondLst>
                                            <p:cond delay="0"/>
                                          </p:stCondLst>
                                        </p:cTn>
                                        <p:tgtEl>
                                          <p:spTgt spid="45"/>
                                        </p:tgtEl>
                                        <p:attrNameLst>
                                          <p:attrName>style.visibility</p:attrName>
                                        </p:attrNameLst>
                                      </p:cBhvr>
                                      <p:to>
                                        <p:strVal val="visible"/>
                                      </p:to>
                                    </p:set>
                                    <p:animEffect transition="in" filter="wipe(left)">
                                      <p:cBhvr>
                                        <p:cTn id="50" dur="500"/>
                                        <p:tgtEl>
                                          <p:spTgt spid="45"/>
                                        </p:tgtEl>
                                      </p:cBhvr>
                                    </p:animEffect>
                                  </p:childTnLst>
                                </p:cTn>
                              </p:par>
                            </p:childTnLst>
                          </p:cTn>
                        </p:par>
                      </p:childTnLst>
                    </p:cTn>
                  </p:par>
                  <p:par>
                    <p:cTn id="51" fill="hold">
                      <p:stCondLst>
                        <p:cond delay="indefinite"/>
                      </p:stCondLst>
                      <p:childTnLst>
                        <p:par>
                          <p:cTn id="52" fill="hold">
                            <p:stCondLst>
                              <p:cond delay="0"/>
                            </p:stCondLst>
                            <p:childTnLst>
                              <p:par>
                                <p:cTn id="53" presetID="22" presetClass="entr" presetSubtype="8" fill="hold" grpId="0" nodeType="clickEffect">
                                  <p:stCondLst>
                                    <p:cond delay="0"/>
                                  </p:stCondLst>
                                  <p:childTnLst>
                                    <p:set>
                                      <p:cBhvr>
                                        <p:cTn id="54" dur="1" fill="hold">
                                          <p:stCondLst>
                                            <p:cond delay="0"/>
                                          </p:stCondLst>
                                        </p:cTn>
                                        <p:tgtEl>
                                          <p:spTgt spid="43">
                                            <p:txEl>
                                              <p:pRg st="8" end="8"/>
                                            </p:txEl>
                                          </p:spTgt>
                                        </p:tgtEl>
                                        <p:attrNameLst>
                                          <p:attrName>style.visibility</p:attrName>
                                        </p:attrNameLst>
                                      </p:cBhvr>
                                      <p:to>
                                        <p:strVal val="visible"/>
                                      </p:to>
                                    </p:set>
                                    <p:animEffect transition="in" filter="wipe(left)">
                                      <p:cBhvr>
                                        <p:cTn id="55" dur="500"/>
                                        <p:tgtEl>
                                          <p:spTgt spid="43">
                                            <p:txEl>
                                              <p:pRg st="8" end="8"/>
                                            </p:txEl>
                                          </p:spTgt>
                                        </p:tgtEl>
                                      </p:cBhvr>
                                    </p:animEffect>
                                  </p:childTnLst>
                                </p:cTn>
                              </p:par>
                            </p:childTnLst>
                          </p:cTn>
                        </p:par>
                        <p:par>
                          <p:cTn id="56" fill="hold">
                            <p:stCondLst>
                              <p:cond delay="500"/>
                            </p:stCondLst>
                            <p:childTnLst>
                              <p:par>
                                <p:cTn id="57" presetID="22" presetClass="entr" presetSubtype="8" fill="hold" grpId="0" nodeType="afterEffect">
                                  <p:stCondLst>
                                    <p:cond delay="0"/>
                                  </p:stCondLst>
                                  <p:childTnLst>
                                    <p:set>
                                      <p:cBhvr>
                                        <p:cTn id="58" dur="1" fill="hold">
                                          <p:stCondLst>
                                            <p:cond delay="0"/>
                                          </p:stCondLst>
                                        </p:cTn>
                                        <p:tgtEl>
                                          <p:spTgt spid="43">
                                            <p:txEl>
                                              <p:pRg st="9" end="9"/>
                                            </p:txEl>
                                          </p:spTgt>
                                        </p:tgtEl>
                                        <p:attrNameLst>
                                          <p:attrName>style.visibility</p:attrName>
                                        </p:attrNameLst>
                                      </p:cBhvr>
                                      <p:to>
                                        <p:strVal val="visible"/>
                                      </p:to>
                                    </p:set>
                                    <p:animEffect transition="in" filter="wipe(left)">
                                      <p:cBhvr>
                                        <p:cTn id="59" dur="500"/>
                                        <p:tgtEl>
                                          <p:spTgt spid="43">
                                            <p:txEl>
                                              <p:pRg st="9" end="9"/>
                                            </p:txEl>
                                          </p:spTgt>
                                        </p:tgtEl>
                                      </p:cBhvr>
                                    </p:animEffect>
                                  </p:childTnLst>
                                </p:cTn>
                              </p:par>
                            </p:childTnLst>
                          </p:cTn>
                        </p:par>
                      </p:childTnLst>
                    </p:cTn>
                  </p:par>
                  <p:par>
                    <p:cTn id="60" fill="hold">
                      <p:stCondLst>
                        <p:cond delay="indefinite"/>
                      </p:stCondLst>
                      <p:childTnLst>
                        <p:par>
                          <p:cTn id="61" fill="hold">
                            <p:stCondLst>
                              <p:cond delay="0"/>
                            </p:stCondLst>
                            <p:childTnLst>
                              <p:par>
                                <p:cTn id="62" presetID="22" presetClass="entr" presetSubtype="8" fill="hold" grpId="0" nodeType="clickEffect">
                                  <p:stCondLst>
                                    <p:cond delay="0"/>
                                  </p:stCondLst>
                                  <p:childTnLst>
                                    <p:set>
                                      <p:cBhvr>
                                        <p:cTn id="63" dur="1" fill="hold">
                                          <p:stCondLst>
                                            <p:cond delay="0"/>
                                          </p:stCondLst>
                                        </p:cTn>
                                        <p:tgtEl>
                                          <p:spTgt spid="46"/>
                                        </p:tgtEl>
                                        <p:attrNameLst>
                                          <p:attrName>style.visibility</p:attrName>
                                        </p:attrNameLst>
                                      </p:cBhvr>
                                      <p:to>
                                        <p:strVal val="visible"/>
                                      </p:to>
                                    </p:set>
                                    <p:animEffect transition="in" filter="wipe(left)">
                                      <p:cBhvr>
                                        <p:cTn id="64" dur="500"/>
                                        <p:tgtEl>
                                          <p:spTgt spid="46"/>
                                        </p:tgtEl>
                                      </p:cBhvr>
                                    </p:animEffect>
                                  </p:childTnLst>
                                </p:cTn>
                              </p:par>
                            </p:childTnLst>
                          </p:cTn>
                        </p:par>
                      </p:childTnLst>
                    </p:cTn>
                  </p:par>
                  <p:par>
                    <p:cTn id="65" fill="hold">
                      <p:stCondLst>
                        <p:cond delay="indefinite"/>
                      </p:stCondLst>
                      <p:childTnLst>
                        <p:par>
                          <p:cTn id="66" fill="hold">
                            <p:stCondLst>
                              <p:cond delay="0"/>
                            </p:stCondLst>
                            <p:childTnLst>
                              <p:par>
                                <p:cTn id="67" presetID="22" presetClass="entr" presetSubtype="8" fill="hold" grpId="0" nodeType="clickEffect">
                                  <p:stCondLst>
                                    <p:cond delay="0"/>
                                  </p:stCondLst>
                                  <p:childTnLst>
                                    <p:set>
                                      <p:cBhvr>
                                        <p:cTn id="68" dur="1" fill="hold">
                                          <p:stCondLst>
                                            <p:cond delay="0"/>
                                          </p:stCondLst>
                                        </p:cTn>
                                        <p:tgtEl>
                                          <p:spTgt spid="43">
                                            <p:txEl>
                                              <p:pRg st="11" end="11"/>
                                            </p:txEl>
                                          </p:spTgt>
                                        </p:tgtEl>
                                        <p:attrNameLst>
                                          <p:attrName>style.visibility</p:attrName>
                                        </p:attrNameLst>
                                      </p:cBhvr>
                                      <p:to>
                                        <p:strVal val="visible"/>
                                      </p:to>
                                    </p:set>
                                    <p:animEffect transition="in" filter="wipe(left)">
                                      <p:cBhvr>
                                        <p:cTn id="69" dur="500"/>
                                        <p:tgtEl>
                                          <p:spTgt spid="43">
                                            <p:txEl>
                                              <p:pRg st="11" end="11"/>
                                            </p:txEl>
                                          </p:spTgt>
                                        </p:tgtEl>
                                      </p:cBhvr>
                                    </p:animEffect>
                                  </p:childTnLst>
                                </p:cTn>
                              </p:par>
                            </p:childTnLst>
                          </p:cTn>
                        </p:par>
                        <p:par>
                          <p:cTn id="70" fill="hold">
                            <p:stCondLst>
                              <p:cond delay="500"/>
                            </p:stCondLst>
                            <p:childTnLst>
                              <p:par>
                                <p:cTn id="71" presetID="22" presetClass="entr" presetSubtype="8" fill="hold" grpId="0" nodeType="afterEffect">
                                  <p:stCondLst>
                                    <p:cond delay="0"/>
                                  </p:stCondLst>
                                  <p:childTnLst>
                                    <p:set>
                                      <p:cBhvr>
                                        <p:cTn id="72" dur="1" fill="hold">
                                          <p:stCondLst>
                                            <p:cond delay="0"/>
                                          </p:stCondLst>
                                        </p:cTn>
                                        <p:tgtEl>
                                          <p:spTgt spid="43">
                                            <p:txEl>
                                              <p:pRg st="12" end="12"/>
                                            </p:txEl>
                                          </p:spTgt>
                                        </p:tgtEl>
                                        <p:attrNameLst>
                                          <p:attrName>style.visibility</p:attrName>
                                        </p:attrNameLst>
                                      </p:cBhvr>
                                      <p:to>
                                        <p:strVal val="visible"/>
                                      </p:to>
                                    </p:set>
                                    <p:animEffect transition="in" filter="wipe(left)">
                                      <p:cBhvr>
                                        <p:cTn id="73" dur="500"/>
                                        <p:tgtEl>
                                          <p:spTgt spid="43">
                                            <p:txEl>
                                              <p:pRg st="12" end="12"/>
                                            </p:txEl>
                                          </p:spTgt>
                                        </p:tgtEl>
                                      </p:cBhvr>
                                    </p:animEffect>
                                  </p:childTnLst>
                                </p:cTn>
                              </p:par>
                            </p:childTnLst>
                          </p:cTn>
                        </p:par>
                      </p:childTnLst>
                    </p:cTn>
                  </p:par>
                  <p:par>
                    <p:cTn id="74" fill="hold">
                      <p:stCondLst>
                        <p:cond delay="indefinite"/>
                      </p:stCondLst>
                      <p:childTnLst>
                        <p:par>
                          <p:cTn id="75" fill="hold">
                            <p:stCondLst>
                              <p:cond delay="0"/>
                            </p:stCondLst>
                            <p:childTnLst>
                              <p:par>
                                <p:cTn id="76" presetID="22" presetClass="entr" presetSubtype="8" fill="hold" grpId="0" nodeType="clickEffect">
                                  <p:stCondLst>
                                    <p:cond delay="0"/>
                                  </p:stCondLst>
                                  <p:childTnLst>
                                    <p:set>
                                      <p:cBhvr>
                                        <p:cTn id="77" dur="1" fill="hold">
                                          <p:stCondLst>
                                            <p:cond delay="0"/>
                                          </p:stCondLst>
                                        </p:cTn>
                                        <p:tgtEl>
                                          <p:spTgt spid="47"/>
                                        </p:tgtEl>
                                        <p:attrNameLst>
                                          <p:attrName>style.visibility</p:attrName>
                                        </p:attrNameLst>
                                      </p:cBhvr>
                                      <p:to>
                                        <p:strVal val="visible"/>
                                      </p:to>
                                    </p:set>
                                    <p:animEffect transition="in" filter="wipe(left)">
                                      <p:cBhvr>
                                        <p:cTn id="78" dur="500"/>
                                        <p:tgtEl>
                                          <p:spTgt spid="47"/>
                                        </p:tgtEl>
                                      </p:cBhvr>
                                    </p:animEffect>
                                  </p:childTnLst>
                                </p:cTn>
                              </p:par>
                            </p:childTnLst>
                          </p:cTn>
                        </p:par>
                        <p:par>
                          <p:cTn id="79" fill="hold">
                            <p:stCondLst>
                              <p:cond delay="500"/>
                            </p:stCondLst>
                            <p:childTnLst>
                              <p:par>
                                <p:cTn id="80" presetID="22" presetClass="entr" presetSubtype="8" fill="hold" grpId="0" nodeType="afterEffect">
                                  <p:stCondLst>
                                    <p:cond delay="0"/>
                                  </p:stCondLst>
                                  <p:childTnLst>
                                    <p:set>
                                      <p:cBhvr>
                                        <p:cTn id="81" dur="1" fill="hold">
                                          <p:stCondLst>
                                            <p:cond delay="0"/>
                                          </p:stCondLst>
                                        </p:cTn>
                                        <p:tgtEl>
                                          <p:spTgt spid="39"/>
                                        </p:tgtEl>
                                        <p:attrNameLst>
                                          <p:attrName>style.visibility</p:attrName>
                                        </p:attrNameLst>
                                      </p:cBhvr>
                                      <p:to>
                                        <p:strVal val="visible"/>
                                      </p:to>
                                    </p:set>
                                    <p:animEffect transition="in" filter="wipe(left)">
                                      <p:cBhvr>
                                        <p:cTn id="82"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3" grpId="0" uiExpand="1" build="p"/>
      <p:bldP spid="44" grpId="0" uiExpand="1"/>
      <p:bldP spid="45" grpId="0" uiExpand="1"/>
      <p:bldP spid="46" grpId="0" uiExpand="1"/>
      <p:bldP spid="4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2060"/>
          <p:cNvSpPr txBox="1">
            <a:spLocks noChangeArrowheads="1"/>
          </p:cNvSpPr>
          <p:nvPr/>
        </p:nvSpPr>
        <p:spPr bwMode="auto">
          <a:xfrm>
            <a:off x="75305" y="1401307"/>
            <a:ext cx="8943283" cy="5389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4400" b="1">
                <a:solidFill>
                  <a:schemeClr val="tx1"/>
                </a:solidFill>
                <a:latin typeface="+mn-lt"/>
                <a:ea typeface="+mn-ea"/>
                <a:cs typeface="+mn-cs"/>
              </a:defRPr>
            </a:lvl1pPr>
            <a:lvl2pPr marL="742950" indent="-285750" algn="l" rtl="0" eaLnBrk="0" fontAlgn="base" hangingPunct="0">
              <a:spcBef>
                <a:spcPct val="20000"/>
              </a:spcBef>
              <a:spcAft>
                <a:spcPct val="0"/>
              </a:spcAft>
              <a:buChar char="–"/>
              <a:defRPr sz="4000" b="1">
                <a:solidFill>
                  <a:schemeClr val="tx1"/>
                </a:solidFill>
                <a:latin typeface="+mn-lt"/>
              </a:defRPr>
            </a:lvl2pPr>
            <a:lvl3pPr marL="1143000" indent="-228600" algn="l" rtl="0" eaLnBrk="0" fontAlgn="base" hangingPunct="0">
              <a:spcBef>
                <a:spcPct val="20000"/>
              </a:spcBef>
              <a:spcAft>
                <a:spcPct val="0"/>
              </a:spcAft>
              <a:buChar char="•"/>
              <a:defRPr sz="4000">
                <a:solidFill>
                  <a:schemeClr val="tx1"/>
                </a:solidFill>
                <a:latin typeface="+mn-lt"/>
              </a:defRPr>
            </a:lvl3pPr>
            <a:lvl4pPr marL="1600200" indent="-228600" algn="l" rtl="0" eaLnBrk="0" fontAlgn="base" hangingPunct="0">
              <a:spcBef>
                <a:spcPct val="20000"/>
              </a:spcBef>
              <a:spcAft>
                <a:spcPct val="0"/>
              </a:spcAft>
              <a:buChar char="–"/>
              <a:defRPr sz="3200">
                <a:solidFill>
                  <a:schemeClr val="tx1"/>
                </a:solidFill>
                <a:latin typeface="+mn-lt"/>
              </a:defRPr>
            </a:lvl4pPr>
            <a:lvl5pPr marL="2057400" indent="-228600" algn="l" rtl="0" eaLnBrk="0" fontAlgn="base" hangingPunct="0">
              <a:spcBef>
                <a:spcPct val="20000"/>
              </a:spcBef>
              <a:spcAft>
                <a:spcPct val="0"/>
              </a:spcAft>
              <a:buChar char="»"/>
              <a:defRPr sz="2800">
                <a:solidFill>
                  <a:schemeClr val="tx1"/>
                </a:solidFill>
                <a:latin typeface="+mn-lt"/>
              </a:defRPr>
            </a:lvl5pPr>
            <a:lvl6pPr marL="2514600" indent="-228600" algn="l" rtl="0" eaLnBrk="0" fontAlgn="base" hangingPunct="0">
              <a:spcBef>
                <a:spcPct val="20000"/>
              </a:spcBef>
              <a:spcAft>
                <a:spcPct val="0"/>
              </a:spcAft>
              <a:buChar char="»"/>
              <a:defRPr sz="2800">
                <a:solidFill>
                  <a:schemeClr val="tx1"/>
                </a:solidFill>
                <a:latin typeface="+mn-lt"/>
              </a:defRPr>
            </a:lvl6pPr>
            <a:lvl7pPr marL="2971800" indent="-228600" algn="l" rtl="0" eaLnBrk="0" fontAlgn="base" hangingPunct="0">
              <a:spcBef>
                <a:spcPct val="20000"/>
              </a:spcBef>
              <a:spcAft>
                <a:spcPct val="0"/>
              </a:spcAft>
              <a:buChar char="»"/>
              <a:defRPr sz="2800">
                <a:solidFill>
                  <a:schemeClr val="tx1"/>
                </a:solidFill>
                <a:latin typeface="+mn-lt"/>
              </a:defRPr>
            </a:lvl7pPr>
            <a:lvl8pPr marL="3429000" indent="-228600" algn="l" rtl="0" eaLnBrk="0" fontAlgn="base" hangingPunct="0">
              <a:spcBef>
                <a:spcPct val="20000"/>
              </a:spcBef>
              <a:spcAft>
                <a:spcPct val="0"/>
              </a:spcAft>
              <a:buChar char="»"/>
              <a:defRPr sz="2800">
                <a:solidFill>
                  <a:schemeClr val="tx1"/>
                </a:solidFill>
                <a:latin typeface="+mn-lt"/>
              </a:defRPr>
            </a:lvl8pPr>
            <a:lvl9pPr marL="3886200" indent="-228600" algn="l" rtl="0" eaLnBrk="0" fontAlgn="base" hangingPunct="0">
              <a:spcBef>
                <a:spcPct val="20000"/>
              </a:spcBef>
              <a:spcAft>
                <a:spcPct val="0"/>
              </a:spcAft>
              <a:buChar char="»"/>
              <a:defRPr sz="2800">
                <a:solidFill>
                  <a:schemeClr val="tx1"/>
                </a:solidFill>
                <a:latin typeface="+mn-lt"/>
              </a:defRPr>
            </a:lvl9pPr>
          </a:lstStyle>
          <a:p>
            <a:pPr>
              <a:lnSpc>
                <a:spcPts val="3400"/>
              </a:lnSpc>
              <a:spcBef>
                <a:spcPct val="30000"/>
              </a:spcBef>
              <a:buFontTx/>
              <a:buNone/>
              <a:defRPr/>
            </a:pPr>
            <a:r>
              <a:rPr lang="th-TH" sz="3400" b="0" kern="0" dirty="0" smtClean="0">
                <a:latin typeface="AngsanaUPC" pitchFamily="18" charset="-34"/>
                <a:cs typeface="AngsanaUPC" pitchFamily="18" charset="-34"/>
              </a:rPr>
              <a:t>องค์กรไทย</a:t>
            </a:r>
            <a:r>
              <a:rPr lang="en-US" sz="3400" b="0" kern="0" dirty="0" err="1" smtClean="0">
                <a:latin typeface="AngsanaUPC" pitchFamily="18" charset="-34"/>
                <a:cs typeface="AngsanaUPC" pitchFamily="18" charset="-34"/>
              </a:rPr>
              <a:t>ที่ยิ่งใหญ่ใช่</a:t>
            </a:r>
            <a:r>
              <a:rPr lang="en-US" sz="3400" b="0" kern="0" dirty="0">
                <a:latin typeface="AngsanaUPC" pitchFamily="18" charset="-34"/>
                <a:cs typeface="AngsanaUPC" pitchFamily="18" charset="-34"/>
              </a:rPr>
              <a:t> </a:t>
            </a:r>
            <a:r>
              <a:rPr lang="th-TH" sz="3400" b="0" kern="0" dirty="0" smtClean="0">
                <a:latin typeface="AngsanaUPC" pitchFamily="18" charset="-34"/>
                <a:cs typeface="AngsanaUPC" pitchFamily="18" charset="-34"/>
              </a:rPr>
              <a:t>“</a:t>
            </a:r>
            <a:r>
              <a:rPr lang="en-US" sz="3400" kern="0" dirty="0" err="1" smtClean="0">
                <a:solidFill>
                  <a:srgbClr val="FF0000"/>
                </a:solidFill>
                <a:latin typeface="AngsanaUPC" pitchFamily="18" charset="-34"/>
                <a:cs typeface="AngsanaUPC" pitchFamily="18" charset="-34"/>
              </a:rPr>
              <a:t>ทรัพย์สิน</a:t>
            </a:r>
            <a:r>
              <a:rPr lang="th-TH" sz="3400" b="0" kern="0" dirty="0" smtClean="0">
                <a:latin typeface="AngsanaUPC" pitchFamily="18" charset="-34"/>
                <a:cs typeface="AngsanaUPC" pitchFamily="18" charset="-34"/>
              </a:rPr>
              <a:t>”</a:t>
            </a:r>
            <a:r>
              <a:rPr lang="en-US" sz="3400" b="0" kern="0" dirty="0" smtClean="0">
                <a:latin typeface="AngsanaUPC" pitchFamily="18" charset="-34"/>
                <a:cs typeface="AngsanaUPC" pitchFamily="18" charset="-34"/>
              </a:rPr>
              <a:t> 	</a:t>
            </a:r>
            <a:r>
              <a:rPr lang="en-US" sz="3400" b="0" kern="0" dirty="0" err="1" smtClean="0">
                <a:latin typeface="AngsanaUPC" pitchFamily="18" charset="-34"/>
                <a:cs typeface="AngsanaUPC" pitchFamily="18" charset="-34"/>
              </a:rPr>
              <a:t>ใช่</a:t>
            </a:r>
            <a:r>
              <a:rPr lang="en-US" sz="3400" b="0" kern="0" dirty="0">
                <a:latin typeface="AngsanaUPC" pitchFamily="18" charset="-34"/>
                <a:cs typeface="AngsanaUPC" pitchFamily="18" charset="-34"/>
              </a:rPr>
              <a:t> </a:t>
            </a:r>
            <a:r>
              <a:rPr lang="th-TH" sz="3400" b="0" kern="0" dirty="0" smtClean="0">
                <a:latin typeface="AngsanaUPC" pitchFamily="18" charset="-34"/>
                <a:cs typeface="AngsanaUPC" pitchFamily="18" charset="-34"/>
              </a:rPr>
              <a:t>“</a:t>
            </a:r>
            <a:r>
              <a:rPr lang="en-US" sz="3400" kern="0" dirty="0" err="1" smtClean="0">
                <a:solidFill>
                  <a:srgbClr val="FF0000"/>
                </a:solidFill>
                <a:latin typeface="AngsanaUPC" pitchFamily="18" charset="-34"/>
                <a:cs typeface="AngsanaUPC" pitchFamily="18" charset="-34"/>
              </a:rPr>
              <a:t>ที่ดิน</a:t>
            </a:r>
            <a:r>
              <a:rPr lang="th-TH" sz="3400" b="0" kern="0" dirty="0" smtClean="0">
                <a:latin typeface="AngsanaUPC" pitchFamily="18" charset="-34"/>
                <a:cs typeface="AngsanaUPC" pitchFamily="18" charset="-34"/>
              </a:rPr>
              <a:t>”</a:t>
            </a:r>
            <a:r>
              <a:rPr lang="en-US" sz="3400" b="0" kern="0" dirty="0" smtClean="0">
                <a:latin typeface="AngsanaUPC" pitchFamily="18" charset="-34"/>
                <a:cs typeface="AngsanaUPC" pitchFamily="18" charset="-34"/>
              </a:rPr>
              <a:t> </a:t>
            </a:r>
            <a:r>
              <a:rPr lang="en-US" sz="3400" b="0" kern="0" dirty="0" err="1" smtClean="0">
                <a:latin typeface="AngsanaUPC" pitchFamily="18" charset="-34"/>
                <a:cs typeface="AngsanaUPC" pitchFamily="18" charset="-34"/>
              </a:rPr>
              <a:t>ที่กว้างใหญ่ที่ไพศาล</a:t>
            </a:r>
            <a:endParaRPr lang="en-US" sz="3400" b="0" kern="0" dirty="0" smtClean="0">
              <a:latin typeface="AngsanaUPC" pitchFamily="18" charset="-34"/>
              <a:cs typeface="AngsanaUPC" pitchFamily="18" charset="-34"/>
            </a:endParaRPr>
          </a:p>
          <a:p>
            <a:pPr>
              <a:lnSpc>
                <a:spcPts val="3400"/>
              </a:lnSpc>
              <a:spcBef>
                <a:spcPct val="30000"/>
              </a:spcBef>
              <a:buFontTx/>
              <a:buNone/>
              <a:defRPr/>
            </a:pPr>
            <a:r>
              <a:rPr lang="en-US" sz="3400" b="0" kern="0" dirty="0" err="1" smtClean="0">
                <a:latin typeface="AngsanaUPC" pitchFamily="18" charset="-34"/>
                <a:cs typeface="AngsanaUPC" pitchFamily="18" charset="-34"/>
              </a:rPr>
              <a:t>ใช่มากด้วย</a:t>
            </a:r>
            <a:r>
              <a:rPr lang="en-US" sz="3400" b="0" kern="0" dirty="0" smtClean="0">
                <a:latin typeface="AngsanaUPC" pitchFamily="18" charset="-34"/>
                <a:cs typeface="AngsanaUPC" pitchFamily="18" charset="-34"/>
              </a:rPr>
              <a:t> </a:t>
            </a:r>
            <a:r>
              <a:rPr lang="th-TH" sz="3400" b="0" kern="0" dirty="0" smtClean="0">
                <a:latin typeface="AngsanaUPC" pitchFamily="18" charset="-34"/>
                <a:cs typeface="AngsanaUPC" pitchFamily="18" charset="-34"/>
              </a:rPr>
              <a:t>“</a:t>
            </a:r>
            <a:r>
              <a:rPr lang="en-US" sz="3400" kern="0" dirty="0" err="1" smtClean="0">
                <a:solidFill>
                  <a:srgbClr val="FF0000"/>
                </a:solidFill>
                <a:latin typeface="AngsanaUPC" pitchFamily="18" charset="-34"/>
                <a:cs typeface="AngsanaUPC" pitchFamily="18" charset="-34"/>
              </a:rPr>
              <a:t>เครื่องมือหรืออาคาร</a:t>
            </a:r>
            <a:r>
              <a:rPr lang="th-TH" sz="3400" b="0" kern="0" dirty="0" smtClean="0">
                <a:latin typeface="AngsanaUPC" pitchFamily="18" charset="-34"/>
                <a:cs typeface="AngsanaUPC" pitchFamily="18" charset="-34"/>
              </a:rPr>
              <a:t>”</a:t>
            </a:r>
            <a:r>
              <a:rPr lang="en-US" sz="3400" b="0" kern="0" dirty="0" smtClean="0">
                <a:latin typeface="AngsanaUPC" pitchFamily="18" charset="-34"/>
                <a:cs typeface="AngsanaUPC" pitchFamily="18" charset="-34"/>
              </a:rPr>
              <a:t>	</a:t>
            </a:r>
            <a:r>
              <a:rPr lang="en-US" sz="3400" b="0" kern="0" dirty="0" err="1" smtClean="0">
                <a:latin typeface="AngsanaUPC" pitchFamily="18" charset="-34"/>
                <a:cs typeface="AngsanaUPC" pitchFamily="18" charset="-34"/>
              </a:rPr>
              <a:t>ใช่</a:t>
            </a:r>
            <a:r>
              <a:rPr lang="en-US" sz="3400" b="0" kern="0" dirty="0">
                <a:latin typeface="AngsanaUPC" pitchFamily="18" charset="-34"/>
                <a:cs typeface="AngsanaUPC" pitchFamily="18" charset="-34"/>
              </a:rPr>
              <a:t> </a:t>
            </a:r>
            <a:r>
              <a:rPr lang="th-TH" sz="3400" b="0" kern="0" dirty="0" smtClean="0">
                <a:latin typeface="AngsanaUPC" pitchFamily="18" charset="-34"/>
                <a:cs typeface="AngsanaUPC" pitchFamily="18" charset="-34"/>
              </a:rPr>
              <a:t>“</a:t>
            </a:r>
            <a:r>
              <a:rPr lang="en-US" sz="3400" kern="0" dirty="0" err="1" smtClean="0">
                <a:solidFill>
                  <a:srgbClr val="FF0000"/>
                </a:solidFill>
                <a:latin typeface="AngsanaUPC" pitchFamily="18" charset="-34"/>
                <a:cs typeface="AngsanaUPC" pitchFamily="18" charset="-34"/>
              </a:rPr>
              <a:t>เล่าขาน</a:t>
            </a:r>
            <a:r>
              <a:rPr lang="th-TH" sz="3400" b="0" kern="0" dirty="0" smtClean="0">
                <a:latin typeface="AngsanaUPC" pitchFamily="18" charset="-34"/>
                <a:cs typeface="AngsanaUPC" pitchFamily="18" charset="-34"/>
              </a:rPr>
              <a:t>”</a:t>
            </a:r>
            <a:r>
              <a:rPr lang="en-US" sz="3400" b="0" kern="0" dirty="0" smtClean="0">
                <a:latin typeface="AngsanaUPC" pitchFamily="18" charset="-34"/>
                <a:cs typeface="AngsanaUPC" pitchFamily="18" charset="-34"/>
              </a:rPr>
              <a:t> </a:t>
            </a:r>
            <a:r>
              <a:rPr lang="en-US" sz="3400" b="0" kern="0" dirty="0" err="1" smtClean="0">
                <a:latin typeface="AngsanaUPC" pitchFamily="18" charset="-34"/>
                <a:cs typeface="AngsanaUPC" pitchFamily="18" charset="-34"/>
              </a:rPr>
              <a:t>สืบสานเนิ่นนานมา</a:t>
            </a:r>
            <a:endParaRPr lang="en-US" sz="3400" b="0" kern="0" dirty="0" smtClean="0">
              <a:latin typeface="AngsanaUPC" pitchFamily="18" charset="-34"/>
              <a:cs typeface="AngsanaUPC" pitchFamily="18" charset="-34"/>
            </a:endParaRPr>
          </a:p>
          <a:p>
            <a:pPr>
              <a:lnSpc>
                <a:spcPts val="3400"/>
              </a:lnSpc>
              <a:spcBef>
                <a:spcPct val="30000"/>
              </a:spcBef>
              <a:buFontTx/>
              <a:buNone/>
              <a:defRPr/>
            </a:pPr>
            <a:r>
              <a:rPr lang="en-US" sz="3400" b="0" kern="0" dirty="0" err="1" smtClean="0">
                <a:latin typeface="AngsanaUPC" pitchFamily="18" charset="-34"/>
                <a:cs typeface="AngsanaUPC" pitchFamily="18" charset="-34"/>
              </a:rPr>
              <a:t>ใช่ว่ามี</a:t>
            </a:r>
            <a:r>
              <a:rPr lang="th-TH" sz="3400" b="0" kern="0" dirty="0" smtClean="0">
                <a:latin typeface="AngsanaUPC" pitchFamily="18" charset="-34"/>
                <a:cs typeface="AngsanaUPC" pitchFamily="18" charset="-34"/>
              </a:rPr>
              <a:t> “</a:t>
            </a:r>
            <a:r>
              <a:rPr lang="en-US" sz="3400" kern="0" dirty="0" err="1" smtClean="0">
                <a:solidFill>
                  <a:srgbClr val="FF0000"/>
                </a:solidFill>
                <a:latin typeface="AngsanaUPC" pitchFamily="18" charset="-34"/>
                <a:cs typeface="AngsanaUPC" pitchFamily="18" charset="-34"/>
              </a:rPr>
              <a:t>ถิ่นฐาน</a:t>
            </a:r>
            <a:r>
              <a:rPr lang="th-TH" sz="3400" b="0" kern="0" dirty="0" smtClean="0">
                <a:latin typeface="AngsanaUPC" pitchFamily="18" charset="-34"/>
                <a:cs typeface="AngsanaUPC" pitchFamily="18" charset="-34"/>
              </a:rPr>
              <a:t>”</a:t>
            </a:r>
            <a:r>
              <a:rPr lang="en-US" sz="3400" b="0" kern="0" dirty="0" smtClean="0">
                <a:latin typeface="AngsanaUPC" pitchFamily="18" charset="-34"/>
                <a:cs typeface="AngsanaUPC" pitchFamily="18" charset="-34"/>
              </a:rPr>
              <a:t> </a:t>
            </a:r>
            <a:r>
              <a:rPr lang="en-US" sz="3400" b="0" kern="0" dirty="0" err="1" smtClean="0">
                <a:latin typeface="AngsanaUPC" pitchFamily="18" charset="-34"/>
                <a:cs typeface="AngsanaUPC" pitchFamily="18" charset="-34"/>
              </a:rPr>
              <a:t>ดีที่ตั้งสวย</a:t>
            </a:r>
            <a:r>
              <a:rPr lang="en-US" sz="3400" b="0" kern="0" dirty="0" smtClean="0">
                <a:latin typeface="AngsanaUPC" pitchFamily="18" charset="-34"/>
                <a:cs typeface="AngsanaUPC" pitchFamily="18" charset="-34"/>
              </a:rPr>
              <a:t>		</a:t>
            </a:r>
            <a:r>
              <a:rPr lang="en-US" sz="3400" b="0" kern="0" dirty="0" err="1" smtClean="0">
                <a:latin typeface="AngsanaUPC" pitchFamily="18" charset="-34"/>
                <a:cs typeface="AngsanaUPC" pitchFamily="18" charset="-34"/>
              </a:rPr>
              <a:t>ใช่ว่ารวย</a:t>
            </a:r>
            <a:r>
              <a:rPr lang="en-US" sz="3400" b="0" kern="0" dirty="0" smtClean="0">
                <a:latin typeface="AngsanaUPC" pitchFamily="18" charset="-34"/>
                <a:cs typeface="AngsanaUPC" pitchFamily="18" charset="-34"/>
              </a:rPr>
              <a:t> </a:t>
            </a:r>
            <a:r>
              <a:rPr lang="th-TH" sz="3400" b="0" kern="0" dirty="0" smtClean="0">
                <a:latin typeface="AngsanaUPC" pitchFamily="18" charset="-34"/>
                <a:cs typeface="AngsanaUPC" pitchFamily="18" charset="-34"/>
              </a:rPr>
              <a:t>“</a:t>
            </a:r>
            <a:r>
              <a:rPr lang="en-US" sz="3400" kern="0" dirty="0" err="1" smtClean="0">
                <a:solidFill>
                  <a:srgbClr val="FF0000"/>
                </a:solidFill>
                <a:latin typeface="AngsanaUPC" pitchFamily="18" charset="-34"/>
                <a:cs typeface="AngsanaUPC" pitchFamily="18" charset="-34"/>
              </a:rPr>
              <a:t>งบประมาณ</a:t>
            </a:r>
            <a:r>
              <a:rPr lang="th-TH" sz="3400" b="0" kern="0" dirty="0" smtClean="0">
                <a:latin typeface="AngsanaUPC" pitchFamily="18" charset="-34"/>
                <a:cs typeface="AngsanaUPC" pitchFamily="18" charset="-34"/>
              </a:rPr>
              <a:t>” </a:t>
            </a:r>
            <a:r>
              <a:rPr lang="en-US" sz="3400" b="0" kern="0" dirty="0" err="1" smtClean="0">
                <a:latin typeface="AngsanaUPC" pitchFamily="18" charset="-34"/>
                <a:cs typeface="AngsanaUPC" pitchFamily="18" charset="-34"/>
              </a:rPr>
              <a:t>การ</a:t>
            </a:r>
            <a:r>
              <a:rPr lang="th-TH" sz="3400" b="0" kern="0" dirty="0" smtClean="0">
                <a:latin typeface="AngsanaUPC" pitchFamily="18" charset="-34"/>
                <a:cs typeface="AngsanaUPC" pitchFamily="18" charset="-34"/>
              </a:rPr>
              <a:t>สรรหา</a:t>
            </a:r>
            <a:endParaRPr lang="en-US" sz="3400" b="0" kern="0" dirty="0">
              <a:latin typeface="AngsanaUPC" pitchFamily="18" charset="-34"/>
              <a:cs typeface="AngsanaUPC" pitchFamily="18" charset="-34"/>
            </a:endParaRPr>
          </a:p>
          <a:p>
            <a:pPr>
              <a:lnSpc>
                <a:spcPts val="3400"/>
              </a:lnSpc>
              <a:spcBef>
                <a:spcPct val="30000"/>
              </a:spcBef>
              <a:buFontTx/>
              <a:buNone/>
              <a:defRPr/>
            </a:pPr>
            <a:r>
              <a:rPr lang="en-US" sz="3400" b="0" kern="0" dirty="0" err="1" smtClean="0">
                <a:latin typeface="AngsanaUPC" pitchFamily="18" charset="-34"/>
                <a:cs typeface="AngsanaUPC" pitchFamily="18" charset="-34"/>
              </a:rPr>
              <a:t>ใช่ว่าขาด</a:t>
            </a:r>
            <a:r>
              <a:rPr lang="en-US" sz="3400" b="0" kern="0" dirty="0" smtClean="0">
                <a:latin typeface="AngsanaUPC" pitchFamily="18" charset="-34"/>
                <a:cs typeface="AngsanaUPC" pitchFamily="18" charset="-34"/>
              </a:rPr>
              <a:t> </a:t>
            </a:r>
            <a:r>
              <a:rPr lang="th-TH" sz="3400" b="0" kern="0" dirty="0" smtClean="0">
                <a:latin typeface="AngsanaUPC" pitchFamily="18" charset="-34"/>
                <a:cs typeface="AngsanaUPC" pitchFamily="18" charset="-34"/>
              </a:rPr>
              <a:t>“</a:t>
            </a:r>
            <a:r>
              <a:rPr lang="en-US" sz="3400" kern="0" dirty="0" err="1" smtClean="0">
                <a:solidFill>
                  <a:srgbClr val="FF0000"/>
                </a:solidFill>
                <a:latin typeface="AngsanaUPC" pitchFamily="18" charset="-34"/>
                <a:cs typeface="AngsanaUPC" pitchFamily="18" charset="-34"/>
              </a:rPr>
              <a:t>คู่แข่ง</a:t>
            </a:r>
            <a:r>
              <a:rPr lang="th-TH" sz="3400" b="0" kern="0" dirty="0" smtClean="0">
                <a:latin typeface="AngsanaUPC" pitchFamily="18" charset="-34"/>
                <a:cs typeface="AngsanaUPC" pitchFamily="18" charset="-34"/>
              </a:rPr>
              <a:t>” </a:t>
            </a:r>
            <a:r>
              <a:rPr lang="en-US" sz="3400" b="0" kern="0" dirty="0" err="1" smtClean="0">
                <a:latin typeface="AngsanaUPC" pitchFamily="18" charset="-34"/>
                <a:cs typeface="AngsanaUPC" pitchFamily="18" charset="-34"/>
              </a:rPr>
              <a:t>แหล่</a:t>
            </a:r>
            <a:r>
              <a:rPr lang="th-TH" sz="3400" b="0" kern="0" dirty="0" smtClean="0">
                <a:latin typeface="AngsanaUPC" pitchFamily="18" charset="-34"/>
                <a:cs typeface="AngsanaUPC" pitchFamily="18" charset="-34"/>
              </a:rPr>
              <a:t>งปัญญา</a:t>
            </a:r>
            <a:r>
              <a:rPr lang="en-US" sz="3400" b="0" kern="0" dirty="0" smtClean="0">
                <a:latin typeface="AngsanaUPC" pitchFamily="18" charset="-34"/>
                <a:cs typeface="AngsanaUPC" pitchFamily="18" charset="-34"/>
              </a:rPr>
              <a:t>		</a:t>
            </a:r>
            <a:r>
              <a:rPr lang="en-US" sz="3400" b="0" kern="0" dirty="0" err="1" smtClean="0">
                <a:latin typeface="AngsanaUPC" pitchFamily="18" charset="-34"/>
                <a:cs typeface="AngsanaUPC" pitchFamily="18" charset="-34"/>
              </a:rPr>
              <a:t>แล้วเชื่อว่าจะยิ่งใหญ่ใน</a:t>
            </a:r>
            <a:r>
              <a:rPr lang="en-US" sz="3400" b="0" kern="0" dirty="0" smtClean="0">
                <a:latin typeface="AngsanaUPC" pitchFamily="18" charset="-34"/>
                <a:cs typeface="AngsanaUPC" pitchFamily="18" charset="-34"/>
              </a:rPr>
              <a:t> “</a:t>
            </a:r>
            <a:r>
              <a:rPr lang="en-US" sz="3400" kern="0" dirty="0" err="1" smtClean="0">
                <a:solidFill>
                  <a:srgbClr val="FF0000"/>
                </a:solidFill>
                <a:latin typeface="AngsanaUPC" pitchFamily="18" charset="-34"/>
                <a:cs typeface="AngsanaUPC" pitchFamily="18" charset="-34"/>
              </a:rPr>
              <a:t>ปฐพี</a:t>
            </a:r>
            <a:r>
              <a:rPr lang="en-US" sz="3400" b="0" kern="0" dirty="0" smtClean="0">
                <a:latin typeface="AngsanaUPC" pitchFamily="18" charset="-34"/>
                <a:cs typeface="AngsanaUPC" pitchFamily="18" charset="-34"/>
              </a:rPr>
              <a:t>”</a:t>
            </a:r>
          </a:p>
          <a:p>
            <a:pPr>
              <a:lnSpc>
                <a:spcPts val="3400"/>
              </a:lnSpc>
              <a:spcBef>
                <a:spcPct val="30000"/>
              </a:spcBef>
              <a:buFontTx/>
              <a:buNone/>
              <a:defRPr/>
            </a:pPr>
            <a:r>
              <a:rPr lang="en-US" sz="3400" b="0" kern="0" dirty="0" err="1" smtClean="0">
                <a:latin typeface="AngsanaUPC" pitchFamily="18" charset="-34"/>
                <a:cs typeface="AngsanaUPC" pitchFamily="18" charset="-34"/>
              </a:rPr>
              <a:t>แต่มากด้วย</a:t>
            </a:r>
            <a:r>
              <a:rPr lang="th-TH" sz="3400" b="0" kern="0" dirty="0" smtClean="0">
                <a:latin typeface="AngsanaUPC" pitchFamily="18" charset="-34"/>
                <a:cs typeface="AngsanaUPC" pitchFamily="18" charset="-34"/>
              </a:rPr>
              <a:t> “</a:t>
            </a:r>
            <a:r>
              <a:rPr lang="en-US" sz="3400" kern="0" dirty="0" err="1" smtClean="0">
                <a:solidFill>
                  <a:srgbClr val="FF0000"/>
                </a:solidFill>
                <a:latin typeface="AngsanaUPC" pitchFamily="18" charset="-34"/>
                <a:cs typeface="AngsanaUPC" pitchFamily="18" charset="-34"/>
              </a:rPr>
              <a:t>ภูมิปัญญา</a:t>
            </a:r>
            <a:r>
              <a:rPr lang="th-TH" sz="3400" b="0" kern="0" dirty="0" smtClean="0">
                <a:latin typeface="AngsanaUPC" pitchFamily="18" charset="-34"/>
                <a:cs typeface="AngsanaUPC" pitchFamily="18" charset="-34"/>
              </a:rPr>
              <a:t>”</a:t>
            </a:r>
            <a:r>
              <a:rPr lang="en-US" sz="3400" b="0" kern="0" dirty="0" smtClean="0">
                <a:latin typeface="AngsanaUPC" pitchFamily="18" charset="-34"/>
                <a:cs typeface="AngsanaUPC" pitchFamily="18" charset="-34"/>
              </a:rPr>
              <a:t> </a:t>
            </a:r>
            <a:r>
              <a:rPr lang="en-US" sz="3400" b="0" kern="0" dirty="0" err="1" smtClean="0">
                <a:latin typeface="AngsanaUPC" pitchFamily="18" charset="-34"/>
                <a:cs typeface="AngsanaUPC" pitchFamily="18" charset="-34"/>
              </a:rPr>
              <a:t>ภูมิความคิด</a:t>
            </a:r>
            <a:r>
              <a:rPr lang="en-US" sz="3400" b="0" kern="0" dirty="0" smtClean="0">
                <a:latin typeface="AngsanaUPC" pitchFamily="18" charset="-34"/>
                <a:cs typeface="AngsanaUPC" pitchFamily="18" charset="-34"/>
              </a:rPr>
              <a:t>	</a:t>
            </a:r>
            <a:r>
              <a:rPr lang="en-US" sz="3400" b="0" kern="0" dirty="0" err="1" smtClean="0">
                <a:latin typeface="AngsanaUPC" pitchFamily="18" charset="-34"/>
                <a:cs typeface="AngsanaUPC" pitchFamily="18" charset="-34"/>
              </a:rPr>
              <a:t>มากด้วย</a:t>
            </a:r>
            <a:r>
              <a:rPr lang="en-US" sz="3400" b="0" kern="0" dirty="0" smtClean="0">
                <a:latin typeface="AngsanaUPC" pitchFamily="18" charset="-34"/>
                <a:cs typeface="AngsanaUPC" pitchFamily="18" charset="-34"/>
              </a:rPr>
              <a:t> “</a:t>
            </a:r>
            <a:r>
              <a:rPr lang="th-TH" sz="3400" kern="0" dirty="0" smtClean="0">
                <a:solidFill>
                  <a:srgbClr val="FF0000"/>
                </a:solidFill>
                <a:latin typeface="AngsanaUPC" pitchFamily="18" charset="-34"/>
                <a:cs typeface="AngsanaUPC" pitchFamily="18" charset="-34"/>
              </a:rPr>
              <a:t>จิต</a:t>
            </a:r>
            <a:r>
              <a:rPr lang="en-US" sz="3400" b="0" kern="0" dirty="0" smtClean="0">
                <a:latin typeface="AngsanaUPC" pitchFamily="18" charset="-34"/>
                <a:cs typeface="AngsanaUPC" pitchFamily="18" charset="-34"/>
              </a:rPr>
              <a:t>” </a:t>
            </a:r>
            <a:r>
              <a:rPr lang="en-US" sz="3400" b="0" kern="0" dirty="0" err="1" smtClean="0">
                <a:latin typeface="AngsanaUPC" pitchFamily="18" charset="-34"/>
                <a:cs typeface="AngsanaUPC" pitchFamily="18" charset="-34"/>
              </a:rPr>
              <a:t>คิดใฝ่รู้อยู่ทุกที่</a:t>
            </a:r>
            <a:endParaRPr lang="en-US" sz="3400" b="0" kern="0" dirty="0" smtClean="0">
              <a:latin typeface="AngsanaUPC" pitchFamily="18" charset="-34"/>
              <a:cs typeface="AngsanaUPC" pitchFamily="18" charset="-34"/>
            </a:endParaRPr>
          </a:p>
          <a:p>
            <a:pPr>
              <a:lnSpc>
                <a:spcPts val="3400"/>
              </a:lnSpc>
              <a:spcBef>
                <a:spcPct val="30000"/>
              </a:spcBef>
              <a:buFontTx/>
              <a:buNone/>
              <a:defRPr/>
            </a:pPr>
            <a:r>
              <a:rPr lang="en-US" sz="3400" b="0" kern="0" dirty="0" err="1" smtClean="0">
                <a:latin typeface="AngsanaUPC" pitchFamily="18" charset="-34"/>
                <a:cs typeface="AngsanaUPC" pitchFamily="18" charset="-34"/>
              </a:rPr>
              <a:t>มากด้วย</a:t>
            </a:r>
            <a:r>
              <a:rPr lang="en-US" sz="3400" b="0" kern="0" dirty="0" smtClean="0">
                <a:latin typeface="AngsanaUPC" pitchFamily="18" charset="-34"/>
                <a:cs typeface="AngsanaUPC" pitchFamily="18" charset="-34"/>
              </a:rPr>
              <a:t> </a:t>
            </a:r>
            <a:r>
              <a:rPr lang="th-TH" sz="3400" b="0" kern="0" dirty="0" smtClean="0">
                <a:latin typeface="AngsanaUPC" pitchFamily="18" charset="-34"/>
                <a:cs typeface="AngsanaUPC" pitchFamily="18" charset="-34"/>
              </a:rPr>
              <a:t>“</a:t>
            </a:r>
            <a:r>
              <a:rPr lang="en-US" sz="3400" kern="0" dirty="0" err="1" smtClean="0">
                <a:solidFill>
                  <a:srgbClr val="FF0000"/>
                </a:solidFill>
                <a:latin typeface="AngsanaUPC" pitchFamily="18" charset="-34"/>
                <a:cs typeface="AngsanaUPC" pitchFamily="18" charset="-34"/>
              </a:rPr>
              <a:t>ใจ</a:t>
            </a:r>
            <a:r>
              <a:rPr lang="th-TH" sz="3400" b="0" kern="0" dirty="0" smtClean="0">
                <a:latin typeface="AngsanaUPC" pitchFamily="18" charset="-34"/>
                <a:cs typeface="AngsanaUPC" pitchFamily="18" charset="-34"/>
              </a:rPr>
              <a:t>” </a:t>
            </a:r>
            <a:r>
              <a:rPr lang="en-US" sz="3400" b="0" kern="0" dirty="0" err="1" smtClean="0">
                <a:latin typeface="AngsanaUPC" pitchFamily="18" charset="-34"/>
                <a:cs typeface="AngsanaUPC" pitchFamily="18" charset="-34"/>
              </a:rPr>
              <a:t>รำลึกถึงซึ่งความดี</a:t>
            </a:r>
            <a:r>
              <a:rPr lang="en-US" sz="3400" b="0" kern="0" dirty="0" smtClean="0">
                <a:latin typeface="AngsanaUPC" pitchFamily="18" charset="-34"/>
                <a:cs typeface="AngsanaUPC" pitchFamily="18" charset="-34"/>
              </a:rPr>
              <a:t>		</a:t>
            </a:r>
            <a:r>
              <a:rPr lang="en-US" sz="3400" b="0" kern="0" dirty="0" err="1" smtClean="0">
                <a:latin typeface="AngsanaUPC" pitchFamily="18" charset="-34"/>
                <a:cs typeface="AngsanaUPC" pitchFamily="18" charset="-34"/>
              </a:rPr>
              <a:t>ด้วยศักดิ์ศรี</a:t>
            </a:r>
            <a:r>
              <a:rPr lang="th-TH" sz="3400" b="0" kern="0" dirty="0" smtClean="0">
                <a:latin typeface="AngsanaUPC" pitchFamily="18" charset="-34"/>
                <a:cs typeface="AngsanaUPC" pitchFamily="18" charset="-34"/>
              </a:rPr>
              <a:t> “</a:t>
            </a:r>
            <a:r>
              <a:rPr lang="en-US" sz="3400" kern="0" dirty="0" err="1" smtClean="0">
                <a:solidFill>
                  <a:srgbClr val="FF0000"/>
                </a:solidFill>
                <a:latin typeface="AngsanaUPC" pitchFamily="18" charset="-34"/>
                <a:cs typeface="AngsanaUPC" pitchFamily="18" charset="-34"/>
              </a:rPr>
              <a:t>อุดมการณ์</a:t>
            </a:r>
            <a:r>
              <a:rPr lang="th-TH" sz="3400" b="0" kern="0" dirty="0" smtClean="0">
                <a:latin typeface="AngsanaUPC" pitchFamily="18" charset="-34"/>
                <a:cs typeface="AngsanaUPC" pitchFamily="18" charset="-34"/>
              </a:rPr>
              <a:t>”</a:t>
            </a:r>
            <a:r>
              <a:rPr lang="en-US" sz="3400" b="0" kern="0" dirty="0" smtClean="0">
                <a:latin typeface="AngsanaUPC" pitchFamily="18" charset="-34"/>
                <a:cs typeface="AngsanaUPC" pitchFamily="18" charset="-34"/>
              </a:rPr>
              <a:t> </a:t>
            </a:r>
            <a:r>
              <a:rPr lang="en-US" sz="3400" b="0" kern="0" dirty="0" err="1" smtClean="0">
                <a:latin typeface="AngsanaUPC" pitchFamily="18" charset="-34"/>
                <a:cs typeface="AngsanaUPC" pitchFamily="18" charset="-34"/>
              </a:rPr>
              <a:t>สานสืบมา</a:t>
            </a:r>
            <a:endParaRPr lang="en-US" sz="3400" b="0" kern="0" dirty="0" smtClean="0">
              <a:latin typeface="AngsanaUPC" pitchFamily="18" charset="-34"/>
              <a:cs typeface="AngsanaUPC" pitchFamily="18" charset="-34"/>
            </a:endParaRPr>
          </a:p>
          <a:p>
            <a:pPr>
              <a:lnSpc>
                <a:spcPts val="3400"/>
              </a:lnSpc>
              <a:spcBef>
                <a:spcPct val="30000"/>
              </a:spcBef>
              <a:buFontTx/>
              <a:buNone/>
              <a:defRPr/>
            </a:pPr>
            <a:r>
              <a:rPr lang="en-US" sz="3400" b="0" kern="0" dirty="0" err="1" smtClean="0">
                <a:latin typeface="AngsanaUPC" pitchFamily="18" charset="-34"/>
                <a:cs typeface="AngsanaUPC" pitchFamily="18" charset="-34"/>
              </a:rPr>
              <a:t>และมากด้วย</a:t>
            </a:r>
            <a:r>
              <a:rPr lang="en-US" sz="3400" b="0" kern="0" dirty="0" smtClean="0">
                <a:latin typeface="AngsanaUPC" pitchFamily="18" charset="-34"/>
                <a:cs typeface="AngsanaUPC" pitchFamily="18" charset="-34"/>
              </a:rPr>
              <a:t> “</a:t>
            </a:r>
            <a:r>
              <a:rPr lang="en-US" sz="3400" kern="0" dirty="0" err="1" smtClean="0">
                <a:solidFill>
                  <a:srgbClr val="FF0000"/>
                </a:solidFill>
                <a:latin typeface="AngsanaUPC" pitchFamily="18" charset="-34"/>
                <a:cs typeface="AngsanaUPC" pitchFamily="18" charset="-34"/>
              </a:rPr>
              <a:t>คนดี</a:t>
            </a:r>
            <a:r>
              <a:rPr lang="en-US" sz="3400" b="0" kern="0" dirty="0" smtClean="0">
                <a:latin typeface="AngsanaUPC" pitchFamily="18" charset="-34"/>
                <a:cs typeface="AngsanaUPC" pitchFamily="18" charset="-34"/>
              </a:rPr>
              <a:t>” </a:t>
            </a:r>
            <a:r>
              <a:rPr lang="en-US" sz="3400" b="0" kern="0" dirty="0" err="1" smtClean="0">
                <a:latin typeface="AngsanaUPC" pitchFamily="18" charset="-34"/>
                <a:cs typeface="AngsanaUPC" pitchFamily="18" charset="-34"/>
              </a:rPr>
              <a:t>มีความรู้</a:t>
            </a:r>
            <a:r>
              <a:rPr lang="en-US" sz="3400" b="0" kern="0" dirty="0" smtClean="0">
                <a:latin typeface="AngsanaUPC" pitchFamily="18" charset="-34"/>
                <a:cs typeface="AngsanaUPC" pitchFamily="18" charset="-34"/>
              </a:rPr>
              <a:t>		</a:t>
            </a:r>
            <a:r>
              <a:rPr lang="en-US" sz="3400" b="0" kern="0" dirty="0" err="1" smtClean="0">
                <a:latin typeface="AngsanaUPC" pitchFamily="18" charset="-34"/>
                <a:cs typeface="AngsanaUPC" pitchFamily="18" charset="-34"/>
              </a:rPr>
              <a:t>ด้วย</a:t>
            </a:r>
            <a:r>
              <a:rPr lang="en-US" sz="3400" b="0" kern="0" dirty="0" smtClean="0">
                <a:latin typeface="AngsanaUPC" pitchFamily="18" charset="-34"/>
                <a:cs typeface="AngsanaUPC" pitchFamily="18" charset="-34"/>
              </a:rPr>
              <a:t> “</a:t>
            </a:r>
            <a:r>
              <a:rPr lang="th-TH" sz="3400" kern="0" dirty="0" smtClean="0">
                <a:solidFill>
                  <a:srgbClr val="FF0000"/>
                </a:solidFill>
                <a:latin typeface="AngsanaUPC" pitchFamily="18" charset="-34"/>
                <a:cs typeface="AngsanaUPC" pitchFamily="18" charset="-34"/>
              </a:rPr>
              <a:t>วิญญู</a:t>
            </a:r>
            <a:r>
              <a:rPr lang="en-US" sz="3400" b="0" kern="0" dirty="0" smtClean="0">
                <a:latin typeface="AngsanaUPC" pitchFamily="18" charset="-34"/>
                <a:cs typeface="AngsanaUPC" pitchFamily="18" charset="-34"/>
              </a:rPr>
              <a:t>” </a:t>
            </a:r>
            <a:r>
              <a:rPr lang="en-US" sz="3400" b="0" kern="0" dirty="0" err="1" smtClean="0">
                <a:latin typeface="AngsanaUPC" pitchFamily="18" charset="-34"/>
                <a:cs typeface="AngsanaUPC" pitchFamily="18" charset="-34"/>
              </a:rPr>
              <a:t>ผู้มีใจใฝ่ศึกษา</a:t>
            </a:r>
            <a:endParaRPr lang="en-US" sz="3400" b="0" kern="0" dirty="0" smtClean="0">
              <a:latin typeface="AngsanaUPC" pitchFamily="18" charset="-34"/>
              <a:cs typeface="AngsanaUPC" pitchFamily="18" charset="-34"/>
            </a:endParaRPr>
          </a:p>
          <a:p>
            <a:pPr>
              <a:lnSpc>
                <a:spcPts val="3400"/>
              </a:lnSpc>
              <a:spcBef>
                <a:spcPct val="30000"/>
              </a:spcBef>
              <a:buFontTx/>
              <a:buNone/>
              <a:defRPr/>
            </a:pPr>
            <a:r>
              <a:rPr lang="en-US" sz="3400" b="0" kern="0" dirty="0" err="1">
                <a:latin typeface="AngsanaUPC" pitchFamily="18" charset="-34"/>
                <a:cs typeface="AngsanaUPC" pitchFamily="18" charset="-34"/>
              </a:rPr>
              <a:t>ด้วย</a:t>
            </a:r>
            <a:r>
              <a:rPr lang="th-TH" sz="3400" b="0" kern="0" dirty="0" smtClean="0">
                <a:latin typeface="AngsanaUPC" pitchFamily="18" charset="-34"/>
                <a:cs typeface="AngsanaUPC" pitchFamily="18" charset="-34"/>
              </a:rPr>
              <a:t>หลักธรรม “</a:t>
            </a:r>
            <a:r>
              <a:rPr lang="en-US" sz="3400" kern="0" dirty="0" err="1" smtClean="0">
                <a:solidFill>
                  <a:srgbClr val="FF0000"/>
                </a:solidFill>
                <a:latin typeface="AngsanaUPC" pitchFamily="18" charset="-34"/>
                <a:cs typeface="AngsanaUPC" pitchFamily="18" charset="-34"/>
              </a:rPr>
              <a:t>สำนึก</a:t>
            </a:r>
            <a:r>
              <a:rPr lang="en-US" sz="3400" kern="0" dirty="0" err="1">
                <a:solidFill>
                  <a:srgbClr val="FF0000"/>
                </a:solidFill>
                <a:latin typeface="AngsanaUPC" pitchFamily="18" charset="-34"/>
                <a:cs typeface="AngsanaUPC" pitchFamily="18" charset="-34"/>
              </a:rPr>
              <a:t>รวมร่วม</a:t>
            </a:r>
            <a:r>
              <a:rPr lang="en-US" sz="3400" kern="0" dirty="0" err="1" smtClean="0">
                <a:solidFill>
                  <a:srgbClr val="FF0000"/>
                </a:solidFill>
                <a:latin typeface="AngsanaUPC" pitchFamily="18" charset="-34"/>
                <a:cs typeface="AngsanaUPC" pitchFamily="18" charset="-34"/>
              </a:rPr>
              <a:t>พัฒนา</a:t>
            </a:r>
            <a:r>
              <a:rPr lang="th-TH" sz="3400" b="0" kern="0" dirty="0" smtClean="0">
                <a:latin typeface="AngsanaUPC" pitchFamily="18" charset="-34"/>
                <a:cs typeface="AngsanaUPC" pitchFamily="18" charset="-34"/>
              </a:rPr>
              <a:t>”</a:t>
            </a:r>
            <a:r>
              <a:rPr lang="en-US" sz="3400" b="0" kern="0" dirty="0" smtClean="0">
                <a:latin typeface="AngsanaUPC" pitchFamily="18" charset="-34"/>
                <a:cs typeface="AngsanaUPC" pitchFamily="18" charset="-34"/>
              </a:rPr>
              <a:t>	</a:t>
            </a:r>
            <a:r>
              <a:rPr lang="th-TH" sz="3400" b="0" kern="0" dirty="0" smtClean="0">
                <a:latin typeface="AngsanaUPC" pitchFamily="18" charset="-34"/>
                <a:cs typeface="AngsanaUPC" pitchFamily="18" charset="-34"/>
              </a:rPr>
              <a:t>“</a:t>
            </a:r>
            <a:r>
              <a:rPr lang="en-US" sz="3400" kern="0" dirty="0" err="1" smtClean="0">
                <a:solidFill>
                  <a:srgbClr val="FF0000"/>
                </a:solidFill>
                <a:latin typeface="AngsanaUPC" pitchFamily="18" charset="-34"/>
                <a:cs typeface="AngsanaUPC" pitchFamily="18" charset="-34"/>
              </a:rPr>
              <a:t>ร่วมรักษา-สร้างเสริม</a:t>
            </a:r>
            <a:r>
              <a:rPr lang="th-TH" sz="3400" b="0" kern="0" dirty="0" smtClean="0">
                <a:latin typeface="AngsanaUPC" pitchFamily="18" charset="-34"/>
                <a:cs typeface="AngsanaUPC" pitchFamily="18" charset="-34"/>
              </a:rPr>
              <a:t>”</a:t>
            </a:r>
            <a:r>
              <a:rPr lang="en-US" sz="3400" b="0" kern="0" dirty="0" smtClean="0">
                <a:latin typeface="AngsanaUPC" pitchFamily="18" charset="-34"/>
                <a:cs typeface="AngsanaUPC" pitchFamily="18" charset="-34"/>
              </a:rPr>
              <a:t> </a:t>
            </a:r>
            <a:r>
              <a:rPr lang="en-US" sz="3400" b="0" kern="0" dirty="0" err="1" smtClean="0">
                <a:latin typeface="AngsanaUPC" pitchFamily="18" charset="-34"/>
                <a:cs typeface="AngsanaUPC" pitchFamily="18" charset="-34"/>
              </a:rPr>
              <a:t>เติมคนดี</a:t>
            </a:r>
            <a:endParaRPr lang="en-US" sz="3200" b="0" kern="0" dirty="0" smtClean="0">
              <a:latin typeface="AngsanaUPC" pitchFamily="18" charset="-34"/>
              <a:cs typeface="AngsanaUPC" pitchFamily="18" charset="-34"/>
            </a:endParaRPr>
          </a:p>
          <a:p>
            <a:pPr algn="ctr">
              <a:lnSpc>
                <a:spcPts val="3400"/>
              </a:lnSpc>
              <a:spcBef>
                <a:spcPct val="30000"/>
              </a:spcBef>
              <a:buFontTx/>
              <a:buNone/>
              <a:defRPr/>
            </a:pPr>
            <a:r>
              <a:rPr lang="en-US" sz="2800" b="0" i="1" kern="0" dirty="0" smtClean="0">
                <a:latin typeface="AngsanaUPC" pitchFamily="18" charset="-34"/>
                <a:cs typeface="AngsanaUPC" pitchFamily="18" charset="-34"/>
              </a:rPr>
              <a:t>						</a:t>
            </a:r>
            <a:r>
              <a:rPr lang="en-US" sz="2400" b="0" i="1" kern="0" dirty="0" err="1" smtClean="0">
                <a:latin typeface="AngsanaUPC" pitchFamily="18" charset="-34"/>
                <a:cs typeface="AngsanaUPC" pitchFamily="18" charset="-34"/>
              </a:rPr>
              <a:t>ธนิตสรณ์</a:t>
            </a:r>
            <a:r>
              <a:rPr lang="en-US" sz="2400" b="0" i="1" kern="0" dirty="0" smtClean="0">
                <a:latin typeface="AngsanaUPC" pitchFamily="18" charset="-34"/>
                <a:cs typeface="AngsanaUPC" pitchFamily="18" charset="-34"/>
              </a:rPr>
              <a:t> </a:t>
            </a:r>
            <a:r>
              <a:rPr lang="en-US" sz="2400" b="0" i="1" kern="0" dirty="0" err="1" smtClean="0">
                <a:latin typeface="AngsanaUPC" pitchFamily="18" charset="-34"/>
                <a:cs typeface="AngsanaUPC" pitchFamily="18" charset="-34"/>
              </a:rPr>
              <a:t>จิระพรชัย</a:t>
            </a:r>
            <a:r>
              <a:rPr lang="en-US" sz="2400" b="0" i="1" kern="0" dirty="0" smtClean="0">
                <a:latin typeface="AngsanaUPC" pitchFamily="18" charset="-34"/>
                <a:cs typeface="AngsanaUPC" pitchFamily="18" charset="-34"/>
              </a:rPr>
              <a:t>  </a:t>
            </a:r>
            <a:r>
              <a:rPr lang="en-US" sz="2400" b="0" i="1" kern="0" dirty="0" err="1" smtClean="0">
                <a:latin typeface="AngsanaUPC" pitchFamily="18" charset="-34"/>
                <a:cs typeface="AngsanaUPC" pitchFamily="18" charset="-34"/>
              </a:rPr>
              <a:t>พระจอมเกล้าธนบุรี</a:t>
            </a:r>
            <a:endParaRPr lang="en-US" sz="2400" b="0" i="1" kern="0" dirty="0" smtClean="0">
              <a:latin typeface="AngsanaUPC" pitchFamily="18" charset="-34"/>
              <a:cs typeface="AngsanaUPC" pitchFamily="18" charset="-34"/>
            </a:endParaRPr>
          </a:p>
        </p:txBody>
      </p:sp>
      <p:sp>
        <p:nvSpPr>
          <p:cNvPr id="54" name="AutoShape 2061"/>
          <p:cNvSpPr>
            <a:spLocks noChangeArrowheads="1"/>
          </p:cNvSpPr>
          <p:nvPr/>
        </p:nvSpPr>
        <p:spPr bwMode="auto">
          <a:xfrm>
            <a:off x="75305" y="980728"/>
            <a:ext cx="8896350" cy="5148344"/>
          </a:xfrm>
          <a:prstGeom prst="roundRect">
            <a:avLst>
              <a:gd name="adj" fmla="val 3602"/>
            </a:avLst>
          </a:prstGeom>
          <a:noFill/>
          <a:ln w="31750">
            <a:solidFill>
              <a:srgbClr val="FF0000"/>
            </a:solidFill>
            <a:round/>
            <a:headEnd/>
            <a:tailEnd/>
          </a:ln>
          <a:effectLst/>
        </p:spPr>
        <p:txBody>
          <a:bodyPr wrap="none" anchor="ctr"/>
          <a:lstStyle/>
          <a:p>
            <a:pPr fontAlgn="auto">
              <a:spcBef>
                <a:spcPts val="0"/>
              </a:spcBef>
              <a:spcAft>
                <a:spcPts val="0"/>
              </a:spcAft>
              <a:defRPr/>
            </a:pPr>
            <a:endParaRPr lang="en-US" sz="1800" b="0" kern="0">
              <a:solidFill>
                <a:schemeClr val="tx1"/>
              </a:solidFill>
              <a:latin typeface="Arial"/>
            </a:endParaRPr>
          </a:p>
        </p:txBody>
      </p:sp>
      <p:sp>
        <p:nvSpPr>
          <p:cNvPr id="5" name="Rectangle 4"/>
          <p:cNvSpPr/>
          <p:nvPr/>
        </p:nvSpPr>
        <p:spPr>
          <a:xfrm>
            <a:off x="8644" y="14492"/>
            <a:ext cx="8980637" cy="615553"/>
          </a:xfrm>
          <a:prstGeom prst="rect">
            <a:avLst/>
          </a:prstGeom>
        </p:spPr>
        <p:style>
          <a:lnRef idx="1">
            <a:schemeClr val="accent2"/>
          </a:lnRef>
          <a:fillRef idx="3">
            <a:schemeClr val="accent2"/>
          </a:fillRef>
          <a:effectRef idx="2">
            <a:schemeClr val="accent2"/>
          </a:effectRef>
          <a:fontRef idx="minor">
            <a:schemeClr val="lt1"/>
          </a:fontRef>
        </p:style>
        <p:txBody>
          <a:bodyPr wrap="square">
            <a:spAutoFit/>
          </a:bodyPr>
          <a:lstStyle/>
          <a:p>
            <a:pPr algn="ctr">
              <a:lnSpc>
                <a:spcPts val="4000"/>
              </a:lnSpc>
              <a:defRPr/>
            </a:pPr>
            <a:r>
              <a:rPr lang="th-TH" sz="3600" b="1" kern="0" dirty="0">
                <a:solidFill>
                  <a:schemeClr val="bg1"/>
                </a:solidFill>
                <a:latin typeface="Angsana New" pitchFamily="18" charset="-34"/>
                <a:cs typeface="Angsana New" pitchFamily="18" charset="-34"/>
              </a:rPr>
              <a:t>ความ</a:t>
            </a:r>
            <a:r>
              <a:rPr lang="th-TH" sz="3600" b="1" kern="0" dirty="0" smtClean="0">
                <a:solidFill>
                  <a:schemeClr val="bg1"/>
                </a:solidFill>
                <a:latin typeface="Angsana New" pitchFamily="18" charset="-34"/>
                <a:cs typeface="Angsana New" pitchFamily="18" charset="-34"/>
              </a:rPr>
              <a:t>ยั่งยืน </a:t>
            </a:r>
            <a:r>
              <a:rPr lang="th-TH" sz="3600" b="1" kern="0" dirty="0">
                <a:solidFill>
                  <a:schemeClr val="bg1"/>
                </a:solidFill>
                <a:latin typeface="Angsana New" pitchFamily="18" charset="-34"/>
                <a:cs typeface="Angsana New" pitchFamily="18" charset="-34"/>
              </a:rPr>
              <a:t>และความยิ่งใหญ่ขององค์กร</a:t>
            </a:r>
            <a:endParaRPr lang="th-TH" sz="3600" b="1" dirty="0">
              <a:solidFill>
                <a:schemeClr val="bg1"/>
              </a:solidFill>
              <a:latin typeface="AngsanaUPC" panose="02020603050405020304" pitchFamily="18" charset="-34"/>
              <a:cs typeface="AngsanaUPC" panose="02020603050405020304" pitchFamily="18" charset="-34"/>
            </a:endParaRPr>
          </a:p>
        </p:txBody>
      </p:sp>
      <p:sp>
        <p:nvSpPr>
          <p:cNvPr id="6" name="Slide Number Placeholder 5"/>
          <p:cNvSpPr>
            <a:spLocks noGrp="1"/>
          </p:cNvSpPr>
          <p:nvPr>
            <p:ph type="sldNum" sz="quarter" idx="4"/>
          </p:nvPr>
        </p:nvSpPr>
        <p:spPr>
          <a:xfrm>
            <a:off x="8787337" y="4581128"/>
            <a:ext cx="430893" cy="365125"/>
          </a:xfrm>
        </p:spPr>
        <p:txBody>
          <a:bodyPr/>
          <a:lstStyle/>
          <a:p>
            <a:pPr fontAlgn="auto">
              <a:spcBef>
                <a:spcPts val="0"/>
              </a:spcBef>
              <a:spcAft>
                <a:spcPts val="0"/>
              </a:spcAft>
            </a:pPr>
            <a:r>
              <a:rPr lang="en-US" b="0" dirty="0" smtClean="0">
                <a:solidFill>
                  <a:prstClr val="black">
                    <a:tint val="75000"/>
                  </a:prstClr>
                </a:solidFill>
              </a:rPr>
              <a:t>4</a:t>
            </a:r>
            <a:endParaRPr lang="th-TH" b="0" dirty="0">
              <a:solidFill>
                <a:prstClr val="black">
                  <a:tint val="75000"/>
                </a:prstClr>
              </a:solidFill>
            </a:endParaRPr>
          </a:p>
        </p:txBody>
      </p:sp>
    </p:spTree>
    <p:extLst>
      <p:ext uri="{BB962C8B-B14F-4D97-AF65-F5344CB8AC3E}">
        <p14:creationId xmlns:p14="http://schemas.microsoft.com/office/powerpoint/2010/main" val="4209549959"/>
      </p:ext>
    </p:extLst>
  </p:cSld>
  <p:clrMapOvr>
    <a:masterClrMapping/>
  </p:clrMapOvr>
  <p:transition advClick="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1">
                                            <p:txEl>
                                              <p:pRg st="0" end="0"/>
                                            </p:txEl>
                                          </p:spTgt>
                                        </p:tgtEl>
                                        <p:attrNameLst>
                                          <p:attrName>style.visibility</p:attrName>
                                        </p:attrNameLst>
                                      </p:cBhvr>
                                      <p:to>
                                        <p:strVal val="visible"/>
                                      </p:to>
                                    </p:set>
                                    <p:animEffect transition="in" filter="wipe(left)">
                                      <p:cBhvr>
                                        <p:cTn id="7" dur="500"/>
                                        <p:tgtEl>
                                          <p:spTgt spid="5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51">
                                            <p:txEl>
                                              <p:pRg st="1" end="1"/>
                                            </p:txEl>
                                          </p:spTgt>
                                        </p:tgtEl>
                                        <p:attrNameLst>
                                          <p:attrName>style.visibility</p:attrName>
                                        </p:attrNameLst>
                                      </p:cBhvr>
                                      <p:to>
                                        <p:strVal val="visible"/>
                                      </p:to>
                                    </p:set>
                                    <p:animEffect transition="in" filter="wipe(left)">
                                      <p:cBhvr>
                                        <p:cTn id="12" dur="500"/>
                                        <p:tgtEl>
                                          <p:spTgt spid="51">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51">
                                            <p:txEl>
                                              <p:pRg st="2" end="2"/>
                                            </p:txEl>
                                          </p:spTgt>
                                        </p:tgtEl>
                                        <p:attrNameLst>
                                          <p:attrName>style.visibility</p:attrName>
                                        </p:attrNameLst>
                                      </p:cBhvr>
                                      <p:to>
                                        <p:strVal val="visible"/>
                                      </p:to>
                                    </p:set>
                                    <p:animEffect transition="in" filter="wipe(left)">
                                      <p:cBhvr>
                                        <p:cTn id="17" dur="500"/>
                                        <p:tgtEl>
                                          <p:spTgt spid="51">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51">
                                            <p:txEl>
                                              <p:pRg st="3" end="3"/>
                                            </p:txEl>
                                          </p:spTgt>
                                        </p:tgtEl>
                                        <p:attrNameLst>
                                          <p:attrName>style.visibility</p:attrName>
                                        </p:attrNameLst>
                                      </p:cBhvr>
                                      <p:to>
                                        <p:strVal val="visible"/>
                                      </p:to>
                                    </p:set>
                                    <p:animEffect transition="in" filter="wipe(left)">
                                      <p:cBhvr>
                                        <p:cTn id="22" dur="500"/>
                                        <p:tgtEl>
                                          <p:spTgt spid="51">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51">
                                            <p:txEl>
                                              <p:pRg st="4" end="4"/>
                                            </p:txEl>
                                          </p:spTgt>
                                        </p:tgtEl>
                                        <p:attrNameLst>
                                          <p:attrName>style.visibility</p:attrName>
                                        </p:attrNameLst>
                                      </p:cBhvr>
                                      <p:to>
                                        <p:strVal val="visible"/>
                                      </p:to>
                                    </p:set>
                                    <p:animEffect transition="in" filter="wipe(left)">
                                      <p:cBhvr>
                                        <p:cTn id="27" dur="500"/>
                                        <p:tgtEl>
                                          <p:spTgt spid="51">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51">
                                            <p:txEl>
                                              <p:pRg st="5" end="5"/>
                                            </p:txEl>
                                          </p:spTgt>
                                        </p:tgtEl>
                                        <p:attrNameLst>
                                          <p:attrName>style.visibility</p:attrName>
                                        </p:attrNameLst>
                                      </p:cBhvr>
                                      <p:to>
                                        <p:strVal val="visible"/>
                                      </p:to>
                                    </p:set>
                                    <p:animEffect transition="in" filter="wipe(left)">
                                      <p:cBhvr>
                                        <p:cTn id="32" dur="500"/>
                                        <p:tgtEl>
                                          <p:spTgt spid="51">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51">
                                            <p:txEl>
                                              <p:pRg st="6" end="6"/>
                                            </p:txEl>
                                          </p:spTgt>
                                        </p:tgtEl>
                                        <p:attrNameLst>
                                          <p:attrName>style.visibility</p:attrName>
                                        </p:attrNameLst>
                                      </p:cBhvr>
                                      <p:to>
                                        <p:strVal val="visible"/>
                                      </p:to>
                                    </p:set>
                                    <p:animEffect transition="in" filter="wipe(left)">
                                      <p:cBhvr>
                                        <p:cTn id="37" dur="500"/>
                                        <p:tgtEl>
                                          <p:spTgt spid="51">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grpId="0" nodeType="clickEffect">
                                  <p:stCondLst>
                                    <p:cond delay="0"/>
                                  </p:stCondLst>
                                  <p:childTnLst>
                                    <p:set>
                                      <p:cBhvr>
                                        <p:cTn id="41" dur="1" fill="hold">
                                          <p:stCondLst>
                                            <p:cond delay="0"/>
                                          </p:stCondLst>
                                        </p:cTn>
                                        <p:tgtEl>
                                          <p:spTgt spid="51">
                                            <p:txEl>
                                              <p:pRg st="7" end="7"/>
                                            </p:txEl>
                                          </p:spTgt>
                                        </p:tgtEl>
                                        <p:attrNameLst>
                                          <p:attrName>style.visibility</p:attrName>
                                        </p:attrNameLst>
                                      </p:cBhvr>
                                      <p:to>
                                        <p:strVal val="visible"/>
                                      </p:to>
                                    </p:set>
                                    <p:animEffect transition="in" filter="wipe(left)">
                                      <p:cBhvr>
                                        <p:cTn id="42" dur="500"/>
                                        <p:tgtEl>
                                          <p:spTgt spid="51">
                                            <p:txEl>
                                              <p:pRg st="7" end="7"/>
                                            </p:txEl>
                                          </p:spTgt>
                                        </p:tgtEl>
                                      </p:cBhvr>
                                    </p:animEffect>
                                  </p:childTnLst>
                                </p:cTn>
                              </p:par>
                            </p:childTnLst>
                          </p:cTn>
                        </p:par>
                        <p:par>
                          <p:cTn id="43" fill="hold">
                            <p:stCondLst>
                              <p:cond delay="500"/>
                            </p:stCondLst>
                            <p:childTnLst>
                              <p:par>
                                <p:cTn id="44" presetID="22" presetClass="entr" presetSubtype="8" fill="hold" grpId="0" nodeType="afterEffect">
                                  <p:stCondLst>
                                    <p:cond delay="0"/>
                                  </p:stCondLst>
                                  <p:childTnLst>
                                    <p:set>
                                      <p:cBhvr>
                                        <p:cTn id="45" dur="1" fill="hold">
                                          <p:stCondLst>
                                            <p:cond delay="0"/>
                                          </p:stCondLst>
                                        </p:cTn>
                                        <p:tgtEl>
                                          <p:spTgt spid="51">
                                            <p:txEl>
                                              <p:pRg st="8" end="8"/>
                                            </p:txEl>
                                          </p:spTgt>
                                        </p:tgtEl>
                                        <p:attrNameLst>
                                          <p:attrName>style.visibility</p:attrName>
                                        </p:attrNameLst>
                                      </p:cBhvr>
                                      <p:to>
                                        <p:strVal val="visible"/>
                                      </p:to>
                                    </p:set>
                                    <p:animEffect transition="in" filter="wipe(left)">
                                      <p:cBhvr>
                                        <p:cTn id="46" dur="500"/>
                                        <p:tgtEl>
                                          <p:spTgt spid="51">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build="p" autoUpdateAnimBg="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0325" name="Rectangle 5"/>
          <p:cNvSpPr>
            <a:spLocks noChangeArrowheads="1"/>
          </p:cNvSpPr>
          <p:nvPr/>
        </p:nvSpPr>
        <p:spPr bwMode="auto">
          <a:xfrm>
            <a:off x="2568705" y="2635251"/>
            <a:ext cx="4044697" cy="1936941"/>
          </a:xfrm>
          <a:prstGeom prst="rect">
            <a:avLst/>
          </a:prstGeom>
          <a:noFill/>
          <a:ln w="9525">
            <a:noFill/>
            <a:miter lim="800000"/>
            <a:headEnd/>
            <a:tailEnd/>
          </a:ln>
          <a:effectLst/>
        </p:spPr>
        <p:txBody>
          <a:bodyPr wrap="none">
            <a:spAutoFit/>
          </a:bodyPr>
          <a:lstStyle/>
          <a:p>
            <a:pPr algn="ctr" eaLnBrk="0" hangingPunct="0">
              <a:lnSpc>
                <a:spcPct val="80000"/>
              </a:lnSpc>
              <a:defRPr/>
            </a:pPr>
            <a:r>
              <a:rPr lang="en-US" sz="4000" dirty="0" err="1">
                <a:solidFill>
                  <a:srgbClr val="0070C0"/>
                </a:solidFill>
                <a:latin typeface="Angsana New" pitchFamily="18" charset="-34"/>
              </a:rPr>
              <a:t>ธนิตสรณ์</a:t>
            </a:r>
            <a:r>
              <a:rPr lang="en-US" sz="4000" dirty="0">
                <a:solidFill>
                  <a:srgbClr val="0070C0"/>
                </a:solidFill>
                <a:latin typeface="Angsana New" pitchFamily="18" charset="-34"/>
              </a:rPr>
              <a:t>  </a:t>
            </a:r>
            <a:r>
              <a:rPr lang="en-US" sz="4000" dirty="0" err="1">
                <a:solidFill>
                  <a:srgbClr val="0070C0"/>
                </a:solidFill>
                <a:latin typeface="Angsana New" pitchFamily="18" charset="-34"/>
              </a:rPr>
              <a:t>จิระพรชัย</a:t>
            </a:r>
            <a:endParaRPr lang="en-US" sz="4000" dirty="0">
              <a:solidFill>
                <a:srgbClr val="0070C0"/>
              </a:solidFill>
              <a:latin typeface="Angsana New" pitchFamily="18" charset="-34"/>
            </a:endParaRPr>
          </a:p>
          <a:p>
            <a:pPr algn="ctr" eaLnBrk="0" hangingPunct="0">
              <a:lnSpc>
                <a:spcPct val="80000"/>
              </a:lnSpc>
              <a:defRPr/>
            </a:pPr>
            <a:r>
              <a:rPr lang="en-US" sz="4000" dirty="0">
                <a:solidFill>
                  <a:srgbClr val="0070C0"/>
                </a:solidFill>
                <a:latin typeface="Angsana New" pitchFamily="18" charset="-34"/>
              </a:rPr>
              <a:t>Thanitsorn </a:t>
            </a:r>
            <a:r>
              <a:rPr lang="en-US" sz="4000" dirty="0" smtClean="0">
                <a:solidFill>
                  <a:srgbClr val="0070C0"/>
                </a:solidFill>
                <a:latin typeface="Angsana New" pitchFamily="18" charset="-34"/>
              </a:rPr>
              <a:t>Chirapornchai</a:t>
            </a:r>
          </a:p>
          <a:p>
            <a:pPr algn="ctr" fontAlgn="auto">
              <a:lnSpc>
                <a:spcPts val="2000"/>
              </a:lnSpc>
              <a:spcBef>
                <a:spcPct val="20000"/>
              </a:spcBef>
              <a:spcAft>
                <a:spcPts val="0"/>
              </a:spcAft>
              <a:buClr>
                <a:srgbClr val="6EA0B0"/>
              </a:buClr>
              <a:buSzPct val="80000"/>
              <a:defRPr/>
            </a:pPr>
            <a:r>
              <a:rPr lang="th-TH" sz="2600" dirty="0">
                <a:solidFill>
                  <a:srgbClr val="FF3300"/>
                </a:solidFill>
                <a:latin typeface="Arial"/>
                <a:cs typeface="AngsanaUPC" pitchFamily="18" charset="-34"/>
              </a:rPr>
              <a:t>รองอธิการบดีฝ่ายแผนและสารสนเทศ</a:t>
            </a:r>
          </a:p>
          <a:p>
            <a:pPr algn="ctr" eaLnBrk="0" hangingPunct="0">
              <a:lnSpc>
                <a:spcPct val="80000"/>
              </a:lnSpc>
              <a:defRPr/>
            </a:pPr>
            <a:endParaRPr lang="en-US" sz="4000" b="1" dirty="0">
              <a:solidFill>
                <a:prstClr val="white"/>
              </a:solidFill>
              <a:effectLst>
                <a:outerShdw blurRad="38100" dist="38100" dir="2700000" algn="tl">
                  <a:srgbClr val="000000"/>
                </a:outerShdw>
              </a:effectLst>
              <a:latin typeface="Angsana New" pitchFamily="18" charset="-34"/>
            </a:endParaRPr>
          </a:p>
        </p:txBody>
      </p:sp>
      <p:sp>
        <p:nvSpPr>
          <p:cNvPr id="1080328" name="Rectangle 8"/>
          <p:cNvSpPr>
            <a:spLocks noChangeArrowheads="1"/>
          </p:cNvSpPr>
          <p:nvPr/>
        </p:nvSpPr>
        <p:spPr bwMode="auto">
          <a:xfrm>
            <a:off x="5387341" y="4467232"/>
            <a:ext cx="3645550" cy="2062103"/>
          </a:xfrm>
          <a:prstGeom prst="rect">
            <a:avLst/>
          </a:prstGeom>
          <a:noFill/>
          <a:ln w="9525">
            <a:noFill/>
            <a:miter lim="800000"/>
            <a:headEnd/>
            <a:tailEnd/>
          </a:ln>
          <a:effectLst/>
        </p:spPr>
        <p:txBody>
          <a:bodyPr wrap="none">
            <a:spAutoFit/>
          </a:bodyPr>
          <a:lstStyle/>
          <a:p>
            <a:pPr eaLnBrk="0" hangingPunct="0">
              <a:lnSpc>
                <a:spcPct val="80000"/>
              </a:lnSpc>
              <a:defRPr/>
            </a:pPr>
            <a:r>
              <a:rPr lang="en-US" sz="3200" b="1" dirty="0">
                <a:solidFill>
                  <a:srgbClr val="0070C0"/>
                </a:solidFill>
                <a:latin typeface="Browallia New" pitchFamily="34" charset="-34"/>
                <a:cs typeface="Arial" charset="0"/>
              </a:rPr>
              <a:t>Tel. 0-2470-8455-7</a:t>
            </a:r>
          </a:p>
          <a:p>
            <a:pPr eaLnBrk="0" hangingPunct="0">
              <a:lnSpc>
                <a:spcPct val="80000"/>
              </a:lnSpc>
              <a:defRPr/>
            </a:pPr>
            <a:r>
              <a:rPr lang="en-US" sz="3200" b="1" dirty="0">
                <a:solidFill>
                  <a:srgbClr val="0070C0"/>
                </a:solidFill>
                <a:latin typeface="Browallia New" pitchFamily="34" charset="-34"/>
                <a:cs typeface="Arial" charset="0"/>
              </a:rPr>
              <a:t>Fax. 0-2470-8038</a:t>
            </a:r>
          </a:p>
          <a:p>
            <a:pPr eaLnBrk="0" hangingPunct="0">
              <a:lnSpc>
                <a:spcPct val="80000"/>
              </a:lnSpc>
              <a:defRPr/>
            </a:pPr>
            <a:r>
              <a:rPr lang="en-US" sz="3200" b="1" dirty="0">
                <a:solidFill>
                  <a:srgbClr val="0070C0"/>
                </a:solidFill>
                <a:latin typeface="Browallia New" pitchFamily="34" charset="-34"/>
                <a:cs typeface="Arial" charset="0"/>
              </a:rPr>
              <a:t>Mobile : 08-1808-6820</a:t>
            </a:r>
          </a:p>
          <a:p>
            <a:pPr eaLnBrk="0" hangingPunct="0">
              <a:lnSpc>
                <a:spcPct val="80000"/>
              </a:lnSpc>
              <a:defRPr/>
            </a:pPr>
            <a:r>
              <a:rPr lang="en-US" sz="3200" b="1" dirty="0">
                <a:solidFill>
                  <a:srgbClr val="0070C0"/>
                </a:solidFill>
                <a:latin typeface="Browallia New" pitchFamily="34" charset="-34"/>
                <a:cs typeface="Arial" charset="0"/>
              </a:rPr>
              <a:t>E-mail Address : </a:t>
            </a:r>
          </a:p>
          <a:p>
            <a:pPr eaLnBrk="0" hangingPunct="0">
              <a:lnSpc>
                <a:spcPct val="80000"/>
              </a:lnSpc>
              <a:defRPr/>
            </a:pPr>
            <a:r>
              <a:rPr lang="en-US" sz="3200" b="1" dirty="0">
                <a:solidFill>
                  <a:srgbClr val="0070C0"/>
                </a:solidFill>
                <a:latin typeface="Browallia New" pitchFamily="34" charset="-34"/>
                <a:cs typeface="Arial" charset="0"/>
              </a:rPr>
              <a:t>thanitsorn.chi@kmutt.ac.th</a:t>
            </a:r>
          </a:p>
        </p:txBody>
      </p:sp>
      <p:sp>
        <p:nvSpPr>
          <p:cNvPr id="13" name="Rectangle 7"/>
          <p:cNvSpPr>
            <a:spLocks noChangeArrowheads="1"/>
          </p:cNvSpPr>
          <p:nvPr/>
        </p:nvSpPr>
        <p:spPr bwMode="auto">
          <a:xfrm>
            <a:off x="183515" y="4569283"/>
            <a:ext cx="5151438" cy="1298817"/>
          </a:xfrm>
          <a:prstGeom prst="rect">
            <a:avLst/>
          </a:prstGeom>
          <a:noFill/>
          <a:ln w="9525">
            <a:noFill/>
            <a:miter lim="800000"/>
            <a:headEnd/>
            <a:tailEnd/>
          </a:ln>
          <a:effectLst/>
        </p:spPr>
        <p:txBody>
          <a:bodyPr>
            <a:spAutoFit/>
          </a:bodyPr>
          <a:lstStyle/>
          <a:p>
            <a:pPr eaLnBrk="0" hangingPunct="0">
              <a:lnSpc>
                <a:spcPct val="80000"/>
              </a:lnSpc>
              <a:defRPr/>
            </a:pPr>
            <a:r>
              <a:rPr lang="en-US" sz="3200" b="1" dirty="0" smtClean="0">
                <a:solidFill>
                  <a:srgbClr val="0070C0"/>
                </a:solidFill>
                <a:latin typeface="Browallia New" pitchFamily="34" charset="-34"/>
                <a:cs typeface="Arial" charset="0"/>
              </a:rPr>
              <a:t>126 </a:t>
            </a:r>
            <a:r>
              <a:rPr lang="en-US" sz="3200" b="1" dirty="0" err="1" smtClean="0">
                <a:solidFill>
                  <a:srgbClr val="0070C0"/>
                </a:solidFill>
                <a:latin typeface="Browallia New" pitchFamily="34" charset="-34"/>
                <a:cs typeface="Arial" charset="0"/>
              </a:rPr>
              <a:t>Pracha</a:t>
            </a:r>
            <a:r>
              <a:rPr lang="en-US" sz="3200" b="1" dirty="0" smtClean="0">
                <a:solidFill>
                  <a:srgbClr val="0070C0"/>
                </a:solidFill>
                <a:latin typeface="Browallia New" pitchFamily="34" charset="-34"/>
                <a:cs typeface="Arial" charset="0"/>
              </a:rPr>
              <a:t> </a:t>
            </a:r>
            <a:r>
              <a:rPr lang="en-US" sz="3200" b="1" dirty="0" err="1" smtClean="0">
                <a:solidFill>
                  <a:srgbClr val="0070C0"/>
                </a:solidFill>
                <a:latin typeface="Browallia New" pitchFamily="34" charset="-34"/>
                <a:cs typeface="Arial" charset="0"/>
              </a:rPr>
              <a:t>Uthit</a:t>
            </a:r>
            <a:r>
              <a:rPr lang="en-US" sz="3200" b="1" dirty="0" smtClean="0">
                <a:solidFill>
                  <a:srgbClr val="0070C0"/>
                </a:solidFill>
                <a:latin typeface="Browallia New" pitchFamily="34" charset="-34"/>
                <a:cs typeface="Arial" charset="0"/>
              </a:rPr>
              <a:t> </a:t>
            </a:r>
            <a:r>
              <a:rPr lang="en-US" sz="3200" b="1" dirty="0">
                <a:solidFill>
                  <a:srgbClr val="0070C0"/>
                </a:solidFill>
                <a:latin typeface="Browallia New" pitchFamily="34" charset="-34"/>
                <a:cs typeface="Arial" charset="0"/>
              </a:rPr>
              <a:t>Road, </a:t>
            </a:r>
            <a:r>
              <a:rPr lang="en-US" sz="3200" b="1" dirty="0" err="1">
                <a:solidFill>
                  <a:srgbClr val="0070C0"/>
                </a:solidFill>
                <a:latin typeface="Browallia New" pitchFamily="34" charset="-34"/>
                <a:cs typeface="Arial" charset="0"/>
              </a:rPr>
              <a:t>Bangmod</a:t>
            </a:r>
            <a:r>
              <a:rPr lang="en-US" sz="3200" b="1" dirty="0">
                <a:solidFill>
                  <a:srgbClr val="0070C0"/>
                </a:solidFill>
                <a:latin typeface="Browallia New" pitchFamily="34" charset="-34"/>
                <a:cs typeface="Arial" charset="0"/>
              </a:rPr>
              <a:t>, </a:t>
            </a:r>
            <a:r>
              <a:rPr lang="en-US" sz="3200" b="1" dirty="0" err="1" smtClean="0">
                <a:solidFill>
                  <a:srgbClr val="0070C0"/>
                </a:solidFill>
                <a:latin typeface="Browallia New" pitchFamily="34" charset="-34"/>
                <a:cs typeface="Arial" charset="0"/>
              </a:rPr>
              <a:t>Thung</a:t>
            </a:r>
            <a:r>
              <a:rPr lang="en-US" sz="3200" b="1" dirty="0" smtClean="0">
                <a:solidFill>
                  <a:srgbClr val="0070C0"/>
                </a:solidFill>
                <a:latin typeface="Browallia New" pitchFamily="34" charset="-34"/>
                <a:cs typeface="Arial" charset="0"/>
              </a:rPr>
              <a:t> </a:t>
            </a:r>
            <a:r>
              <a:rPr lang="en-US" sz="3200" b="1" dirty="0" err="1" smtClean="0">
                <a:solidFill>
                  <a:srgbClr val="0070C0"/>
                </a:solidFill>
                <a:latin typeface="Browallia New" pitchFamily="34" charset="-34"/>
                <a:cs typeface="Arial" charset="0"/>
              </a:rPr>
              <a:t>Khru</a:t>
            </a:r>
            <a:r>
              <a:rPr lang="en-US" sz="3200" b="1" dirty="0">
                <a:solidFill>
                  <a:srgbClr val="0070C0"/>
                </a:solidFill>
                <a:latin typeface="Browallia New" pitchFamily="34" charset="-34"/>
                <a:cs typeface="Arial" charset="0"/>
              </a:rPr>
              <a:t>, Bangkok 10140, Thailand</a:t>
            </a:r>
          </a:p>
          <a:p>
            <a:pPr eaLnBrk="0" hangingPunct="0">
              <a:lnSpc>
                <a:spcPct val="80000"/>
              </a:lnSpc>
              <a:defRPr/>
            </a:pPr>
            <a:r>
              <a:rPr lang="en-US" sz="3200" b="1" dirty="0">
                <a:solidFill>
                  <a:srgbClr val="0070C0"/>
                </a:solidFill>
                <a:latin typeface="Browallia New" pitchFamily="34" charset="-34"/>
                <a:cs typeface="Arial" charset="0"/>
              </a:rPr>
              <a:t>Homepage http://www.kmutt.ac.th</a:t>
            </a:r>
          </a:p>
        </p:txBody>
      </p:sp>
      <p:pic>
        <p:nvPicPr>
          <p:cNvPr id="3" name="Picture 2"/>
          <p:cNvPicPr>
            <a:picLocks noChangeAspect="1"/>
          </p:cNvPicPr>
          <p:nvPr/>
        </p:nvPicPr>
        <p:blipFill>
          <a:blip r:embed="rId3"/>
          <a:stretch>
            <a:fillRect/>
          </a:stretch>
        </p:blipFill>
        <p:spPr>
          <a:xfrm>
            <a:off x="7267577" y="37377"/>
            <a:ext cx="1785421" cy="2200954"/>
          </a:xfrm>
          <a:prstGeom prst="rect">
            <a:avLst/>
          </a:prstGeom>
          <a:effectLst>
            <a:softEdge rad="63500"/>
          </a:effectLst>
        </p:spPr>
      </p:pic>
      <p:sp>
        <p:nvSpPr>
          <p:cNvPr id="2" name="Slide Number Placeholder 1"/>
          <p:cNvSpPr>
            <a:spLocks noGrp="1"/>
          </p:cNvSpPr>
          <p:nvPr>
            <p:ph type="sldNum" sz="quarter" idx="12"/>
          </p:nvPr>
        </p:nvSpPr>
        <p:spPr/>
        <p:txBody>
          <a:bodyPr/>
          <a:lstStyle/>
          <a:p>
            <a:fld id="{8892B0ED-4054-42B7-A893-2D57CE8DC8A6}" type="slidenum">
              <a:rPr lang="th-TH" smtClean="0">
                <a:solidFill>
                  <a:prstClr val="black">
                    <a:tint val="75000"/>
                  </a:prstClr>
                </a:solidFill>
              </a:rPr>
              <a:pPr/>
              <a:t>40</a:t>
            </a:fld>
            <a:endParaRPr lang="th-TH">
              <a:solidFill>
                <a:prstClr val="black">
                  <a:tint val="75000"/>
                </a:prstClr>
              </a:solidFill>
            </a:endParaRPr>
          </a:p>
        </p:txBody>
      </p:sp>
      <p:grpSp>
        <p:nvGrpSpPr>
          <p:cNvPr id="5" name="Group 4"/>
          <p:cNvGrpSpPr/>
          <p:nvPr/>
        </p:nvGrpSpPr>
        <p:grpSpPr>
          <a:xfrm>
            <a:off x="302235" y="188640"/>
            <a:ext cx="6971929" cy="1599802"/>
            <a:chOff x="387869" y="98823"/>
            <a:chExt cx="6971929" cy="1599802"/>
          </a:xfrm>
        </p:grpSpPr>
        <p:grpSp>
          <p:nvGrpSpPr>
            <p:cNvPr id="68614" name="Group 7"/>
            <p:cNvGrpSpPr>
              <a:grpSpLocks/>
            </p:cNvGrpSpPr>
            <p:nvPr/>
          </p:nvGrpSpPr>
          <p:grpSpPr bwMode="auto">
            <a:xfrm>
              <a:off x="1519385" y="444501"/>
              <a:ext cx="5840413" cy="1254124"/>
              <a:chOff x="860" y="280"/>
              <a:chExt cx="3679" cy="790"/>
            </a:xfrm>
          </p:grpSpPr>
          <p:pic>
            <p:nvPicPr>
              <p:cNvPr id="68618" name="Picture 10"/>
              <p:cNvPicPr>
                <a:picLocks noChangeAspect="1" noChangeArrowheads="1"/>
              </p:cNvPicPr>
              <p:nvPr/>
            </p:nvPicPr>
            <p:blipFill>
              <a:blip r:embed="rId4" cstate="print"/>
              <a:srcRect/>
              <a:stretch>
                <a:fillRect/>
              </a:stretch>
            </p:blipFill>
            <p:spPr bwMode="auto">
              <a:xfrm>
                <a:off x="860" y="280"/>
                <a:ext cx="3679" cy="464"/>
              </a:xfrm>
              <a:prstGeom prst="rect">
                <a:avLst/>
              </a:prstGeom>
              <a:noFill/>
              <a:ln w="28575" algn="ctr">
                <a:noFill/>
                <a:miter lim="800000"/>
                <a:headEnd/>
                <a:tailEnd type="none" w="lg" len="lg"/>
              </a:ln>
            </p:spPr>
          </p:pic>
          <p:pic>
            <p:nvPicPr>
              <p:cNvPr id="68619" name="Picture 11"/>
              <p:cNvPicPr>
                <a:picLocks noChangeAspect="1" noChangeArrowheads="1"/>
              </p:cNvPicPr>
              <p:nvPr/>
            </p:nvPicPr>
            <p:blipFill>
              <a:blip r:embed="rId5" cstate="print">
                <a:duotone>
                  <a:prstClr val="black"/>
                  <a:schemeClr val="accent1">
                    <a:tint val="45000"/>
                    <a:satMod val="400000"/>
                  </a:schemeClr>
                </a:duotone>
              </a:blip>
              <a:srcRect l="2705" t="13931" r="5775" b="6067"/>
              <a:stretch>
                <a:fillRect/>
              </a:stretch>
            </p:blipFill>
            <p:spPr bwMode="auto">
              <a:xfrm>
                <a:off x="1000" y="708"/>
                <a:ext cx="3293" cy="362"/>
              </a:xfrm>
              <a:prstGeom prst="rect">
                <a:avLst/>
              </a:prstGeom>
              <a:noFill/>
              <a:ln w="28575" algn="ctr">
                <a:noFill/>
                <a:miter lim="800000"/>
                <a:headEnd/>
                <a:tailEnd type="none" w="lg" len="lg"/>
              </a:ln>
            </p:spPr>
          </p:pic>
        </p:grpSp>
        <p:pic>
          <p:nvPicPr>
            <p:cNvPr id="14" name="Picture 1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7869" y="98823"/>
              <a:ext cx="1354306" cy="1561295"/>
            </a:xfrm>
            <a:prstGeom prst="rect">
              <a:avLst/>
            </a:prstGeom>
          </p:spPr>
        </p:pic>
        <p:cxnSp>
          <p:nvCxnSpPr>
            <p:cNvPr id="12" name="Straight Connector 11"/>
            <p:cNvCxnSpPr/>
            <p:nvPr/>
          </p:nvCxnSpPr>
          <p:spPr>
            <a:xfrm>
              <a:off x="1641288" y="1124744"/>
              <a:ext cx="5626289" cy="0"/>
            </a:xfrm>
            <a:prstGeom prst="line">
              <a:avLst/>
            </a:prstGeom>
            <a:ln w="38100"/>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val="3361086964"/>
      </p:ext>
    </p:extLst>
  </p:cSld>
  <p:clrMapOvr>
    <a:masterClrMapping/>
  </p:clrMapOvr>
  <p:transition>
    <p:fade thruBlk="1"/>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Isosceles Triangle 114"/>
          <p:cNvSpPr/>
          <p:nvPr/>
        </p:nvSpPr>
        <p:spPr>
          <a:xfrm rot="7200000" flipH="1" flipV="1">
            <a:off x="3674755" y="3451055"/>
            <a:ext cx="2005542" cy="1328135"/>
          </a:xfrm>
          <a:prstGeom prst="triangle">
            <a:avLst>
              <a:gd name="adj" fmla="val 50072"/>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a:p>
        </p:txBody>
      </p:sp>
      <p:cxnSp>
        <p:nvCxnSpPr>
          <p:cNvPr id="98" name="Straight Connector 97"/>
          <p:cNvCxnSpPr/>
          <p:nvPr/>
        </p:nvCxnSpPr>
        <p:spPr>
          <a:xfrm flipV="1">
            <a:off x="-101600" y="1845758"/>
            <a:ext cx="6773216" cy="915371"/>
          </a:xfrm>
          <a:prstGeom prst="line">
            <a:avLst/>
          </a:prstGeom>
          <a:ln w="25400">
            <a:solidFill>
              <a:srgbClr val="FF00FF"/>
            </a:solidFill>
          </a:ln>
        </p:spPr>
        <p:style>
          <a:lnRef idx="1">
            <a:schemeClr val="accent2"/>
          </a:lnRef>
          <a:fillRef idx="0">
            <a:schemeClr val="accent2"/>
          </a:fillRef>
          <a:effectRef idx="0">
            <a:schemeClr val="accent2"/>
          </a:effectRef>
          <a:fontRef idx="minor">
            <a:schemeClr val="tx1"/>
          </a:fontRef>
        </p:style>
      </p:cxnSp>
      <p:cxnSp>
        <p:nvCxnSpPr>
          <p:cNvPr id="68" name="Straight Connector 67"/>
          <p:cNvCxnSpPr/>
          <p:nvPr/>
        </p:nvCxnSpPr>
        <p:spPr>
          <a:xfrm>
            <a:off x="721084" y="1066481"/>
            <a:ext cx="3145692" cy="5931966"/>
          </a:xfrm>
          <a:prstGeom prst="line">
            <a:avLst/>
          </a:prstGeom>
          <a:ln w="25400">
            <a:solidFill>
              <a:srgbClr val="FF00FF"/>
            </a:solidFill>
          </a:ln>
        </p:spPr>
        <p:style>
          <a:lnRef idx="1">
            <a:schemeClr val="accent2"/>
          </a:lnRef>
          <a:fillRef idx="0">
            <a:schemeClr val="accent2"/>
          </a:fillRef>
          <a:effectRef idx="0">
            <a:schemeClr val="accent2"/>
          </a:effectRef>
          <a:fontRef idx="minor">
            <a:schemeClr val="tx1"/>
          </a:fontRef>
        </p:style>
      </p:cxnSp>
      <p:sp>
        <p:nvSpPr>
          <p:cNvPr id="2" name="TextBox 1"/>
          <p:cNvSpPr txBox="1"/>
          <p:nvPr/>
        </p:nvSpPr>
        <p:spPr>
          <a:xfrm>
            <a:off x="3131959" y="3273684"/>
            <a:ext cx="1580182" cy="1237561"/>
          </a:xfrm>
          <a:prstGeom prst="rect">
            <a:avLst/>
          </a:prstGeom>
          <a:noFill/>
        </p:spPr>
        <p:txBody>
          <a:bodyPr wrap="none" rtlCol="0">
            <a:prstTxWarp prst="textButton">
              <a:avLst/>
            </a:prstTxWarp>
            <a:spAutoFit/>
          </a:bodyPr>
          <a:lstStyle/>
          <a:p>
            <a:pPr algn="ctr"/>
            <a:r>
              <a:rPr lang="th-TH" dirty="0" smtClean="0">
                <a:solidFill>
                  <a:srgbClr val="1F497D">
                    <a:lumMod val="75000"/>
                  </a:srgbClr>
                </a:solidFill>
              </a:rPr>
              <a:t>สิ่งใดสำคัญที่สุด</a:t>
            </a:r>
          </a:p>
          <a:p>
            <a:pPr algn="ctr"/>
            <a:r>
              <a:rPr lang="th-TH" dirty="0" smtClean="0">
                <a:solidFill>
                  <a:srgbClr val="1F497D">
                    <a:lumMod val="75000"/>
                  </a:srgbClr>
                </a:solidFill>
              </a:rPr>
              <a:t>ในการบริหาร</a:t>
            </a:r>
          </a:p>
          <a:p>
            <a:pPr algn="ctr"/>
            <a:r>
              <a:rPr lang="th-TH" dirty="0" smtClean="0">
                <a:solidFill>
                  <a:srgbClr val="1F497D">
                    <a:lumMod val="75000"/>
                  </a:srgbClr>
                </a:solidFill>
              </a:rPr>
              <a:t>องค์กร</a:t>
            </a:r>
            <a:endParaRPr lang="th-TH" dirty="0">
              <a:solidFill>
                <a:srgbClr val="1F497D">
                  <a:lumMod val="75000"/>
                </a:srgbClr>
              </a:solidFill>
            </a:endParaRPr>
          </a:p>
        </p:txBody>
      </p:sp>
      <p:cxnSp>
        <p:nvCxnSpPr>
          <p:cNvPr id="47" name="Straight Connector 46"/>
          <p:cNvCxnSpPr/>
          <p:nvPr/>
        </p:nvCxnSpPr>
        <p:spPr>
          <a:xfrm>
            <a:off x="743309" y="1089632"/>
            <a:ext cx="3123467" cy="5896862"/>
          </a:xfrm>
          <a:prstGeom prst="line">
            <a:avLst/>
          </a:prstGeom>
        </p:spPr>
        <p:style>
          <a:lnRef idx="1">
            <a:schemeClr val="accent2"/>
          </a:lnRef>
          <a:fillRef idx="0">
            <a:schemeClr val="accent2"/>
          </a:fillRef>
          <a:effectRef idx="0">
            <a:schemeClr val="accent2"/>
          </a:effectRef>
          <a:fontRef idx="minor">
            <a:schemeClr val="tx1"/>
          </a:fontRef>
        </p:style>
      </p:cxnSp>
      <p:cxnSp>
        <p:nvCxnSpPr>
          <p:cNvPr id="48" name="Straight Connector 47"/>
          <p:cNvCxnSpPr/>
          <p:nvPr/>
        </p:nvCxnSpPr>
        <p:spPr>
          <a:xfrm flipV="1">
            <a:off x="-65741" y="1828800"/>
            <a:ext cx="6729008" cy="932330"/>
          </a:xfrm>
          <a:prstGeom prst="line">
            <a:avLst/>
          </a:prstGeom>
        </p:spPr>
        <p:style>
          <a:lnRef idx="1">
            <a:schemeClr val="accent2"/>
          </a:lnRef>
          <a:fillRef idx="0">
            <a:schemeClr val="accent2"/>
          </a:fillRef>
          <a:effectRef idx="0">
            <a:schemeClr val="accent2"/>
          </a:effectRef>
          <a:fontRef idx="minor">
            <a:schemeClr val="tx1"/>
          </a:fontRef>
        </p:style>
      </p:cxnSp>
      <p:cxnSp>
        <p:nvCxnSpPr>
          <p:cNvPr id="49" name="Straight Connector 48"/>
          <p:cNvCxnSpPr/>
          <p:nvPr/>
        </p:nvCxnSpPr>
        <p:spPr>
          <a:xfrm rot="5400000">
            <a:off x="1181460" y="2440594"/>
            <a:ext cx="5461000" cy="2949575"/>
          </a:xfrm>
          <a:prstGeom prst="line">
            <a:avLst/>
          </a:prstGeom>
        </p:spPr>
        <p:style>
          <a:lnRef idx="1">
            <a:schemeClr val="accent2"/>
          </a:lnRef>
          <a:fillRef idx="0">
            <a:schemeClr val="accent2"/>
          </a:fillRef>
          <a:effectRef idx="0">
            <a:schemeClr val="accent2"/>
          </a:effectRef>
          <a:fontRef idx="minor">
            <a:schemeClr val="tx1"/>
          </a:fontRef>
        </p:style>
      </p:cxnSp>
      <p:cxnSp>
        <p:nvCxnSpPr>
          <p:cNvPr id="50" name="Straight Connector 49"/>
          <p:cNvCxnSpPr/>
          <p:nvPr/>
        </p:nvCxnSpPr>
        <p:spPr>
          <a:xfrm rot="5400000">
            <a:off x="260342" y="2134849"/>
            <a:ext cx="4528664" cy="2630308"/>
          </a:xfrm>
          <a:prstGeom prst="line">
            <a:avLst/>
          </a:prstGeom>
        </p:spPr>
        <p:style>
          <a:lnRef idx="3">
            <a:schemeClr val="dk1"/>
          </a:lnRef>
          <a:fillRef idx="0">
            <a:schemeClr val="dk1"/>
          </a:fillRef>
          <a:effectRef idx="2">
            <a:schemeClr val="dk1"/>
          </a:effectRef>
          <a:fontRef idx="minor">
            <a:schemeClr val="tx1"/>
          </a:fontRef>
        </p:style>
      </p:cxnSp>
      <p:cxnSp>
        <p:nvCxnSpPr>
          <p:cNvPr id="51" name="Straight Connector 50"/>
          <p:cNvCxnSpPr/>
          <p:nvPr/>
        </p:nvCxnSpPr>
        <p:spPr>
          <a:xfrm flipH="1">
            <a:off x="3885532" y="1849970"/>
            <a:ext cx="2773501" cy="5134888"/>
          </a:xfrm>
          <a:prstGeom prst="line">
            <a:avLst/>
          </a:prstGeom>
        </p:spPr>
        <p:style>
          <a:lnRef idx="3">
            <a:schemeClr val="dk1"/>
          </a:lnRef>
          <a:fillRef idx="0">
            <a:schemeClr val="dk1"/>
          </a:fillRef>
          <a:effectRef idx="2">
            <a:schemeClr val="dk1"/>
          </a:effectRef>
          <a:fontRef idx="minor">
            <a:schemeClr val="tx1"/>
          </a:fontRef>
        </p:style>
      </p:cxnSp>
      <p:cxnSp>
        <p:nvCxnSpPr>
          <p:cNvPr id="54" name="Straight Connector 53"/>
          <p:cNvCxnSpPr/>
          <p:nvPr/>
        </p:nvCxnSpPr>
        <p:spPr>
          <a:xfrm>
            <a:off x="717176" y="1051859"/>
            <a:ext cx="7428753" cy="3771153"/>
          </a:xfrm>
          <a:prstGeom prst="line">
            <a:avLst/>
          </a:prstGeom>
        </p:spPr>
        <p:style>
          <a:lnRef idx="3">
            <a:schemeClr val="dk1"/>
          </a:lnRef>
          <a:fillRef idx="0">
            <a:schemeClr val="dk1"/>
          </a:fillRef>
          <a:effectRef idx="2">
            <a:schemeClr val="dk1"/>
          </a:effectRef>
          <a:fontRef idx="minor">
            <a:schemeClr val="tx1"/>
          </a:fontRef>
        </p:style>
      </p:cxnSp>
      <p:cxnSp>
        <p:nvCxnSpPr>
          <p:cNvPr id="58" name="Straight Connector 57"/>
          <p:cNvCxnSpPr/>
          <p:nvPr/>
        </p:nvCxnSpPr>
        <p:spPr>
          <a:xfrm>
            <a:off x="165459" y="1865919"/>
            <a:ext cx="7624763" cy="3848100"/>
          </a:xfrm>
          <a:prstGeom prst="line">
            <a:avLst/>
          </a:prstGeom>
          <a:ln w="63500" cmpd="tri">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59" name="Straight Connector 58"/>
          <p:cNvCxnSpPr/>
          <p:nvPr/>
        </p:nvCxnSpPr>
        <p:spPr>
          <a:xfrm>
            <a:off x="-186435" y="2752250"/>
            <a:ext cx="7572428" cy="3875417"/>
          </a:xfrm>
          <a:prstGeom prst="line">
            <a:avLst/>
          </a:prstGeom>
        </p:spPr>
        <p:style>
          <a:lnRef idx="3">
            <a:schemeClr val="dk1"/>
          </a:lnRef>
          <a:fillRef idx="0">
            <a:schemeClr val="dk1"/>
          </a:fillRef>
          <a:effectRef idx="2">
            <a:schemeClr val="dk1"/>
          </a:effectRef>
          <a:fontRef idx="minor">
            <a:schemeClr val="tx1"/>
          </a:fontRef>
        </p:style>
      </p:cxnSp>
      <p:cxnSp>
        <p:nvCxnSpPr>
          <p:cNvPr id="60" name="Straight Connector 59"/>
          <p:cNvCxnSpPr/>
          <p:nvPr/>
        </p:nvCxnSpPr>
        <p:spPr>
          <a:xfrm>
            <a:off x="2661009" y="1307119"/>
            <a:ext cx="2941962" cy="5550881"/>
          </a:xfrm>
          <a:prstGeom prst="line">
            <a:avLst/>
          </a:prstGeom>
        </p:spPr>
        <p:style>
          <a:lnRef idx="1">
            <a:schemeClr val="accent2"/>
          </a:lnRef>
          <a:fillRef idx="0">
            <a:schemeClr val="accent2"/>
          </a:fillRef>
          <a:effectRef idx="0">
            <a:schemeClr val="accent2"/>
          </a:effectRef>
          <a:fontRef idx="minor">
            <a:schemeClr val="tx1"/>
          </a:fontRef>
        </p:style>
      </p:cxnSp>
      <p:cxnSp>
        <p:nvCxnSpPr>
          <p:cNvPr id="61" name="Straight Connector 60"/>
          <p:cNvCxnSpPr/>
          <p:nvPr/>
        </p:nvCxnSpPr>
        <p:spPr>
          <a:xfrm rot="16200000" flipH="1">
            <a:off x="3189647" y="2432657"/>
            <a:ext cx="5443537" cy="2947987"/>
          </a:xfrm>
          <a:prstGeom prst="line">
            <a:avLst/>
          </a:prstGeom>
        </p:spPr>
        <p:style>
          <a:lnRef idx="1">
            <a:schemeClr val="accent2"/>
          </a:lnRef>
          <a:fillRef idx="0">
            <a:schemeClr val="accent2"/>
          </a:fillRef>
          <a:effectRef idx="0">
            <a:schemeClr val="accent2"/>
          </a:effectRef>
          <a:fontRef idx="minor">
            <a:schemeClr val="tx1"/>
          </a:fontRef>
        </p:style>
      </p:cxnSp>
      <p:cxnSp>
        <p:nvCxnSpPr>
          <p:cNvPr id="62" name="Straight Connector 61"/>
          <p:cNvCxnSpPr/>
          <p:nvPr/>
        </p:nvCxnSpPr>
        <p:spPr>
          <a:xfrm flipV="1">
            <a:off x="721084" y="3318482"/>
            <a:ext cx="6762750" cy="917575"/>
          </a:xfrm>
          <a:prstGeom prst="line">
            <a:avLst/>
          </a:prstGeom>
        </p:spPr>
        <p:style>
          <a:lnRef idx="1">
            <a:schemeClr val="accent2"/>
          </a:lnRef>
          <a:fillRef idx="0">
            <a:schemeClr val="accent2"/>
          </a:fillRef>
          <a:effectRef idx="0">
            <a:schemeClr val="accent2"/>
          </a:effectRef>
          <a:fontRef idx="minor">
            <a:schemeClr val="tx1"/>
          </a:fontRef>
        </p:style>
      </p:cxnSp>
      <p:cxnSp>
        <p:nvCxnSpPr>
          <p:cNvPr id="63" name="Straight Connector 62"/>
          <p:cNvCxnSpPr/>
          <p:nvPr/>
        </p:nvCxnSpPr>
        <p:spPr>
          <a:xfrm flipV="1">
            <a:off x="1210034" y="4836132"/>
            <a:ext cx="6929438" cy="917576"/>
          </a:xfrm>
          <a:prstGeom prst="line">
            <a:avLst/>
          </a:prstGeom>
        </p:spPr>
        <p:style>
          <a:lnRef idx="1">
            <a:schemeClr val="accent2"/>
          </a:lnRef>
          <a:fillRef idx="0">
            <a:schemeClr val="accent2"/>
          </a:fillRef>
          <a:effectRef idx="0">
            <a:schemeClr val="accent2"/>
          </a:effectRef>
          <a:fontRef idx="minor">
            <a:schemeClr val="tx1"/>
          </a:fontRef>
        </p:style>
      </p:cxnSp>
      <p:grpSp>
        <p:nvGrpSpPr>
          <p:cNvPr id="64" name="Group 19"/>
          <p:cNvGrpSpPr/>
          <p:nvPr/>
        </p:nvGrpSpPr>
        <p:grpSpPr>
          <a:xfrm>
            <a:off x="3335594" y="3130465"/>
            <a:ext cx="1337363" cy="1337364"/>
            <a:chOff x="2488348" y="1472348"/>
            <a:chExt cx="1119303" cy="1119303"/>
          </a:xfrm>
          <a:scene3d>
            <a:camera prst="orthographicFront">
              <a:rot lat="19584211" lon="19752261" rev="1595378"/>
            </a:camera>
            <a:lightRig rig="threePt" dir="t"/>
          </a:scene3d>
        </p:grpSpPr>
        <p:sp>
          <p:nvSpPr>
            <p:cNvPr id="65" name="Oval 64"/>
            <p:cNvSpPr/>
            <p:nvPr/>
          </p:nvSpPr>
          <p:spPr>
            <a:xfrm>
              <a:off x="2488348" y="1472348"/>
              <a:ext cx="1119303" cy="1119303"/>
            </a:xfrm>
            <a:prstGeom prst="ellipse">
              <a:avLst/>
            </a:prstGeom>
            <a:solidFill>
              <a:srgbClr val="FFC000"/>
            </a:solidFill>
            <a:effectLst>
              <a:glow rad="228600">
                <a:schemeClr val="accent2">
                  <a:satMod val="175000"/>
                  <a:alpha val="40000"/>
                </a:schemeClr>
              </a:glow>
            </a:effectLst>
            <a:sp3d extrusionH="152250" prstMaterial="matte">
              <a:bevelT w="165100" prst="coolSlant"/>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6" name="Oval 4"/>
            <p:cNvSpPr/>
            <p:nvPr/>
          </p:nvSpPr>
          <p:spPr>
            <a:xfrm>
              <a:off x="2652266" y="1636266"/>
              <a:ext cx="791467" cy="791467"/>
            </a:xfrm>
            <a:prstGeom prst="rect">
              <a:avLst/>
            </a:prstGeom>
            <a:sp3d/>
          </p:spPr>
          <p:style>
            <a:lnRef idx="0">
              <a:scrgbClr r="0" g="0" b="0"/>
            </a:lnRef>
            <a:fillRef idx="0">
              <a:scrgbClr r="0" g="0" b="0"/>
            </a:fillRef>
            <a:effectRef idx="0">
              <a:scrgbClr r="0" g="0" b="0"/>
            </a:effectRef>
            <a:fontRef idx="minor">
              <a:schemeClr val="lt1"/>
            </a:fontRef>
          </p:style>
          <p:txBody>
            <a:bodyPr wrap="none" lIns="31115" tIns="31115" rIns="31115" bIns="31115" spcCol="1270" anchor="ctr">
              <a:sp3d extrusionH="28000" prstMaterial="matte"/>
            </a:bodyPr>
            <a:lstStyle/>
            <a:p>
              <a:pPr algn="ctr" defTabSz="2178050">
                <a:lnSpc>
                  <a:spcPct val="90000"/>
                </a:lnSpc>
                <a:spcAft>
                  <a:spcPct val="35000"/>
                </a:spcAft>
                <a:defRPr/>
              </a:pPr>
              <a:r>
                <a:rPr lang="th-TH" sz="6000" dirty="0">
                  <a:solidFill>
                    <a:prstClr val="white"/>
                  </a:solidFill>
                  <a:effectLst>
                    <a:outerShdw blurRad="38100" dist="38100" dir="2700000" algn="tl">
                      <a:srgbClr val="000000">
                        <a:alpha val="43137"/>
                      </a:srgbClr>
                    </a:outerShdw>
                  </a:effectLst>
                  <a:latin typeface="BrowalliaUPC" pitchFamily="34" charset="-34"/>
                  <a:cs typeface="BrowalliaUPC" pitchFamily="34" charset="-34"/>
                </a:rPr>
                <a:t>คน</a:t>
              </a:r>
            </a:p>
          </p:txBody>
        </p:sp>
      </p:grpSp>
      <p:grpSp>
        <p:nvGrpSpPr>
          <p:cNvPr id="72" name="Group 23"/>
          <p:cNvGrpSpPr/>
          <p:nvPr/>
        </p:nvGrpSpPr>
        <p:grpSpPr>
          <a:xfrm>
            <a:off x="912387" y="1831231"/>
            <a:ext cx="1337362" cy="1337364"/>
            <a:chOff x="3946101" y="1472348"/>
            <a:chExt cx="1119303" cy="1119303"/>
          </a:xfrm>
          <a:scene3d>
            <a:camera prst="orthographicFront">
              <a:rot lat="19584211" lon="19752261" rev="1595378"/>
            </a:camera>
            <a:lightRig rig="threePt" dir="t"/>
          </a:scene3d>
        </p:grpSpPr>
        <p:sp>
          <p:nvSpPr>
            <p:cNvPr id="73" name="Oval 72"/>
            <p:cNvSpPr/>
            <p:nvPr/>
          </p:nvSpPr>
          <p:spPr>
            <a:xfrm>
              <a:off x="3946101" y="1472348"/>
              <a:ext cx="1119303" cy="1119303"/>
            </a:xfrm>
            <a:prstGeom prst="ellipse">
              <a:avLst/>
            </a:prstGeom>
            <a:solidFill>
              <a:srgbClr val="86A894"/>
            </a:solidFill>
            <a:sp3d extrusionH="152250" prstMaterial="matte">
              <a:bevelT w="165100" prst="coolSlant"/>
            </a:sp3d>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74" name="Oval 12"/>
            <p:cNvSpPr/>
            <p:nvPr/>
          </p:nvSpPr>
          <p:spPr>
            <a:xfrm>
              <a:off x="4110019" y="1636266"/>
              <a:ext cx="791467" cy="791467"/>
            </a:xfrm>
            <a:prstGeom prst="rect">
              <a:avLst/>
            </a:prstGeom>
            <a:sp3d/>
          </p:spPr>
          <p:style>
            <a:lnRef idx="0">
              <a:scrgbClr r="0" g="0" b="0"/>
            </a:lnRef>
            <a:fillRef idx="0">
              <a:scrgbClr r="0" g="0" b="0"/>
            </a:fillRef>
            <a:effectRef idx="0">
              <a:scrgbClr r="0" g="0" b="0"/>
            </a:effectRef>
            <a:fontRef idx="minor">
              <a:schemeClr val="lt1"/>
            </a:fontRef>
          </p:style>
          <p:txBody>
            <a:bodyPr wrap="none" lIns="12700" tIns="12700" rIns="12700" bIns="12700" spcCol="1270" anchor="ctr">
              <a:sp3d extrusionH="28000" prstMaterial="matte"/>
            </a:bodyPr>
            <a:lstStyle/>
            <a:p>
              <a:pPr algn="ctr" defTabSz="889000">
                <a:lnSpc>
                  <a:spcPct val="90000"/>
                </a:lnSpc>
                <a:spcAft>
                  <a:spcPct val="35000"/>
                </a:spcAft>
                <a:defRPr/>
              </a:pPr>
              <a:r>
                <a:rPr lang="th-TH" sz="4000" dirty="0" smtClean="0">
                  <a:solidFill>
                    <a:prstClr val="white"/>
                  </a:solidFill>
                  <a:effectLst>
                    <a:outerShdw blurRad="38100" dist="38100" dir="2700000" algn="tl">
                      <a:srgbClr val="000000">
                        <a:alpha val="43137"/>
                      </a:srgbClr>
                    </a:outerShdw>
                  </a:effectLst>
                  <a:latin typeface="BrowalliaUPC" pitchFamily="34" charset="-34"/>
                  <a:cs typeface="BrowalliaUPC" pitchFamily="34" charset="-34"/>
                </a:rPr>
                <a:t>แผน</a:t>
              </a:r>
            </a:p>
            <a:p>
              <a:pPr algn="ctr" defTabSz="889000">
                <a:lnSpc>
                  <a:spcPct val="90000"/>
                </a:lnSpc>
                <a:spcAft>
                  <a:spcPct val="35000"/>
                </a:spcAft>
                <a:defRPr/>
              </a:pPr>
              <a:endParaRPr lang="th-TH" sz="2400" dirty="0">
                <a:solidFill>
                  <a:prstClr val="white"/>
                </a:solidFill>
                <a:effectLst>
                  <a:outerShdw blurRad="38100" dist="38100" dir="2700000" algn="tl">
                    <a:srgbClr val="000000">
                      <a:alpha val="43137"/>
                    </a:srgbClr>
                  </a:outerShdw>
                </a:effectLst>
                <a:latin typeface="BrowalliaUPC" pitchFamily="34" charset="-34"/>
                <a:cs typeface="BrowalliaUPC" pitchFamily="34" charset="-34"/>
              </a:endParaRPr>
            </a:p>
          </p:txBody>
        </p:sp>
      </p:grpSp>
      <p:grpSp>
        <p:nvGrpSpPr>
          <p:cNvPr id="75" name="Group 23"/>
          <p:cNvGrpSpPr/>
          <p:nvPr/>
        </p:nvGrpSpPr>
        <p:grpSpPr>
          <a:xfrm>
            <a:off x="4265608" y="1399192"/>
            <a:ext cx="1337363" cy="1337364"/>
            <a:chOff x="3946101" y="1472348"/>
            <a:chExt cx="1119303" cy="1119303"/>
          </a:xfrm>
          <a:scene3d>
            <a:camera prst="orthographicFront">
              <a:rot lat="19584211" lon="19752261" rev="1595378"/>
            </a:camera>
            <a:lightRig rig="threePt" dir="t"/>
          </a:scene3d>
        </p:grpSpPr>
        <p:sp>
          <p:nvSpPr>
            <p:cNvPr id="77" name="Oval 76"/>
            <p:cNvSpPr/>
            <p:nvPr/>
          </p:nvSpPr>
          <p:spPr>
            <a:xfrm>
              <a:off x="3946101" y="1472348"/>
              <a:ext cx="1119303" cy="1119303"/>
            </a:xfrm>
            <a:prstGeom prst="ellipse">
              <a:avLst/>
            </a:prstGeom>
            <a:solidFill>
              <a:schemeClr val="accent5">
                <a:lumMod val="60000"/>
                <a:lumOff val="40000"/>
              </a:schemeClr>
            </a:solidFill>
            <a:sp3d extrusionH="152250" prstMaterial="matte">
              <a:bevelT w="165100" prst="coolSlant"/>
            </a:sp3d>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78" name="Oval 12"/>
            <p:cNvSpPr/>
            <p:nvPr/>
          </p:nvSpPr>
          <p:spPr>
            <a:xfrm>
              <a:off x="4110019" y="1636266"/>
              <a:ext cx="791467" cy="791467"/>
            </a:xfrm>
            <a:prstGeom prst="rect">
              <a:avLst/>
            </a:prstGeom>
            <a:sp3d/>
          </p:spPr>
          <p:style>
            <a:lnRef idx="0">
              <a:scrgbClr r="0" g="0" b="0"/>
            </a:lnRef>
            <a:fillRef idx="0">
              <a:scrgbClr r="0" g="0" b="0"/>
            </a:fillRef>
            <a:effectRef idx="0">
              <a:scrgbClr r="0" g="0" b="0"/>
            </a:effectRef>
            <a:fontRef idx="minor">
              <a:schemeClr val="lt1"/>
            </a:fontRef>
          </p:style>
          <p:txBody>
            <a:bodyPr wrap="none" lIns="12700" tIns="12700" rIns="12700" bIns="12700" spcCol="1270" anchor="ctr">
              <a:sp3d extrusionH="28000" prstMaterial="matte"/>
            </a:bodyPr>
            <a:lstStyle/>
            <a:p>
              <a:pPr algn="ctr" defTabSz="889000">
                <a:lnSpc>
                  <a:spcPct val="90000"/>
                </a:lnSpc>
                <a:spcAft>
                  <a:spcPct val="35000"/>
                </a:spcAft>
                <a:defRPr/>
              </a:pPr>
              <a:r>
                <a:rPr lang="th-TH" dirty="0">
                  <a:solidFill>
                    <a:prstClr val="white"/>
                  </a:solidFill>
                  <a:effectLst>
                    <a:outerShdw blurRad="38100" dist="38100" dir="2700000" algn="tl">
                      <a:srgbClr val="000000">
                        <a:alpha val="43137"/>
                      </a:srgbClr>
                    </a:outerShdw>
                  </a:effectLst>
                  <a:latin typeface="BrowalliaUPC" pitchFamily="34" charset="-34"/>
                  <a:cs typeface="BrowalliaUPC" pitchFamily="34" charset="-34"/>
                </a:rPr>
                <a:t>ทรัพยากร</a:t>
              </a:r>
            </a:p>
          </p:txBody>
        </p:sp>
      </p:grpSp>
      <p:grpSp>
        <p:nvGrpSpPr>
          <p:cNvPr id="79" name="Group 23"/>
          <p:cNvGrpSpPr/>
          <p:nvPr/>
        </p:nvGrpSpPr>
        <p:grpSpPr>
          <a:xfrm>
            <a:off x="5875684" y="4315945"/>
            <a:ext cx="1337363" cy="1337364"/>
            <a:chOff x="3946101" y="1472348"/>
            <a:chExt cx="1119303" cy="1119303"/>
          </a:xfrm>
          <a:scene3d>
            <a:camera prst="orthographicFront">
              <a:rot lat="19584211" lon="19752261" rev="1595378"/>
            </a:camera>
            <a:lightRig rig="threePt" dir="t"/>
          </a:scene3d>
        </p:grpSpPr>
        <p:sp>
          <p:nvSpPr>
            <p:cNvPr id="80" name="Oval 79"/>
            <p:cNvSpPr/>
            <p:nvPr/>
          </p:nvSpPr>
          <p:spPr>
            <a:xfrm>
              <a:off x="3946101" y="1472348"/>
              <a:ext cx="1119303" cy="1119303"/>
            </a:xfrm>
            <a:prstGeom prst="ellipse">
              <a:avLst/>
            </a:prstGeom>
            <a:solidFill>
              <a:srgbClr val="666280"/>
            </a:solidFill>
            <a:sp3d extrusionH="152250" prstMaterial="matte">
              <a:bevelT w="165100" prst="coolSlant"/>
            </a:sp3d>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85" name="Oval 12"/>
            <p:cNvSpPr/>
            <p:nvPr/>
          </p:nvSpPr>
          <p:spPr>
            <a:xfrm>
              <a:off x="4110019" y="1636266"/>
              <a:ext cx="791467" cy="791467"/>
            </a:xfrm>
            <a:prstGeom prst="rect">
              <a:avLst/>
            </a:prstGeom>
            <a:sp3d/>
          </p:spPr>
          <p:style>
            <a:lnRef idx="0">
              <a:scrgbClr r="0" g="0" b="0"/>
            </a:lnRef>
            <a:fillRef idx="0">
              <a:scrgbClr r="0" g="0" b="0"/>
            </a:fillRef>
            <a:effectRef idx="0">
              <a:scrgbClr r="0" g="0" b="0"/>
            </a:effectRef>
            <a:fontRef idx="minor">
              <a:schemeClr val="lt1"/>
            </a:fontRef>
          </p:style>
          <p:txBody>
            <a:bodyPr wrap="none" lIns="12700" tIns="12700" rIns="12700" bIns="12700" spcCol="1270" anchor="ctr">
              <a:sp3d extrusionH="28000" prstMaterial="matte"/>
            </a:bodyPr>
            <a:lstStyle/>
            <a:p>
              <a:pPr algn="ctr" defTabSz="889000">
                <a:lnSpc>
                  <a:spcPct val="90000"/>
                </a:lnSpc>
                <a:spcAft>
                  <a:spcPct val="35000"/>
                </a:spcAft>
                <a:defRPr/>
              </a:pPr>
              <a:r>
                <a:rPr lang="th-TH" sz="4800" dirty="0">
                  <a:solidFill>
                    <a:prstClr val="white"/>
                  </a:solidFill>
                  <a:effectLst>
                    <a:outerShdw blurRad="38100" dist="38100" dir="2700000" algn="tl">
                      <a:srgbClr val="000000">
                        <a:alpha val="43137"/>
                      </a:srgbClr>
                    </a:outerShdw>
                  </a:effectLst>
                  <a:latin typeface="BrowalliaUPC" pitchFamily="34" charset="-34"/>
                  <a:cs typeface="BrowalliaUPC" pitchFamily="34" charset="-34"/>
                </a:rPr>
                <a:t>เงิน</a:t>
              </a:r>
            </a:p>
          </p:txBody>
        </p:sp>
      </p:grpSp>
      <p:grpSp>
        <p:nvGrpSpPr>
          <p:cNvPr id="89" name="Group 27"/>
          <p:cNvGrpSpPr/>
          <p:nvPr/>
        </p:nvGrpSpPr>
        <p:grpSpPr>
          <a:xfrm>
            <a:off x="1525953" y="3347220"/>
            <a:ext cx="1337363" cy="1337364"/>
            <a:chOff x="1030594" y="1472348"/>
            <a:chExt cx="1119303" cy="1119303"/>
          </a:xfrm>
          <a:scene3d>
            <a:camera prst="orthographicFront">
              <a:rot lat="19584211" lon="19752261" rev="1595378"/>
            </a:camera>
            <a:lightRig rig="threePt" dir="t"/>
          </a:scene3d>
        </p:grpSpPr>
        <p:sp>
          <p:nvSpPr>
            <p:cNvPr id="90" name="Oval 89"/>
            <p:cNvSpPr/>
            <p:nvPr/>
          </p:nvSpPr>
          <p:spPr>
            <a:xfrm>
              <a:off x="1030594" y="1472348"/>
              <a:ext cx="1119303" cy="1119303"/>
            </a:xfrm>
            <a:prstGeom prst="ellipse">
              <a:avLst/>
            </a:prstGeom>
            <a:sp3d extrusionH="152250" prstMaterial="matte">
              <a:bevelT w="165100" prst="coolSlant"/>
            </a:sp3d>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sp>
        <p:sp>
          <p:nvSpPr>
            <p:cNvPr id="91" name="Oval 20"/>
            <p:cNvSpPr/>
            <p:nvPr/>
          </p:nvSpPr>
          <p:spPr>
            <a:xfrm>
              <a:off x="1194512" y="1636266"/>
              <a:ext cx="791467" cy="791467"/>
            </a:xfrm>
            <a:prstGeom prst="rect">
              <a:avLst/>
            </a:prstGeom>
            <a:sp3d extrusionH="152250" prstMaterial="matte">
              <a:bevelT w="165100" prst="coolSlant"/>
            </a:sp3d>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txBody>
            <a:bodyPr wrap="none" lIns="12700" tIns="12700" rIns="12700" bIns="12700" spcCol="1270" anchor="ctr">
              <a:sp3d extrusionH="28000" prstMaterial="matte"/>
            </a:bodyPr>
            <a:lstStyle/>
            <a:p>
              <a:pPr algn="ctr" defTabSz="889000">
                <a:lnSpc>
                  <a:spcPct val="90000"/>
                </a:lnSpc>
                <a:spcAft>
                  <a:spcPct val="35000"/>
                </a:spcAft>
                <a:defRPr/>
              </a:pPr>
              <a:r>
                <a:rPr lang="th-TH" sz="3600" dirty="0" smtClean="0">
                  <a:solidFill>
                    <a:prstClr val="white"/>
                  </a:solidFill>
                  <a:effectLst>
                    <a:outerShdw blurRad="38100" dist="38100" dir="2700000" algn="tl">
                      <a:srgbClr val="000000">
                        <a:alpha val="43137"/>
                      </a:srgbClr>
                    </a:outerShdw>
                  </a:effectLst>
                  <a:latin typeface="BrowalliaUPC" pitchFamily="34" charset="-34"/>
                  <a:cs typeface="BrowalliaUPC" pitchFamily="34" charset="-34"/>
                </a:rPr>
                <a:t>โครงสร้าง</a:t>
              </a:r>
              <a:endParaRPr lang="th-TH" sz="3600" dirty="0">
                <a:solidFill>
                  <a:prstClr val="white"/>
                </a:solidFill>
                <a:effectLst>
                  <a:outerShdw blurRad="38100" dist="38100" dir="2700000" algn="tl">
                    <a:srgbClr val="000000">
                      <a:alpha val="43137"/>
                    </a:srgbClr>
                  </a:outerShdw>
                </a:effectLst>
                <a:latin typeface="BrowalliaUPC" pitchFamily="34" charset="-34"/>
                <a:cs typeface="BrowalliaUPC" pitchFamily="34" charset="-34"/>
              </a:endParaRPr>
            </a:p>
          </p:txBody>
        </p:sp>
      </p:grpSp>
      <p:grpSp>
        <p:nvGrpSpPr>
          <p:cNvPr id="92" name="Group 23"/>
          <p:cNvGrpSpPr/>
          <p:nvPr/>
        </p:nvGrpSpPr>
        <p:grpSpPr>
          <a:xfrm>
            <a:off x="2450750" y="4802575"/>
            <a:ext cx="1337362" cy="1337363"/>
            <a:chOff x="3946101" y="1472348"/>
            <a:chExt cx="1119303" cy="1119303"/>
          </a:xfrm>
          <a:scene3d>
            <a:camera prst="orthographicFront">
              <a:rot lat="19584211" lon="19752261" rev="1595378"/>
            </a:camera>
            <a:lightRig rig="threePt" dir="t"/>
          </a:scene3d>
        </p:grpSpPr>
        <p:sp>
          <p:nvSpPr>
            <p:cNvPr id="93" name="Oval 92"/>
            <p:cNvSpPr/>
            <p:nvPr/>
          </p:nvSpPr>
          <p:spPr>
            <a:xfrm>
              <a:off x="3946101" y="1472348"/>
              <a:ext cx="1119303" cy="1119303"/>
            </a:xfrm>
            <a:prstGeom prst="ellipse">
              <a:avLst/>
            </a:prstGeom>
            <a:solidFill>
              <a:srgbClr val="6E974F"/>
            </a:solidFill>
            <a:sp3d extrusionH="152250" prstMaterial="matte">
              <a:bevelT w="165100" prst="coolSlant"/>
            </a:sp3d>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94" name="Oval 12"/>
            <p:cNvSpPr/>
            <p:nvPr/>
          </p:nvSpPr>
          <p:spPr>
            <a:xfrm>
              <a:off x="4110019" y="1636266"/>
              <a:ext cx="791467" cy="791467"/>
            </a:xfrm>
            <a:prstGeom prst="rect">
              <a:avLst/>
            </a:prstGeom>
            <a:sp3d/>
          </p:spPr>
          <p:style>
            <a:lnRef idx="0">
              <a:scrgbClr r="0" g="0" b="0"/>
            </a:lnRef>
            <a:fillRef idx="0">
              <a:scrgbClr r="0" g="0" b="0"/>
            </a:fillRef>
            <a:effectRef idx="0">
              <a:scrgbClr r="0" g="0" b="0"/>
            </a:effectRef>
            <a:fontRef idx="minor">
              <a:schemeClr val="lt1"/>
            </a:fontRef>
          </p:style>
          <p:txBody>
            <a:bodyPr wrap="none" lIns="12700" tIns="12700" rIns="12700" bIns="12700" spcCol="1270" anchor="ctr">
              <a:sp3d extrusionH="28000" prstMaterial="matte"/>
            </a:bodyPr>
            <a:lstStyle/>
            <a:p>
              <a:pPr algn="ctr" defTabSz="889000">
                <a:lnSpc>
                  <a:spcPct val="90000"/>
                </a:lnSpc>
                <a:spcAft>
                  <a:spcPct val="35000"/>
                </a:spcAft>
                <a:defRPr/>
              </a:pPr>
              <a:r>
                <a:rPr lang="th-TH" sz="3600" dirty="0">
                  <a:solidFill>
                    <a:prstClr val="white"/>
                  </a:solidFill>
                  <a:effectLst>
                    <a:outerShdw blurRad="38100" dist="38100" dir="2700000" algn="tl">
                      <a:srgbClr val="000000">
                        <a:alpha val="43137"/>
                      </a:srgbClr>
                    </a:outerShdw>
                  </a:effectLst>
                  <a:latin typeface="BrowalliaUPC" pitchFamily="34" charset="-34"/>
                  <a:cs typeface="BrowalliaUPC" pitchFamily="34" charset="-34"/>
                </a:rPr>
                <a:t>ระบบ</a:t>
              </a:r>
            </a:p>
          </p:txBody>
        </p:sp>
      </p:grpSp>
      <p:grpSp>
        <p:nvGrpSpPr>
          <p:cNvPr id="95" name="Group 21"/>
          <p:cNvGrpSpPr/>
          <p:nvPr/>
        </p:nvGrpSpPr>
        <p:grpSpPr>
          <a:xfrm>
            <a:off x="2596593" y="1670050"/>
            <a:ext cx="1337363" cy="1337364"/>
            <a:chOff x="2488348" y="14594"/>
            <a:chExt cx="1119303" cy="1119303"/>
          </a:xfrm>
          <a:scene3d>
            <a:camera prst="orthographicFront">
              <a:rot lat="19584211" lon="19752261" rev="1595378"/>
            </a:camera>
            <a:lightRig rig="threePt" dir="t"/>
          </a:scene3d>
        </p:grpSpPr>
        <p:sp>
          <p:nvSpPr>
            <p:cNvPr id="96" name="Oval 95"/>
            <p:cNvSpPr/>
            <p:nvPr/>
          </p:nvSpPr>
          <p:spPr>
            <a:xfrm>
              <a:off x="2488348" y="14594"/>
              <a:ext cx="1119303" cy="1119303"/>
            </a:xfrm>
            <a:prstGeom prst="ellipse">
              <a:avLst/>
            </a:prstGeom>
            <a:sp3d extrusionH="152250" prstMaterial="matte">
              <a:bevelT w="165100" prst="coolSlant"/>
            </a:sp3d>
          </p:spPr>
          <p:style>
            <a:lnRef idx="0">
              <a:schemeClr val="lt1">
                <a:hueOff val="0"/>
                <a:satOff val="0"/>
                <a:lumOff val="0"/>
                <a:alphaOff val="0"/>
              </a:schemeClr>
            </a:lnRef>
            <a:fillRef idx="1">
              <a:schemeClr val="accent5">
                <a:hueOff val="0"/>
                <a:satOff val="0"/>
                <a:lumOff val="0"/>
                <a:alphaOff val="0"/>
              </a:schemeClr>
            </a:fillRef>
            <a:effectRef idx="2">
              <a:schemeClr val="accent5">
                <a:hueOff val="0"/>
                <a:satOff val="0"/>
                <a:lumOff val="0"/>
                <a:alphaOff val="0"/>
              </a:schemeClr>
            </a:effectRef>
            <a:fontRef idx="minor">
              <a:schemeClr val="lt1"/>
            </a:fontRef>
          </p:style>
        </p:sp>
        <p:sp>
          <p:nvSpPr>
            <p:cNvPr id="97" name="Oval 8"/>
            <p:cNvSpPr/>
            <p:nvPr/>
          </p:nvSpPr>
          <p:spPr>
            <a:xfrm>
              <a:off x="2652266" y="178512"/>
              <a:ext cx="791467" cy="791467"/>
            </a:xfrm>
            <a:prstGeom prst="rect">
              <a:avLst/>
            </a:prstGeom>
            <a:sp3d extrusionH="152250" prstMaterial="matte">
              <a:bevelT w="165100" prst="coolSlant"/>
            </a:sp3d>
          </p:spPr>
          <p:style>
            <a:lnRef idx="0">
              <a:schemeClr val="lt1">
                <a:hueOff val="0"/>
                <a:satOff val="0"/>
                <a:lumOff val="0"/>
                <a:alphaOff val="0"/>
              </a:schemeClr>
            </a:lnRef>
            <a:fillRef idx="1">
              <a:schemeClr val="accent5">
                <a:hueOff val="0"/>
                <a:satOff val="0"/>
                <a:lumOff val="0"/>
                <a:alphaOff val="0"/>
              </a:schemeClr>
            </a:fillRef>
            <a:effectRef idx="2">
              <a:schemeClr val="accent5">
                <a:hueOff val="0"/>
                <a:satOff val="0"/>
                <a:lumOff val="0"/>
                <a:alphaOff val="0"/>
              </a:schemeClr>
            </a:effectRef>
            <a:fontRef idx="minor">
              <a:schemeClr val="lt1"/>
            </a:fontRef>
          </p:style>
          <p:txBody>
            <a:bodyPr wrap="none" lIns="12700" tIns="12700" rIns="12700" bIns="12700" spcCol="1270" anchor="ctr">
              <a:sp3d extrusionH="28000" prstMaterial="matte"/>
            </a:bodyPr>
            <a:lstStyle/>
            <a:p>
              <a:pPr algn="ctr" defTabSz="889000">
                <a:lnSpc>
                  <a:spcPct val="90000"/>
                </a:lnSpc>
                <a:spcAft>
                  <a:spcPct val="35000"/>
                </a:spcAft>
                <a:defRPr/>
              </a:pPr>
              <a:r>
                <a:rPr lang="th-TH" sz="3200" dirty="0">
                  <a:solidFill>
                    <a:prstClr val="white"/>
                  </a:solidFill>
                  <a:effectLst>
                    <a:outerShdw blurRad="38100" dist="38100" dir="2700000" algn="tl">
                      <a:srgbClr val="000000">
                        <a:alpha val="43137"/>
                      </a:srgbClr>
                    </a:outerShdw>
                  </a:effectLst>
                  <a:latin typeface="BrowalliaUPC" pitchFamily="34" charset="-34"/>
                  <a:cs typeface="BrowalliaUPC" pitchFamily="34" charset="-34"/>
                </a:rPr>
                <a:t>โครงการ</a:t>
              </a:r>
            </a:p>
          </p:txBody>
        </p:sp>
      </p:grpSp>
      <p:sp>
        <p:nvSpPr>
          <p:cNvPr id="99" name="Rectangle 2"/>
          <p:cNvSpPr>
            <a:spLocks noChangeArrowheads="1"/>
          </p:cNvSpPr>
          <p:nvPr/>
        </p:nvSpPr>
        <p:spPr bwMode="auto">
          <a:xfrm>
            <a:off x="6595677" y="1002066"/>
            <a:ext cx="2393604" cy="2164695"/>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algn="ctr">
              <a:lnSpc>
                <a:spcPts val="3200"/>
              </a:lnSpc>
              <a:defRPr/>
            </a:pPr>
            <a:r>
              <a:rPr lang="en-US" sz="3200" dirty="0">
                <a:ln w="0"/>
                <a:solidFill>
                  <a:srgbClr val="4F81BD"/>
                </a:solidFill>
                <a:effectLst>
                  <a:outerShdw blurRad="38100" dist="25400" dir="5400000" algn="ctr" rotWithShape="0">
                    <a:srgbClr val="6E747A">
                      <a:alpha val="43000"/>
                    </a:srgbClr>
                  </a:outerShdw>
                </a:effectLst>
                <a:latin typeface="Browallia New" pitchFamily="34" charset="-34"/>
                <a:cs typeface="Browallia New" pitchFamily="34" charset="-34"/>
              </a:rPr>
              <a:t>Quantity</a:t>
            </a:r>
          </a:p>
          <a:p>
            <a:pPr algn="ctr">
              <a:lnSpc>
                <a:spcPts val="3200"/>
              </a:lnSpc>
              <a:defRPr/>
            </a:pPr>
            <a:r>
              <a:rPr lang="en-US" sz="3200" dirty="0">
                <a:ln w="0"/>
                <a:solidFill>
                  <a:srgbClr val="4F81BD"/>
                </a:solidFill>
                <a:effectLst>
                  <a:outerShdw blurRad="38100" dist="25400" dir="5400000" algn="ctr" rotWithShape="0">
                    <a:srgbClr val="6E747A">
                      <a:alpha val="43000"/>
                    </a:srgbClr>
                  </a:outerShdw>
                </a:effectLst>
                <a:latin typeface="Browallia New" pitchFamily="34" charset="-34"/>
                <a:cs typeface="Browallia New" pitchFamily="34" charset="-34"/>
              </a:rPr>
              <a:t>Quality</a:t>
            </a:r>
          </a:p>
          <a:p>
            <a:pPr algn="ctr">
              <a:lnSpc>
                <a:spcPts val="3200"/>
              </a:lnSpc>
              <a:defRPr/>
            </a:pPr>
            <a:r>
              <a:rPr lang="en-US" sz="3200" dirty="0">
                <a:ln w="0"/>
                <a:solidFill>
                  <a:srgbClr val="4F81BD"/>
                </a:solidFill>
                <a:effectLst>
                  <a:outerShdw blurRad="38100" dist="25400" dir="5400000" algn="ctr" rotWithShape="0">
                    <a:srgbClr val="6E747A">
                      <a:alpha val="43000"/>
                    </a:srgbClr>
                  </a:outerShdw>
                </a:effectLst>
                <a:latin typeface="Browallia New" pitchFamily="34" charset="-34"/>
                <a:cs typeface="Browallia New" pitchFamily="34" charset="-34"/>
              </a:rPr>
              <a:t>Productivity</a:t>
            </a:r>
          </a:p>
          <a:p>
            <a:pPr algn="ctr">
              <a:lnSpc>
                <a:spcPts val="3200"/>
              </a:lnSpc>
              <a:defRPr/>
            </a:pPr>
            <a:r>
              <a:rPr lang="en-US" sz="3200" dirty="0">
                <a:ln w="0"/>
                <a:solidFill>
                  <a:srgbClr val="4F81BD"/>
                </a:solidFill>
                <a:effectLst>
                  <a:outerShdw blurRad="38100" dist="25400" dir="5400000" algn="ctr" rotWithShape="0">
                    <a:srgbClr val="6E747A">
                      <a:alpha val="43000"/>
                    </a:srgbClr>
                  </a:outerShdw>
                </a:effectLst>
                <a:latin typeface="Browallia New" pitchFamily="34" charset="-34"/>
                <a:cs typeface="Browallia New" pitchFamily="34" charset="-34"/>
              </a:rPr>
              <a:t>Good Governance</a:t>
            </a:r>
          </a:p>
          <a:p>
            <a:pPr algn="ctr">
              <a:lnSpc>
                <a:spcPts val="3200"/>
              </a:lnSpc>
              <a:defRPr/>
            </a:pPr>
            <a:r>
              <a:rPr lang="en-US" altLang="zh-CN" sz="3200" dirty="0">
                <a:ln w="0"/>
                <a:solidFill>
                  <a:srgbClr val="4F81BD"/>
                </a:solidFill>
                <a:effectLst>
                  <a:outerShdw blurRad="38100" dist="25400" dir="5400000" algn="ctr" rotWithShape="0">
                    <a:srgbClr val="6E747A">
                      <a:alpha val="43000"/>
                    </a:srgbClr>
                  </a:outerShdw>
                </a:effectLst>
                <a:latin typeface="Browallia New" pitchFamily="34" charset="-34"/>
                <a:cs typeface="Browallia New" pitchFamily="34" charset="-34"/>
              </a:rPr>
              <a:t>Sustainability</a:t>
            </a:r>
            <a:endParaRPr lang="th-TH" altLang="zh-CN" sz="3200" dirty="0">
              <a:ln w="0"/>
              <a:solidFill>
                <a:srgbClr val="4F81BD"/>
              </a:solidFill>
              <a:effectLst>
                <a:outerShdw blurRad="38100" dist="25400" dir="5400000" algn="ctr" rotWithShape="0">
                  <a:srgbClr val="6E747A">
                    <a:alpha val="43000"/>
                  </a:srgbClr>
                </a:outerShdw>
              </a:effectLst>
              <a:latin typeface="Browallia New" pitchFamily="34" charset="-34"/>
              <a:cs typeface="Browallia New" pitchFamily="34" charset="-34"/>
            </a:endParaRPr>
          </a:p>
        </p:txBody>
      </p:sp>
      <p:grpSp>
        <p:nvGrpSpPr>
          <p:cNvPr id="104" name="Group 103"/>
          <p:cNvGrpSpPr/>
          <p:nvPr/>
        </p:nvGrpSpPr>
        <p:grpSpPr>
          <a:xfrm>
            <a:off x="2807576" y="4074950"/>
            <a:ext cx="3049365" cy="1351419"/>
            <a:chOff x="3059832" y="3933056"/>
            <a:chExt cx="3049365" cy="1351419"/>
          </a:xfrm>
        </p:grpSpPr>
        <p:cxnSp>
          <p:nvCxnSpPr>
            <p:cNvPr id="105" name="Straight Arrow Connector 104"/>
            <p:cNvCxnSpPr/>
            <p:nvPr/>
          </p:nvCxnSpPr>
          <p:spPr>
            <a:xfrm>
              <a:off x="3059832" y="4149080"/>
              <a:ext cx="1430736" cy="734596"/>
            </a:xfrm>
            <a:prstGeom prst="straightConnector1">
              <a:avLst/>
            </a:prstGeom>
            <a:ln w="38100">
              <a:solidFill>
                <a:srgbClr val="FF0000"/>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p:nvCxnSpPr>
          <p:spPr>
            <a:xfrm flipH="1">
              <a:off x="5271168" y="3933056"/>
              <a:ext cx="452960" cy="788478"/>
            </a:xfrm>
            <a:prstGeom prst="straightConnector1">
              <a:avLst/>
            </a:prstGeom>
            <a:ln w="38100">
              <a:solidFill>
                <a:srgbClr val="FF0000"/>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a:off x="4572456" y="4242445"/>
              <a:ext cx="211497" cy="451793"/>
            </a:xfrm>
            <a:prstGeom prst="straightConnector1">
              <a:avLst/>
            </a:prstGeom>
            <a:ln w="38100">
              <a:solidFill>
                <a:srgbClr val="FF0000"/>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p:nvPr/>
          </p:nvCxnSpPr>
          <p:spPr>
            <a:xfrm flipV="1">
              <a:off x="3940391" y="5229200"/>
              <a:ext cx="487593" cy="55275"/>
            </a:xfrm>
            <a:prstGeom prst="straightConnector1">
              <a:avLst/>
            </a:prstGeom>
            <a:ln w="38100">
              <a:solidFill>
                <a:srgbClr val="FF0000"/>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p:nvPr/>
          </p:nvCxnSpPr>
          <p:spPr>
            <a:xfrm flipH="1">
              <a:off x="5654986" y="4985918"/>
              <a:ext cx="454211" cy="65741"/>
            </a:xfrm>
            <a:prstGeom prst="straightConnector1">
              <a:avLst/>
            </a:prstGeom>
            <a:ln w="38100">
              <a:solidFill>
                <a:srgbClr val="FF0000"/>
              </a:solidFill>
              <a:tailEnd type="stealth" w="lg" len="lg"/>
            </a:ln>
          </p:spPr>
          <p:style>
            <a:lnRef idx="1">
              <a:schemeClr val="accent1"/>
            </a:lnRef>
            <a:fillRef idx="0">
              <a:schemeClr val="accent1"/>
            </a:fillRef>
            <a:effectRef idx="0">
              <a:schemeClr val="accent1"/>
            </a:effectRef>
            <a:fontRef idx="minor">
              <a:schemeClr val="tx1"/>
            </a:fontRef>
          </p:style>
        </p:cxnSp>
      </p:grpSp>
      <p:pic>
        <p:nvPicPr>
          <p:cNvPr id="100" name="Picture 99"/>
          <p:cNvPicPr>
            <a:picLocks noChangeAspect="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935448" y="3305289"/>
            <a:ext cx="6854774" cy="2405517"/>
          </a:xfrm>
          <a:prstGeom prst="rect">
            <a:avLst/>
          </a:prstGeom>
        </p:spPr>
      </p:pic>
      <p:sp>
        <p:nvSpPr>
          <p:cNvPr id="44" name="Rectangle 43"/>
          <p:cNvSpPr/>
          <p:nvPr/>
        </p:nvSpPr>
        <p:spPr>
          <a:xfrm>
            <a:off x="8644" y="14492"/>
            <a:ext cx="8980637" cy="605294"/>
          </a:xfrm>
          <a:prstGeom prst="rect">
            <a:avLst/>
          </a:prstGeom>
        </p:spPr>
        <p:style>
          <a:lnRef idx="1">
            <a:schemeClr val="accent2"/>
          </a:lnRef>
          <a:fillRef idx="3">
            <a:schemeClr val="accent2"/>
          </a:fillRef>
          <a:effectRef idx="2">
            <a:schemeClr val="accent2"/>
          </a:effectRef>
          <a:fontRef idx="minor">
            <a:schemeClr val="lt1"/>
          </a:fontRef>
        </p:style>
        <p:txBody>
          <a:bodyPr wrap="square">
            <a:spAutoFit/>
          </a:bodyPr>
          <a:lstStyle/>
          <a:p>
            <a:pPr algn="ctr">
              <a:lnSpc>
                <a:spcPts val="4000"/>
              </a:lnSpc>
              <a:defRPr/>
            </a:pPr>
            <a:r>
              <a:rPr lang="th-TH" sz="3200" b="1" dirty="0">
                <a:solidFill>
                  <a:schemeClr val="bg1"/>
                </a:solidFill>
                <a:latin typeface="AngsanaUPC" panose="02020603050405020304" pitchFamily="18" charset="-34"/>
                <a:cs typeface="AngsanaUPC" panose="02020603050405020304" pitchFamily="18" charset="-34"/>
              </a:rPr>
              <a:t>หลักสำคัญในการจัดการ</a:t>
            </a:r>
            <a:r>
              <a:rPr lang="th-TH" sz="3200" b="1" dirty="0" smtClean="0">
                <a:solidFill>
                  <a:schemeClr val="bg1"/>
                </a:solidFill>
                <a:latin typeface="AngsanaUPC" panose="02020603050405020304" pitchFamily="18" charset="-34"/>
                <a:cs typeface="AngsanaUPC" panose="02020603050405020304" pitchFamily="18" charset="-34"/>
              </a:rPr>
              <a:t>องค์กร - </a:t>
            </a:r>
            <a:r>
              <a:rPr lang="th-TH" sz="3200" b="1" u="sng" dirty="0" smtClean="0">
                <a:solidFill>
                  <a:schemeClr val="bg1"/>
                </a:solidFill>
                <a:latin typeface="AngsanaUPC" panose="02020603050405020304" pitchFamily="18" charset="-34"/>
                <a:cs typeface="AngsanaUPC" panose="02020603050405020304" pitchFamily="18" charset="-34"/>
              </a:rPr>
              <a:t>การ</a:t>
            </a:r>
            <a:r>
              <a:rPr lang="th-TH" sz="3200" b="1" u="sng" dirty="0">
                <a:solidFill>
                  <a:schemeClr val="bg1"/>
                </a:solidFill>
                <a:latin typeface="AngsanaUPC" panose="02020603050405020304" pitchFamily="18" charset="-34"/>
                <a:cs typeface="AngsanaUPC" panose="02020603050405020304" pitchFamily="18" charset="-34"/>
              </a:rPr>
              <a:t>วัด</a:t>
            </a:r>
            <a:r>
              <a:rPr lang="th-TH" sz="3200" b="1" u="sng" dirty="0" smtClean="0">
                <a:solidFill>
                  <a:schemeClr val="bg1"/>
                </a:solidFill>
                <a:latin typeface="AngsanaUPC" panose="02020603050405020304" pitchFamily="18" charset="-34"/>
                <a:cs typeface="AngsanaUPC" panose="02020603050405020304" pitchFamily="18" charset="-34"/>
              </a:rPr>
              <a:t>ความสำเร็จ</a:t>
            </a:r>
            <a:r>
              <a:rPr lang="th-TH" sz="3200" b="1" dirty="0" smtClean="0">
                <a:solidFill>
                  <a:schemeClr val="bg1"/>
                </a:solidFill>
                <a:latin typeface="AngsanaUPC" panose="02020603050405020304" pitchFamily="18" charset="-34"/>
                <a:cs typeface="AngsanaUPC" panose="02020603050405020304" pitchFamily="18" charset="-34"/>
              </a:rPr>
              <a:t>ในผลการดำเนินงาน</a:t>
            </a:r>
            <a:endParaRPr lang="th-TH" sz="3200" b="1" dirty="0">
              <a:solidFill>
                <a:schemeClr val="bg1"/>
              </a:solidFill>
              <a:latin typeface="AngsanaUPC" panose="02020603050405020304" pitchFamily="18" charset="-34"/>
              <a:cs typeface="AngsanaUPC" panose="02020603050405020304" pitchFamily="18" charset="-34"/>
            </a:endParaRPr>
          </a:p>
        </p:txBody>
      </p:sp>
      <p:grpSp>
        <p:nvGrpSpPr>
          <p:cNvPr id="52" name="Group 51"/>
          <p:cNvGrpSpPr/>
          <p:nvPr/>
        </p:nvGrpSpPr>
        <p:grpSpPr>
          <a:xfrm>
            <a:off x="3857757" y="1837267"/>
            <a:ext cx="3624784" cy="1880098"/>
            <a:chOff x="3179485" y="3464310"/>
            <a:chExt cx="3624784" cy="1880098"/>
          </a:xfrm>
        </p:grpSpPr>
        <p:cxnSp>
          <p:nvCxnSpPr>
            <p:cNvPr id="53" name="Straight Arrow Connector 52"/>
            <p:cNvCxnSpPr/>
            <p:nvPr/>
          </p:nvCxnSpPr>
          <p:spPr>
            <a:xfrm>
              <a:off x="3179485" y="4266349"/>
              <a:ext cx="1253222" cy="640819"/>
            </a:xfrm>
            <a:prstGeom prst="straightConnector1">
              <a:avLst/>
            </a:prstGeom>
            <a:ln w="38100">
              <a:solidFill>
                <a:srgbClr val="FF0000"/>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flipH="1">
              <a:off x="5286247" y="3464310"/>
              <a:ext cx="698748" cy="1288427"/>
            </a:xfrm>
            <a:prstGeom prst="straightConnector1">
              <a:avLst/>
            </a:prstGeom>
            <a:ln w="38100">
              <a:solidFill>
                <a:srgbClr val="FF0000"/>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4517936" y="4224348"/>
              <a:ext cx="248357" cy="444719"/>
            </a:xfrm>
            <a:prstGeom prst="straightConnector1">
              <a:avLst/>
            </a:prstGeom>
            <a:ln w="38100">
              <a:solidFill>
                <a:srgbClr val="FF0000"/>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flipV="1">
              <a:off x="3881775" y="5274367"/>
              <a:ext cx="498398" cy="70041"/>
            </a:xfrm>
            <a:prstGeom prst="straightConnector1">
              <a:avLst/>
            </a:prstGeom>
            <a:ln w="38100">
              <a:solidFill>
                <a:srgbClr val="FF0000"/>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H="1">
              <a:off x="5632881" y="4943984"/>
              <a:ext cx="1171388" cy="161365"/>
            </a:xfrm>
            <a:prstGeom prst="straightConnector1">
              <a:avLst/>
            </a:prstGeom>
            <a:ln w="38100">
              <a:solidFill>
                <a:srgbClr val="FF0000"/>
              </a:solidFill>
              <a:tailEnd type="stealth" w="lg" len="lg"/>
            </a:ln>
          </p:spPr>
          <p:style>
            <a:lnRef idx="1">
              <a:schemeClr val="accent1"/>
            </a:lnRef>
            <a:fillRef idx="0">
              <a:schemeClr val="accent1"/>
            </a:fillRef>
            <a:effectRef idx="0">
              <a:schemeClr val="accent1"/>
            </a:effectRef>
            <a:fontRef idx="minor">
              <a:schemeClr val="tx1"/>
            </a:fontRef>
          </p:style>
        </p:cxnSp>
      </p:grpSp>
      <p:sp>
        <p:nvSpPr>
          <p:cNvPr id="3" name="TextBox 2"/>
          <p:cNvSpPr txBox="1"/>
          <p:nvPr/>
        </p:nvSpPr>
        <p:spPr>
          <a:xfrm>
            <a:off x="1172637" y="2930625"/>
            <a:ext cx="1417376" cy="523220"/>
          </a:xfrm>
          <a:prstGeom prst="rect">
            <a:avLst/>
          </a:prstGeom>
          <a:noFill/>
          <a:scene3d>
            <a:camera prst="orthographicFront">
              <a:rot lat="19560000" lon="19800000" rev="1560000"/>
            </a:camera>
            <a:lightRig rig="threePt" dir="t"/>
          </a:scene3d>
        </p:spPr>
        <p:txBody>
          <a:bodyPr wrap="none" rtlCol="0">
            <a:spAutoFit/>
          </a:bodyPr>
          <a:lstStyle>
            <a:defPPr>
              <a:defRPr lang="th-TH"/>
            </a:defPPr>
            <a:lvl1pPr>
              <a:defRPr>
                <a:solidFill>
                  <a:schemeClr val="tx2">
                    <a:lumMod val="75000"/>
                  </a:schemeClr>
                </a:solidFill>
              </a:defRPr>
            </a:lvl1pPr>
          </a:lstStyle>
          <a:p>
            <a:r>
              <a:rPr lang="th-TH" dirty="0">
                <a:solidFill>
                  <a:srgbClr val="1F497D">
                    <a:lumMod val="75000"/>
                  </a:srgbClr>
                </a:solidFill>
              </a:rPr>
              <a:t>มุ่งมั่นท้าทาย</a:t>
            </a:r>
          </a:p>
        </p:txBody>
      </p:sp>
      <p:sp>
        <p:nvSpPr>
          <p:cNvPr id="69" name="TextBox 68"/>
          <p:cNvSpPr txBox="1"/>
          <p:nvPr/>
        </p:nvSpPr>
        <p:spPr>
          <a:xfrm>
            <a:off x="6559240" y="5517024"/>
            <a:ext cx="723275" cy="523220"/>
          </a:xfrm>
          <a:prstGeom prst="rect">
            <a:avLst/>
          </a:prstGeom>
          <a:noFill/>
          <a:scene3d>
            <a:camera prst="orthographicFront">
              <a:rot lat="19560000" lon="19800000" rev="1560000"/>
            </a:camera>
            <a:lightRig rig="threePt" dir="t"/>
          </a:scene3d>
        </p:spPr>
        <p:txBody>
          <a:bodyPr wrap="none" rtlCol="0">
            <a:spAutoFit/>
          </a:bodyPr>
          <a:lstStyle>
            <a:defPPr>
              <a:defRPr lang="th-TH"/>
            </a:defPPr>
            <a:lvl1pPr>
              <a:defRPr>
                <a:solidFill>
                  <a:schemeClr val="tx2">
                    <a:lumMod val="75000"/>
                  </a:schemeClr>
                </a:solidFill>
              </a:defRPr>
            </a:lvl1pPr>
          </a:lstStyle>
          <a:p>
            <a:r>
              <a:rPr lang="th-TH" dirty="0">
                <a:solidFill>
                  <a:srgbClr val="1F497D">
                    <a:lumMod val="75000"/>
                  </a:srgbClr>
                </a:solidFill>
              </a:rPr>
              <a:t>คุ้มค่า</a:t>
            </a:r>
          </a:p>
        </p:txBody>
      </p:sp>
      <p:sp>
        <p:nvSpPr>
          <p:cNvPr id="70" name="TextBox 69"/>
          <p:cNvSpPr txBox="1"/>
          <p:nvPr/>
        </p:nvSpPr>
        <p:spPr>
          <a:xfrm>
            <a:off x="2142345" y="4466367"/>
            <a:ext cx="909223" cy="523220"/>
          </a:xfrm>
          <a:prstGeom prst="rect">
            <a:avLst/>
          </a:prstGeom>
          <a:noFill/>
          <a:scene3d>
            <a:camera prst="orthographicFront">
              <a:rot lat="19560000" lon="19800000" rev="1560000"/>
            </a:camera>
            <a:lightRig rig="threePt" dir="t"/>
          </a:scene3d>
        </p:spPr>
        <p:txBody>
          <a:bodyPr wrap="none" rtlCol="0">
            <a:spAutoFit/>
          </a:bodyPr>
          <a:lstStyle>
            <a:defPPr>
              <a:defRPr lang="th-TH"/>
            </a:defPPr>
            <a:lvl1pPr>
              <a:defRPr>
                <a:solidFill>
                  <a:schemeClr val="tx2">
                    <a:lumMod val="75000"/>
                  </a:schemeClr>
                </a:solidFill>
              </a:defRPr>
            </a:lvl1pPr>
          </a:lstStyle>
          <a:p>
            <a:r>
              <a:rPr lang="th-TH" dirty="0">
                <a:solidFill>
                  <a:srgbClr val="1F497D">
                    <a:lumMod val="75000"/>
                  </a:srgbClr>
                </a:solidFill>
              </a:rPr>
              <a:t>ยืดหยุ่น</a:t>
            </a:r>
          </a:p>
        </p:txBody>
      </p:sp>
      <p:sp>
        <p:nvSpPr>
          <p:cNvPr id="71" name="TextBox 70"/>
          <p:cNvSpPr txBox="1"/>
          <p:nvPr/>
        </p:nvSpPr>
        <p:spPr>
          <a:xfrm>
            <a:off x="2672475" y="6000745"/>
            <a:ext cx="1473480" cy="523220"/>
          </a:xfrm>
          <a:prstGeom prst="rect">
            <a:avLst/>
          </a:prstGeom>
          <a:noFill/>
          <a:scene3d>
            <a:camera prst="orthographicFront">
              <a:rot lat="19560000" lon="19800000" rev="1560000"/>
            </a:camera>
            <a:lightRig rig="threePt" dir="t"/>
          </a:scene3d>
        </p:spPr>
        <p:txBody>
          <a:bodyPr wrap="none" rtlCol="0">
            <a:spAutoFit/>
          </a:bodyPr>
          <a:lstStyle>
            <a:defPPr>
              <a:defRPr lang="th-TH"/>
            </a:defPPr>
            <a:lvl1pPr>
              <a:defRPr>
                <a:solidFill>
                  <a:schemeClr val="tx2">
                    <a:lumMod val="75000"/>
                  </a:schemeClr>
                </a:solidFill>
              </a:defRPr>
            </a:lvl1pPr>
          </a:lstStyle>
          <a:p>
            <a:r>
              <a:rPr lang="th-TH" dirty="0">
                <a:solidFill>
                  <a:srgbClr val="1F497D">
                    <a:lumMod val="75000"/>
                  </a:srgbClr>
                </a:solidFill>
              </a:rPr>
              <a:t>ประสิทธิภาพ</a:t>
            </a:r>
          </a:p>
        </p:txBody>
      </p:sp>
      <p:sp>
        <p:nvSpPr>
          <p:cNvPr id="76" name="TextBox 75"/>
          <p:cNvSpPr txBox="1"/>
          <p:nvPr/>
        </p:nvSpPr>
        <p:spPr>
          <a:xfrm>
            <a:off x="3023703" y="2735631"/>
            <a:ext cx="1215397" cy="523220"/>
          </a:xfrm>
          <a:prstGeom prst="rect">
            <a:avLst/>
          </a:prstGeom>
          <a:noFill/>
          <a:scene3d>
            <a:camera prst="orthographicFront">
              <a:rot lat="19560000" lon="19800000" rev="1560000"/>
            </a:camera>
            <a:lightRig rig="threePt" dir="t"/>
          </a:scene3d>
        </p:spPr>
        <p:txBody>
          <a:bodyPr wrap="none" rtlCol="0">
            <a:spAutoFit/>
          </a:bodyPr>
          <a:lstStyle>
            <a:defPPr>
              <a:defRPr lang="th-TH"/>
            </a:defPPr>
            <a:lvl1pPr>
              <a:defRPr>
                <a:solidFill>
                  <a:schemeClr val="tx2">
                    <a:lumMod val="75000"/>
                  </a:schemeClr>
                </a:solidFill>
              </a:defRPr>
            </a:lvl1pPr>
          </a:lstStyle>
          <a:p>
            <a:r>
              <a:rPr lang="th-TH" dirty="0">
                <a:solidFill>
                  <a:srgbClr val="1F497D">
                    <a:lumMod val="75000"/>
                  </a:srgbClr>
                </a:solidFill>
              </a:rPr>
              <a:t>สัมฤทธิผล</a:t>
            </a:r>
          </a:p>
        </p:txBody>
      </p:sp>
      <p:sp>
        <p:nvSpPr>
          <p:cNvPr id="81" name="TextBox 80"/>
          <p:cNvSpPr txBox="1"/>
          <p:nvPr/>
        </p:nvSpPr>
        <p:spPr>
          <a:xfrm>
            <a:off x="4407298" y="2444794"/>
            <a:ext cx="1787669" cy="523220"/>
          </a:xfrm>
          <a:prstGeom prst="rect">
            <a:avLst/>
          </a:prstGeom>
          <a:noFill/>
          <a:scene3d>
            <a:camera prst="orthographicFront">
              <a:rot lat="19560000" lon="19800000" rev="1560000"/>
            </a:camera>
            <a:lightRig rig="threePt" dir="t"/>
          </a:scene3d>
        </p:spPr>
        <p:txBody>
          <a:bodyPr wrap="none" rtlCol="0">
            <a:spAutoFit/>
          </a:bodyPr>
          <a:lstStyle/>
          <a:p>
            <a:r>
              <a:rPr lang="th-TH" dirty="0" smtClean="0">
                <a:solidFill>
                  <a:srgbClr val="1F497D">
                    <a:lumMod val="75000"/>
                  </a:srgbClr>
                </a:solidFill>
              </a:rPr>
              <a:t>ก่อเกิดประโยชน์</a:t>
            </a:r>
            <a:endParaRPr lang="th-TH" dirty="0">
              <a:solidFill>
                <a:srgbClr val="1F497D">
                  <a:lumMod val="75000"/>
                </a:srgbClr>
              </a:solidFill>
            </a:endParaRPr>
          </a:p>
        </p:txBody>
      </p:sp>
      <p:sp>
        <p:nvSpPr>
          <p:cNvPr id="82" name="TextBox 81"/>
          <p:cNvSpPr txBox="1"/>
          <p:nvPr/>
        </p:nvSpPr>
        <p:spPr>
          <a:xfrm>
            <a:off x="5466836" y="3994438"/>
            <a:ext cx="1292341" cy="523220"/>
          </a:xfrm>
          <a:prstGeom prst="rect">
            <a:avLst/>
          </a:prstGeom>
          <a:noFill/>
          <a:scene3d>
            <a:camera prst="orthographicFront">
              <a:rot lat="19560000" lon="19800000" rev="1560000"/>
            </a:camera>
            <a:lightRig rig="threePt" dir="t"/>
          </a:scene3d>
        </p:spPr>
        <p:txBody>
          <a:bodyPr wrap="none" rtlCol="0">
            <a:spAutoFit/>
          </a:bodyPr>
          <a:lstStyle>
            <a:defPPr>
              <a:defRPr lang="th-TH"/>
            </a:defPPr>
            <a:lvl1pPr>
              <a:defRPr>
                <a:solidFill>
                  <a:schemeClr val="tx2">
                    <a:lumMod val="75000"/>
                  </a:schemeClr>
                </a:solidFill>
              </a:defRPr>
            </a:lvl1pPr>
          </a:lstStyle>
          <a:p>
            <a:r>
              <a:rPr lang="th-TH" dirty="0">
                <a:solidFill>
                  <a:srgbClr val="1F497D">
                    <a:lumMod val="75000"/>
                  </a:srgbClr>
                </a:solidFill>
              </a:rPr>
              <a:t>ใช้ตัดสินใจ</a:t>
            </a:r>
          </a:p>
        </p:txBody>
      </p:sp>
      <p:sp>
        <p:nvSpPr>
          <p:cNvPr id="83" name="TextBox 82"/>
          <p:cNvSpPr txBox="1"/>
          <p:nvPr/>
        </p:nvSpPr>
        <p:spPr>
          <a:xfrm>
            <a:off x="4321078" y="5823948"/>
            <a:ext cx="1645002" cy="523220"/>
          </a:xfrm>
          <a:prstGeom prst="rect">
            <a:avLst/>
          </a:prstGeom>
          <a:noFill/>
          <a:scene3d>
            <a:camera prst="orthographicFront">
              <a:rot lat="19560000" lon="19800000" rev="1560000"/>
            </a:camera>
            <a:lightRig rig="threePt" dir="t"/>
          </a:scene3d>
        </p:spPr>
        <p:txBody>
          <a:bodyPr wrap="none" rtlCol="0">
            <a:spAutoFit/>
          </a:bodyPr>
          <a:lstStyle>
            <a:defPPr>
              <a:defRPr lang="th-TH"/>
            </a:defPPr>
            <a:lvl1pPr>
              <a:defRPr>
                <a:solidFill>
                  <a:schemeClr val="tx2">
                    <a:lumMod val="75000"/>
                  </a:schemeClr>
                </a:solidFill>
              </a:defRPr>
            </a:lvl1pPr>
          </a:lstStyle>
          <a:p>
            <a:r>
              <a:rPr lang="th-TH" dirty="0">
                <a:solidFill>
                  <a:srgbClr val="1F497D">
                    <a:lumMod val="75000"/>
                  </a:srgbClr>
                </a:solidFill>
              </a:rPr>
              <a:t>บทเรียนองค์กร</a:t>
            </a:r>
          </a:p>
        </p:txBody>
      </p:sp>
      <p:sp>
        <p:nvSpPr>
          <p:cNvPr id="110" name="TextBox 109"/>
          <p:cNvSpPr txBox="1"/>
          <p:nvPr/>
        </p:nvSpPr>
        <p:spPr>
          <a:xfrm>
            <a:off x="3588498" y="4165963"/>
            <a:ext cx="1532792" cy="523220"/>
          </a:xfrm>
          <a:prstGeom prst="rect">
            <a:avLst/>
          </a:prstGeom>
          <a:noFill/>
          <a:scene3d>
            <a:camera prst="orthographicFront">
              <a:rot lat="19560000" lon="19800000" rev="1560000"/>
            </a:camera>
            <a:lightRig rig="threePt" dir="t"/>
          </a:scene3d>
        </p:spPr>
        <p:txBody>
          <a:bodyPr wrap="none" rtlCol="0">
            <a:spAutoFit/>
          </a:bodyPr>
          <a:lstStyle>
            <a:defPPr>
              <a:defRPr lang="th-TH"/>
            </a:defPPr>
            <a:lvl1pPr>
              <a:defRPr>
                <a:solidFill>
                  <a:schemeClr val="tx2">
                    <a:lumMod val="75000"/>
                  </a:schemeClr>
                </a:solidFill>
              </a:defRPr>
            </a:lvl1pPr>
          </a:lstStyle>
          <a:p>
            <a:r>
              <a:rPr lang="th-TH" dirty="0">
                <a:solidFill>
                  <a:srgbClr val="1F497D">
                    <a:lumMod val="75000"/>
                  </a:srgbClr>
                </a:solidFill>
              </a:rPr>
              <a:t>ค่านิยมองค์กร</a:t>
            </a:r>
          </a:p>
        </p:txBody>
      </p:sp>
      <p:sp>
        <p:nvSpPr>
          <p:cNvPr id="4" name="Rectangle 3"/>
          <p:cNvSpPr/>
          <p:nvPr/>
        </p:nvSpPr>
        <p:spPr>
          <a:xfrm rot="20931022">
            <a:off x="902207" y="2288046"/>
            <a:ext cx="1313180" cy="480131"/>
          </a:xfrm>
          <a:prstGeom prst="rect">
            <a:avLst/>
          </a:prstGeom>
        </p:spPr>
        <p:txBody>
          <a:bodyPr wrap="none">
            <a:spAutoFit/>
          </a:bodyPr>
          <a:lstStyle/>
          <a:p>
            <a:pPr algn="ctr" defTabSz="889000">
              <a:lnSpc>
                <a:spcPct val="90000"/>
              </a:lnSpc>
              <a:spcAft>
                <a:spcPct val="35000"/>
              </a:spcAft>
              <a:defRPr/>
            </a:pPr>
            <a:r>
              <a:rPr lang="th-TH" dirty="0">
                <a:solidFill>
                  <a:prstClr val="white"/>
                </a:solidFill>
                <a:effectLst>
                  <a:outerShdw blurRad="38100" dist="38100" dir="2700000" algn="tl">
                    <a:srgbClr val="000000">
                      <a:alpha val="43137"/>
                    </a:srgbClr>
                  </a:outerShdw>
                </a:effectLst>
                <a:latin typeface="BrowalliaUPC" pitchFamily="34" charset="-34"/>
                <a:cs typeface="BrowalliaUPC" pitchFamily="34" charset="-34"/>
              </a:rPr>
              <a:t>ยุทธศาสตร์</a:t>
            </a:r>
          </a:p>
        </p:txBody>
      </p:sp>
      <p:grpSp>
        <p:nvGrpSpPr>
          <p:cNvPr id="7" name="Group 6"/>
          <p:cNvGrpSpPr/>
          <p:nvPr/>
        </p:nvGrpSpPr>
        <p:grpSpPr>
          <a:xfrm>
            <a:off x="5498808" y="3273029"/>
            <a:ext cx="513966" cy="558296"/>
            <a:chOff x="8518358" y="3801979"/>
            <a:chExt cx="513966" cy="558296"/>
          </a:xfrm>
          <a:scene3d>
            <a:camera prst="orthographicFront">
              <a:rot lat="19560000" lon="19740000" rev="1560000"/>
            </a:camera>
            <a:lightRig rig="threePt" dir="t"/>
          </a:scene3d>
        </p:grpSpPr>
        <p:sp>
          <p:nvSpPr>
            <p:cNvPr id="5" name="Oval 4"/>
            <p:cNvSpPr/>
            <p:nvPr/>
          </p:nvSpPr>
          <p:spPr>
            <a:xfrm>
              <a:off x="8518358" y="3801979"/>
              <a:ext cx="513966" cy="513966"/>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dirty="0">
                <a:solidFill>
                  <a:prstClr val="white"/>
                </a:solidFill>
                <a:latin typeface="Arial Black" panose="020B0A04020102020204" pitchFamily="34" charset="0"/>
              </a:endParaRPr>
            </a:p>
          </p:txBody>
        </p:sp>
        <p:sp>
          <p:nvSpPr>
            <p:cNvPr id="6" name="Rectangle 5"/>
            <p:cNvSpPr/>
            <p:nvPr/>
          </p:nvSpPr>
          <p:spPr>
            <a:xfrm>
              <a:off x="8577676" y="3837055"/>
              <a:ext cx="404277" cy="523220"/>
            </a:xfrm>
            <a:prstGeom prst="rect">
              <a:avLst/>
            </a:prstGeom>
          </p:spPr>
          <p:txBody>
            <a:bodyPr wrap="none">
              <a:spAutoFit/>
            </a:bodyPr>
            <a:lstStyle/>
            <a:p>
              <a:pPr algn="ctr"/>
              <a:r>
                <a:rPr lang="en-US" dirty="0">
                  <a:solidFill>
                    <a:prstClr val="white"/>
                  </a:solidFill>
                  <a:latin typeface="Arial Black" panose="020B0A04020102020204" pitchFamily="34" charset="0"/>
                </a:rPr>
                <a:t>?</a:t>
              </a:r>
              <a:endParaRPr lang="th-TH" dirty="0">
                <a:solidFill>
                  <a:prstClr val="white"/>
                </a:solidFill>
                <a:latin typeface="Arial Black" panose="020B0A04020102020204" pitchFamily="34" charset="0"/>
              </a:endParaRPr>
            </a:p>
          </p:txBody>
        </p:sp>
      </p:grpSp>
      <p:grpSp>
        <p:nvGrpSpPr>
          <p:cNvPr id="84" name="Group 83"/>
          <p:cNvGrpSpPr/>
          <p:nvPr/>
        </p:nvGrpSpPr>
        <p:grpSpPr>
          <a:xfrm>
            <a:off x="4555196" y="5014147"/>
            <a:ext cx="513966" cy="558296"/>
            <a:chOff x="8518358" y="3801979"/>
            <a:chExt cx="513966" cy="558296"/>
          </a:xfrm>
          <a:scene3d>
            <a:camera prst="orthographicFront">
              <a:rot lat="19560000" lon="19740000" rev="1560000"/>
            </a:camera>
            <a:lightRig rig="threePt" dir="t"/>
          </a:scene3d>
        </p:grpSpPr>
        <p:sp>
          <p:nvSpPr>
            <p:cNvPr id="111" name="Oval 110"/>
            <p:cNvSpPr/>
            <p:nvPr/>
          </p:nvSpPr>
          <p:spPr>
            <a:xfrm>
              <a:off x="8518358" y="3801979"/>
              <a:ext cx="513966" cy="513966"/>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dirty="0">
                <a:solidFill>
                  <a:prstClr val="white"/>
                </a:solidFill>
                <a:latin typeface="Arial Black" panose="020B0A04020102020204" pitchFamily="34" charset="0"/>
              </a:endParaRPr>
            </a:p>
          </p:txBody>
        </p:sp>
        <p:sp>
          <p:nvSpPr>
            <p:cNvPr id="112" name="Rectangle 111"/>
            <p:cNvSpPr/>
            <p:nvPr/>
          </p:nvSpPr>
          <p:spPr>
            <a:xfrm>
              <a:off x="8577676" y="3837055"/>
              <a:ext cx="404277" cy="523220"/>
            </a:xfrm>
            <a:prstGeom prst="rect">
              <a:avLst/>
            </a:prstGeom>
          </p:spPr>
          <p:txBody>
            <a:bodyPr wrap="none">
              <a:spAutoFit/>
            </a:bodyPr>
            <a:lstStyle/>
            <a:p>
              <a:pPr algn="ctr"/>
              <a:r>
                <a:rPr lang="en-US" dirty="0">
                  <a:solidFill>
                    <a:prstClr val="white"/>
                  </a:solidFill>
                  <a:latin typeface="Arial Black" panose="020B0A04020102020204" pitchFamily="34" charset="0"/>
                </a:rPr>
                <a:t>?</a:t>
              </a:r>
              <a:endParaRPr lang="th-TH" dirty="0">
                <a:solidFill>
                  <a:prstClr val="white"/>
                </a:solidFill>
                <a:latin typeface="Arial Black" panose="020B0A04020102020204" pitchFamily="34" charset="0"/>
              </a:endParaRPr>
            </a:p>
          </p:txBody>
        </p:sp>
      </p:grpSp>
      <p:grpSp>
        <p:nvGrpSpPr>
          <p:cNvPr id="86" name="Group 25"/>
          <p:cNvGrpSpPr/>
          <p:nvPr/>
        </p:nvGrpSpPr>
        <p:grpSpPr>
          <a:xfrm>
            <a:off x="4152542" y="4572824"/>
            <a:ext cx="1337363" cy="1337364"/>
            <a:chOff x="2488348" y="2930101"/>
            <a:chExt cx="1119303" cy="1119303"/>
          </a:xfrm>
          <a:effectLst>
            <a:glow rad="228600">
              <a:schemeClr val="accent2">
                <a:satMod val="175000"/>
                <a:alpha val="40000"/>
              </a:schemeClr>
            </a:glow>
          </a:effectLst>
          <a:scene3d>
            <a:camera prst="orthographicFront">
              <a:rot lat="19584211" lon="19752261" rev="1595378"/>
            </a:camera>
            <a:lightRig rig="threePt" dir="t"/>
          </a:scene3d>
        </p:grpSpPr>
        <p:sp>
          <p:nvSpPr>
            <p:cNvPr id="87" name="Oval 86"/>
            <p:cNvSpPr/>
            <p:nvPr/>
          </p:nvSpPr>
          <p:spPr>
            <a:xfrm>
              <a:off x="2488348" y="2930101"/>
              <a:ext cx="1119303" cy="1119303"/>
            </a:xfrm>
            <a:prstGeom prst="ellipse">
              <a:avLst/>
            </a:prstGeom>
            <a:solidFill>
              <a:schemeClr val="accent2">
                <a:lumMod val="75000"/>
              </a:schemeClr>
            </a:solidFill>
            <a:sp3d extrusionH="152250" prstMaterial="matte">
              <a:bevelT w="165100" prst="coolSlant"/>
            </a:sp3d>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sp>
        <p:sp>
          <p:nvSpPr>
            <p:cNvPr id="88" name="Oval 16"/>
            <p:cNvSpPr/>
            <p:nvPr/>
          </p:nvSpPr>
          <p:spPr>
            <a:xfrm>
              <a:off x="2652266" y="3094019"/>
              <a:ext cx="791467" cy="791467"/>
            </a:xfrm>
            <a:prstGeom prst="rect">
              <a:avLst/>
            </a:prstGeom>
            <a:sp3d/>
          </p:spPr>
          <p:style>
            <a:lnRef idx="0">
              <a:scrgbClr r="0" g="0" b="0"/>
            </a:lnRef>
            <a:fillRef idx="0">
              <a:scrgbClr r="0" g="0" b="0"/>
            </a:fillRef>
            <a:effectRef idx="0">
              <a:scrgbClr r="0" g="0" b="0"/>
            </a:effectRef>
            <a:fontRef idx="minor">
              <a:schemeClr val="lt1"/>
            </a:fontRef>
          </p:style>
          <p:txBody>
            <a:bodyPr wrap="none" lIns="12700" tIns="12700" rIns="12700" bIns="12700" spcCol="1270" anchor="ctr">
              <a:sp3d extrusionH="28000" prstMaterial="matte"/>
            </a:bodyPr>
            <a:lstStyle/>
            <a:p>
              <a:pPr defTabSz="889000">
                <a:lnSpc>
                  <a:spcPct val="90000"/>
                </a:lnSpc>
                <a:spcAft>
                  <a:spcPct val="35000"/>
                </a:spcAft>
                <a:defRPr/>
              </a:pPr>
              <a:r>
                <a:rPr lang="th-TH" sz="3600" dirty="0">
                  <a:solidFill>
                    <a:prstClr val="white"/>
                  </a:solidFill>
                  <a:effectLst>
                    <a:outerShdw blurRad="38100" dist="38100" dir="2700000" algn="tl">
                      <a:srgbClr val="000000">
                        <a:alpha val="43137"/>
                      </a:srgbClr>
                    </a:outerShdw>
                  </a:effectLst>
                  <a:latin typeface="BrowalliaUPC" pitchFamily="34" charset="-34"/>
                  <a:cs typeface="BrowalliaUPC" pitchFamily="34" charset="-34"/>
                </a:rPr>
                <a:t>ความรู้</a:t>
              </a:r>
            </a:p>
          </p:txBody>
        </p:sp>
      </p:grpSp>
      <p:grpSp>
        <p:nvGrpSpPr>
          <p:cNvPr id="101" name="Group 23"/>
          <p:cNvGrpSpPr/>
          <p:nvPr/>
        </p:nvGrpSpPr>
        <p:grpSpPr>
          <a:xfrm>
            <a:off x="5059854" y="2823628"/>
            <a:ext cx="1337363" cy="1337364"/>
            <a:chOff x="3946101" y="1472348"/>
            <a:chExt cx="1119303" cy="1119303"/>
          </a:xfrm>
          <a:scene3d>
            <a:camera prst="orthographicFront">
              <a:rot lat="19584211" lon="19752261" rev="1595378"/>
            </a:camera>
            <a:lightRig rig="threePt" dir="t"/>
          </a:scene3d>
        </p:grpSpPr>
        <p:sp>
          <p:nvSpPr>
            <p:cNvPr id="102" name="Oval 101"/>
            <p:cNvSpPr/>
            <p:nvPr/>
          </p:nvSpPr>
          <p:spPr>
            <a:xfrm>
              <a:off x="3946101" y="1472348"/>
              <a:ext cx="1119303" cy="1119303"/>
            </a:xfrm>
            <a:prstGeom prst="ellipse">
              <a:avLst/>
            </a:prstGeom>
            <a:solidFill>
              <a:schemeClr val="accent6">
                <a:lumMod val="60000"/>
                <a:lumOff val="40000"/>
              </a:schemeClr>
            </a:solidFill>
            <a:sp3d extrusionH="152250" prstMaterial="matte">
              <a:bevelT w="165100" prst="coolSlant"/>
            </a:sp3d>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103" name="Oval 12"/>
            <p:cNvSpPr/>
            <p:nvPr/>
          </p:nvSpPr>
          <p:spPr>
            <a:xfrm>
              <a:off x="4110019" y="1636266"/>
              <a:ext cx="791467" cy="791467"/>
            </a:xfrm>
            <a:prstGeom prst="rect">
              <a:avLst/>
            </a:prstGeom>
            <a:sp3d/>
          </p:spPr>
          <p:style>
            <a:lnRef idx="0">
              <a:scrgbClr r="0" g="0" b="0"/>
            </a:lnRef>
            <a:fillRef idx="0">
              <a:scrgbClr r="0" g="0" b="0"/>
            </a:fillRef>
            <a:effectRef idx="0">
              <a:scrgbClr r="0" g="0" b="0"/>
            </a:effectRef>
            <a:fontRef idx="minor">
              <a:schemeClr val="lt1"/>
            </a:fontRef>
          </p:style>
          <p:txBody>
            <a:bodyPr wrap="none" lIns="12700" tIns="12700" rIns="12700" bIns="12700" spcCol="1270" anchor="ctr">
              <a:sp3d extrusionH="28000" prstMaterial="matte"/>
            </a:bodyPr>
            <a:lstStyle/>
            <a:p>
              <a:pPr algn="ctr" defTabSz="889000">
                <a:lnSpc>
                  <a:spcPct val="90000"/>
                </a:lnSpc>
                <a:spcAft>
                  <a:spcPct val="35000"/>
                </a:spcAft>
                <a:defRPr/>
              </a:pPr>
              <a:r>
                <a:rPr lang="th-TH" sz="3200" dirty="0">
                  <a:solidFill>
                    <a:prstClr val="white"/>
                  </a:solidFill>
                  <a:effectLst>
                    <a:outerShdw blurRad="38100" dist="38100" dir="2700000" algn="tl">
                      <a:srgbClr val="000000">
                        <a:alpha val="43137"/>
                      </a:srgbClr>
                    </a:outerShdw>
                  </a:effectLst>
                  <a:latin typeface="BrowalliaUPC" pitchFamily="34" charset="-34"/>
                  <a:cs typeface="BrowalliaUPC" pitchFamily="34" charset="-34"/>
                </a:rPr>
                <a:t>สารสนเทศ</a:t>
              </a:r>
            </a:p>
          </p:txBody>
        </p:sp>
      </p:grpSp>
      <p:sp>
        <p:nvSpPr>
          <p:cNvPr id="114" name="Slide Number Placeholder 5"/>
          <p:cNvSpPr>
            <a:spLocks noGrp="1"/>
          </p:cNvSpPr>
          <p:nvPr>
            <p:ph type="sldNum" sz="quarter" idx="4"/>
          </p:nvPr>
        </p:nvSpPr>
        <p:spPr>
          <a:xfrm>
            <a:off x="8787337" y="4581128"/>
            <a:ext cx="430893" cy="365125"/>
          </a:xfrm>
        </p:spPr>
        <p:txBody>
          <a:bodyPr/>
          <a:lstStyle/>
          <a:p>
            <a:pPr fontAlgn="auto">
              <a:spcBef>
                <a:spcPts val="0"/>
              </a:spcBef>
              <a:spcAft>
                <a:spcPts val="0"/>
              </a:spcAft>
            </a:pPr>
            <a:r>
              <a:rPr lang="en-US" b="0" dirty="0" smtClean="0">
                <a:solidFill>
                  <a:prstClr val="black">
                    <a:tint val="75000"/>
                  </a:prstClr>
                </a:solidFill>
              </a:rPr>
              <a:t>5</a:t>
            </a:r>
            <a:endParaRPr lang="th-TH" b="0" dirty="0">
              <a:solidFill>
                <a:prstClr val="black">
                  <a:tint val="75000"/>
                </a:prstClr>
              </a:solidFill>
            </a:endParaRPr>
          </a:p>
        </p:txBody>
      </p:sp>
    </p:spTree>
    <p:extLst>
      <p:ext uri="{BB962C8B-B14F-4D97-AF65-F5344CB8AC3E}">
        <p14:creationId xmlns:p14="http://schemas.microsoft.com/office/powerpoint/2010/main" val="3338623807"/>
      </p:ext>
    </p:extLst>
  </p:cSld>
  <p:clrMapOvr>
    <a:masterClrMapping/>
  </p:clrMapOvr>
  <p:transition advClick="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2"/>
                                        </p:tgtEl>
                                      </p:cBhvr>
                                    </p:animEffect>
                                    <p:set>
                                      <p:cBhvr>
                                        <p:cTn id="7" dur="1" fill="hold">
                                          <p:stCondLst>
                                            <p:cond delay="499"/>
                                          </p:stCondLst>
                                        </p:cTn>
                                        <p:tgtEl>
                                          <p:spTgt spid="2"/>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64"/>
                                        </p:tgtEl>
                                        <p:attrNameLst>
                                          <p:attrName>style.visibility</p:attrName>
                                        </p:attrNameLst>
                                      </p:cBhvr>
                                      <p:to>
                                        <p:strVal val="visible"/>
                                      </p:to>
                                    </p:set>
                                    <p:animEffect transition="in" filter="fade">
                                      <p:cBhvr>
                                        <p:cTn id="10" dur="500"/>
                                        <p:tgtEl>
                                          <p:spTgt spid="64"/>
                                        </p:tgtEl>
                                      </p:cBhvr>
                                    </p:animEffect>
                                  </p:childTnLst>
                                </p:cTn>
                              </p:par>
                            </p:childTnLst>
                          </p:cTn>
                        </p:par>
                      </p:childTnLst>
                    </p:cTn>
                  </p:par>
                  <p:par>
                    <p:cTn id="11" fill="hold">
                      <p:stCondLst>
                        <p:cond delay="indefinite"/>
                      </p:stCondLst>
                      <p:childTnLst>
                        <p:par>
                          <p:cTn id="12" fill="hold">
                            <p:stCondLst>
                              <p:cond delay="0"/>
                            </p:stCondLst>
                            <p:childTnLst>
                              <p:par>
                                <p:cTn id="13" presetID="6" presetClass="entr" presetSubtype="32" fill="hold" nodeType="clickEffect">
                                  <p:stCondLst>
                                    <p:cond delay="0"/>
                                  </p:stCondLst>
                                  <p:childTnLst>
                                    <p:set>
                                      <p:cBhvr>
                                        <p:cTn id="14" dur="1" fill="hold">
                                          <p:stCondLst>
                                            <p:cond delay="0"/>
                                          </p:stCondLst>
                                        </p:cTn>
                                        <p:tgtEl>
                                          <p:spTgt spid="79"/>
                                        </p:tgtEl>
                                        <p:attrNameLst>
                                          <p:attrName>style.visibility</p:attrName>
                                        </p:attrNameLst>
                                      </p:cBhvr>
                                      <p:to>
                                        <p:strVal val="visible"/>
                                      </p:to>
                                    </p:set>
                                    <p:animEffect transition="in" filter="circle(out)">
                                      <p:cBhvr>
                                        <p:cTn id="15" dur="2000"/>
                                        <p:tgtEl>
                                          <p:spTgt spid="79"/>
                                        </p:tgtEl>
                                      </p:cBhvr>
                                    </p:animEffect>
                                  </p:childTnLst>
                                </p:cTn>
                              </p:par>
                            </p:childTnLst>
                          </p:cTn>
                        </p:par>
                        <p:par>
                          <p:cTn id="16" fill="hold">
                            <p:stCondLst>
                              <p:cond delay="2000"/>
                            </p:stCondLst>
                            <p:childTnLst>
                              <p:par>
                                <p:cTn id="17" presetID="6" presetClass="entr" presetSubtype="32" fill="hold" nodeType="afterEffect">
                                  <p:stCondLst>
                                    <p:cond delay="0"/>
                                  </p:stCondLst>
                                  <p:childTnLst>
                                    <p:set>
                                      <p:cBhvr>
                                        <p:cTn id="18" dur="1" fill="hold">
                                          <p:stCondLst>
                                            <p:cond delay="0"/>
                                          </p:stCondLst>
                                        </p:cTn>
                                        <p:tgtEl>
                                          <p:spTgt spid="72"/>
                                        </p:tgtEl>
                                        <p:attrNameLst>
                                          <p:attrName>style.visibility</p:attrName>
                                        </p:attrNameLst>
                                      </p:cBhvr>
                                      <p:to>
                                        <p:strVal val="visible"/>
                                      </p:to>
                                    </p:set>
                                    <p:animEffect transition="in" filter="circle(out)">
                                      <p:cBhvr>
                                        <p:cTn id="19" dur="2000"/>
                                        <p:tgtEl>
                                          <p:spTgt spid="72"/>
                                        </p:tgtEl>
                                      </p:cBhvr>
                                    </p:animEffect>
                                  </p:childTnLst>
                                </p:cTn>
                              </p:par>
                            </p:childTnLst>
                          </p:cTn>
                        </p:par>
                        <p:par>
                          <p:cTn id="20" fill="hold">
                            <p:stCondLst>
                              <p:cond delay="4000"/>
                            </p:stCondLst>
                            <p:childTnLst>
                              <p:par>
                                <p:cTn id="21" presetID="22" presetClass="entr" presetSubtype="8" fill="hold" grpId="0"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wipe(left)">
                                      <p:cBhvr>
                                        <p:cTn id="23" dur="500"/>
                                        <p:tgtEl>
                                          <p:spTgt spid="4"/>
                                        </p:tgtEl>
                                      </p:cBhvr>
                                    </p:animEffect>
                                  </p:childTnLst>
                                </p:cTn>
                              </p:par>
                              <p:par>
                                <p:cTn id="24" presetID="10" presetClass="entr" presetSubtype="0" fill="hold" nodeType="withEffect">
                                  <p:stCondLst>
                                    <p:cond delay="0"/>
                                  </p:stCondLst>
                                  <p:childTnLst>
                                    <p:set>
                                      <p:cBhvr>
                                        <p:cTn id="25" dur="1" fill="hold">
                                          <p:stCondLst>
                                            <p:cond delay="0"/>
                                          </p:stCondLst>
                                        </p:cTn>
                                        <p:tgtEl>
                                          <p:spTgt spid="58"/>
                                        </p:tgtEl>
                                        <p:attrNameLst>
                                          <p:attrName>style.visibility</p:attrName>
                                        </p:attrNameLst>
                                      </p:cBhvr>
                                      <p:to>
                                        <p:strVal val="visible"/>
                                      </p:to>
                                    </p:set>
                                    <p:animEffect transition="in" filter="fade">
                                      <p:cBhvr>
                                        <p:cTn id="26" dur="2000"/>
                                        <p:tgtEl>
                                          <p:spTgt spid="58"/>
                                        </p:tgtEl>
                                      </p:cBhvr>
                                    </p:animEffect>
                                  </p:childTnLst>
                                </p:cTn>
                              </p:par>
                            </p:childTnLst>
                          </p:cTn>
                        </p:par>
                      </p:childTnLst>
                    </p:cTn>
                  </p:par>
                  <p:par>
                    <p:cTn id="27" fill="hold">
                      <p:stCondLst>
                        <p:cond delay="indefinite"/>
                      </p:stCondLst>
                      <p:childTnLst>
                        <p:par>
                          <p:cTn id="28" fill="hold">
                            <p:stCondLst>
                              <p:cond delay="0"/>
                            </p:stCondLst>
                            <p:childTnLst>
                              <p:par>
                                <p:cTn id="29" presetID="6" presetClass="entr" presetSubtype="32" fill="hold" nodeType="clickEffect">
                                  <p:stCondLst>
                                    <p:cond delay="0"/>
                                  </p:stCondLst>
                                  <p:childTnLst>
                                    <p:set>
                                      <p:cBhvr>
                                        <p:cTn id="30" dur="1" fill="hold">
                                          <p:stCondLst>
                                            <p:cond delay="0"/>
                                          </p:stCondLst>
                                        </p:cTn>
                                        <p:tgtEl>
                                          <p:spTgt spid="89"/>
                                        </p:tgtEl>
                                        <p:attrNameLst>
                                          <p:attrName>style.visibility</p:attrName>
                                        </p:attrNameLst>
                                      </p:cBhvr>
                                      <p:to>
                                        <p:strVal val="visible"/>
                                      </p:to>
                                    </p:set>
                                    <p:animEffect transition="in" filter="circle(out)">
                                      <p:cBhvr>
                                        <p:cTn id="31" dur="2000"/>
                                        <p:tgtEl>
                                          <p:spTgt spid="89"/>
                                        </p:tgtEl>
                                      </p:cBhvr>
                                    </p:animEffect>
                                  </p:childTnLst>
                                </p:cTn>
                              </p:par>
                            </p:childTnLst>
                          </p:cTn>
                        </p:par>
                        <p:par>
                          <p:cTn id="32" fill="hold">
                            <p:stCondLst>
                              <p:cond delay="2000"/>
                            </p:stCondLst>
                            <p:childTnLst>
                              <p:par>
                                <p:cTn id="33" presetID="6" presetClass="entr" presetSubtype="32" fill="hold" nodeType="afterEffect">
                                  <p:stCondLst>
                                    <p:cond delay="0"/>
                                  </p:stCondLst>
                                  <p:childTnLst>
                                    <p:set>
                                      <p:cBhvr>
                                        <p:cTn id="34" dur="1" fill="hold">
                                          <p:stCondLst>
                                            <p:cond delay="0"/>
                                          </p:stCondLst>
                                        </p:cTn>
                                        <p:tgtEl>
                                          <p:spTgt spid="92"/>
                                        </p:tgtEl>
                                        <p:attrNameLst>
                                          <p:attrName>style.visibility</p:attrName>
                                        </p:attrNameLst>
                                      </p:cBhvr>
                                      <p:to>
                                        <p:strVal val="visible"/>
                                      </p:to>
                                    </p:set>
                                    <p:animEffect transition="in" filter="circle(out)">
                                      <p:cBhvr>
                                        <p:cTn id="35" dur="2000"/>
                                        <p:tgtEl>
                                          <p:spTgt spid="92"/>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68"/>
                                        </p:tgtEl>
                                        <p:attrNameLst>
                                          <p:attrName>style.visibility</p:attrName>
                                        </p:attrNameLst>
                                      </p:cBhvr>
                                      <p:to>
                                        <p:strVal val="visible"/>
                                      </p:to>
                                    </p:set>
                                    <p:animEffect transition="in" filter="fade">
                                      <p:cBhvr>
                                        <p:cTn id="39" dur="2000"/>
                                        <p:tgtEl>
                                          <p:spTgt spid="68"/>
                                        </p:tgtEl>
                                      </p:cBhvr>
                                    </p:animEffect>
                                  </p:childTnLst>
                                </p:cTn>
                              </p:par>
                            </p:childTnLst>
                          </p:cTn>
                        </p:par>
                      </p:childTnLst>
                    </p:cTn>
                  </p:par>
                  <p:par>
                    <p:cTn id="40" fill="hold">
                      <p:stCondLst>
                        <p:cond delay="indefinite"/>
                      </p:stCondLst>
                      <p:childTnLst>
                        <p:par>
                          <p:cTn id="41" fill="hold">
                            <p:stCondLst>
                              <p:cond delay="0"/>
                            </p:stCondLst>
                            <p:childTnLst>
                              <p:par>
                                <p:cTn id="42" presetID="6" presetClass="entr" presetSubtype="32" fill="hold" nodeType="clickEffect">
                                  <p:stCondLst>
                                    <p:cond delay="0"/>
                                  </p:stCondLst>
                                  <p:childTnLst>
                                    <p:set>
                                      <p:cBhvr>
                                        <p:cTn id="43" dur="1" fill="hold">
                                          <p:stCondLst>
                                            <p:cond delay="0"/>
                                          </p:stCondLst>
                                        </p:cTn>
                                        <p:tgtEl>
                                          <p:spTgt spid="95"/>
                                        </p:tgtEl>
                                        <p:attrNameLst>
                                          <p:attrName>style.visibility</p:attrName>
                                        </p:attrNameLst>
                                      </p:cBhvr>
                                      <p:to>
                                        <p:strVal val="visible"/>
                                      </p:to>
                                    </p:set>
                                    <p:animEffect transition="in" filter="circle(out)">
                                      <p:cBhvr>
                                        <p:cTn id="44" dur="2000"/>
                                        <p:tgtEl>
                                          <p:spTgt spid="95"/>
                                        </p:tgtEl>
                                      </p:cBhvr>
                                    </p:animEffect>
                                  </p:childTnLst>
                                </p:cTn>
                              </p:par>
                            </p:childTnLst>
                          </p:cTn>
                        </p:par>
                      </p:childTnLst>
                    </p:cTn>
                  </p:par>
                  <p:par>
                    <p:cTn id="45" fill="hold">
                      <p:stCondLst>
                        <p:cond delay="indefinite"/>
                      </p:stCondLst>
                      <p:childTnLst>
                        <p:par>
                          <p:cTn id="46" fill="hold">
                            <p:stCondLst>
                              <p:cond delay="0"/>
                            </p:stCondLst>
                            <p:childTnLst>
                              <p:par>
                                <p:cTn id="47" presetID="6" presetClass="entr" presetSubtype="32" fill="hold" nodeType="clickEffect">
                                  <p:stCondLst>
                                    <p:cond delay="0"/>
                                  </p:stCondLst>
                                  <p:childTnLst>
                                    <p:set>
                                      <p:cBhvr>
                                        <p:cTn id="48" dur="1" fill="hold">
                                          <p:stCondLst>
                                            <p:cond delay="0"/>
                                          </p:stCondLst>
                                        </p:cTn>
                                        <p:tgtEl>
                                          <p:spTgt spid="75"/>
                                        </p:tgtEl>
                                        <p:attrNameLst>
                                          <p:attrName>style.visibility</p:attrName>
                                        </p:attrNameLst>
                                      </p:cBhvr>
                                      <p:to>
                                        <p:strVal val="visible"/>
                                      </p:to>
                                    </p:set>
                                    <p:animEffect transition="in" filter="circle(out)">
                                      <p:cBhvr>
                                        <p:cTn id="49" dur="2000"/>
                                        <p:tgtEl>
                                          <p:spTgt spid="75"/>
                                        </p:tgtEl>
                                      </p:cBhvr>
                                    </p:animEffect>
                                  </p:childTnLst>
                                </p:cTn>
                              </p:par>
                            </p:childTnLst>
                          </p:cTn>
                        </p:par>
                        <p:par>
                          <p:cTn id="50" fill="hold">
                            <p:stCondLst>
                              <p:cond delay="2000"/>
                            </p:stCondLst>
                            <p:childTnLst>
                              <p:par>
                                <p:cTn id="51" presetID="10" presetClass="entr" presetSubtype="0" fill="hold" nodeType="afterEffect">
                                  <p:stCondLst>
                                    <p:cond delay="0"/>
                                  </p:stCondLst>
                                  <p:childTnLst>
                                    <p:set>
                                      <p:cBhvr>
                                        <p:cTn id="52" dur="1" fill="hold">
                                          <p:stCondLst>
                                            <p:cond delay="0"/>
                                          </p:stCondLst>
                                        </p:cTn>
                                        <p:tgtEl>
                                          <p:spTgt spid="98"/>
                                        </p:tgtEl>
                                        <p:attrNameLst>
                                          <p:attrName>style.visibility</p:attrName>
                                        </p:attrNameLst>
                                      </p:cBhvr>
                                      <p:to>
                                        <p:strVal val="visible"/>
                                      </p:to>
                                    </p:set>
                                    <p:animEffect transition="in" filter="fade">
                                      <p:cBhvr>
                                        <p:cTn id="53" dur="2000"/>
                                        <p:tgtEl>
                                          <p:spTgt spid="98"/>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49"/>
                                        </p:tgtEl>
                                        <p:attrNameLst>
                                          <p:attrName>style.visibility</p:attrName>
                                        </p:attrNameLst>
                                      </p:cBhvr>
                                      <p:to>
                                        <p:strVal val="visible"/>
                                      </p:to>
                                    </p:set>
                                    <p:animEffect transition="in" filter="fade">
                                      <p:cBhvr>
                                        <p:cTn id="58" dur="2000"/>
                                        <p:tgtEl>
                                          <p:spTgt spid="49"/>
                                        </p:tgtEl>
                                      </p:cBhvr>
                                    </p:animEffect>
                                  </p:childTnLst>
                                </p:cTn>
                              </p:par>
                              <p:par>
                                <p:cTn id="59" presetID="10" presetClass="entr" presetSubtype="0" fill="hold" nodeType="withEffect">
                                  <p:stCondLst>
                                    <p:cond delay="0"/>
                                  </p:stCondLst>
                                  <p:childTnLst>
                                    <p:set>
                                      <p:cBhvr>
                                        <p:cTn id="60" dur="1" fill="hold">
                                          <p:stCondLst>
                                            <p:cond delay="0"/>
                                          </p:stCondLst>
                                        </p:cTn>
                                        <p:tgtEl>
                                          <p:spTgt spid="47"/>
                                        </p:tgtEl>
                                        <p:attrNameLst>
                                          <p:attrName>style.visibility</p:attrName>
                                        </p:attrNameLst>
                                      </p:cBhvr>
                                      <p:to>
                                        <p:strVal val="visible"/>
                                      </p:to>
                                    </p:set>
                                    <p:animEffect transition="in" filter="fade">
                                      <p:cBhvr>
                                        <p:cTn id="61" dur="2000"/>
                                        <p:tgtEl>
                                          <p:spTgt spid="47"/>
                                        </p:tgtEl>
                                      </p:cBhvr>
                                    </p:animEffect>
                                  </p:childTnLst>
                                </p:cTn>
                              </p:par>
                              <p:par>
                                <p:cTn id="62" presetID="10" presetClass="entr" presetSubtype="0" fill="hold" nodeType="withEffect">
                                  <p:stCondLst>
                                    <p:cond delay="0"/>
                                  </p:stCondLst>
                                  <p:childTnLst>
                                    <p:set>
                                      <p:cBhvr>
                                        <p:cTn id="63" dur="1" fill="hold">
                                          <p:stCondLst>
                                            <p:cond delay="0"/>
                                          </p:stCondLst>
                                        </p:cTn>
                                        <p:tgtEl>
                                          <p:spTgt spid="48"/>
                                        </p:tgtEl>
                                        <p:attrNameLst>
                                          <p:attrName>style.visibility</p:attrName>
                                        </p:attrNameLst>
                                      </p:cBhvr>
                                      <p:to>
                                        <p:strVal val="visible"/>
                                      </p:to>
                                    </p:set>
                                    <p:animEffect transition="in" filter="fade">
                                      <p:cBhvr>
                                        <p:cTn id="64" dur="2000"/>
                                        <p:tgtEl>
                                          <p:spTgt spid="48"/>
                                        </p:tgtEl>
                                      </p:cBhvr>
                                    </p:animEffect>
                                  </p:childTnLst>
                                </p:cTn>
                              </p:par>
                              <p:par>
                                <p:cTn id="65" presetID="10" presetClass="entr" presetSubtype="0" fill="hold" nodeType="withEffect">
                                  <p:stCondLst>
                                    <p:cond delay="0"/>
                                  </p:stCondLst>
                                  <p:childTnLst>
                                    <p:set>
                                      <p:cBhvr>
                                        <p:cTn id="66" dur="1" fill="hold">
                                          <p:stCondLst>
                                            <p:cond delay="0"/>
                                          </p:stCondLst>
                                        </p:cTn>
                                        <p:tgtEl>
                                          <p:spTgt spid="50"/>
                                        </p:tgtEl>
                                        <p:attrNameLst>
                                          <p:attrName>style.visibility</p:attrName>
                                        </p:attrNameLst>
                                      </p:cBhvr>
                                      <p:to>
                                        <p:strVal val="visible"/>
                                      </p:to>
                                    </p:set>
                                    <p:animEffect transition="in" filter="fade">
                                      <p:cBhvr>
                                        <p:cTn id="67" dur="2000"/>
                                        <p:tgtEl>
                                          <p:spTgt spid="50"/>
                                        </p:tgtEl>
                                      </p:cBhvr>
                                    </p:animEffect>
                                  </p:childTnLst>
                                </p:cTn>
                              </p:par>
                              <p:par>
                                <p:cTn id="68" presetID="10" presetClass="entr" presetSubtype="0" fill="hold" nodeType="withEffect">
                                  <p:stCondLst>
                                    <p:cond delay="0"/>
                                  </p:stCondLst>
                                  <p:childTnLst>
                                    <p:set>
                                      <p:cBhvr>
                                        <p:cTn id="69" dur="1" fill="hold">
                                          <p:stCondLst>
                                            <p:cond delay="0"/>
                                          </p:stCondLst>
                                        </p:cTn>
                                        <p:tgtEl>
                                          <p:spTgt spid="51"/>
                                        </p:tgtEl>
                                        <p:attrNameLst>
                                          <p:attrName>style.visibility</p:attrName>
                                        </p:attrNameLst>
                                      </p:cBhvr>
                                      <p:to>
                                        <p:strVal val="visible"/>
                                      </p:to>
                                    </p:set>
                                    <p:animEffect transition="in" filter="fade">
                                      <p:cBhvr>
                                        <p:cTn id="70" dur="2000"/>
                                        <p:tgtEl>
                                          <p:spTgt spid="51"/>
                                        </p:tgtEl>
                                      </p:cBhvr>
                                    </p:animEffect>
                                  </p:childTnLst>
                                </p:cTn>
                              </p:par>
                              <p:par>
                                <p:cTn id="71" presetID="10" presetClass="entr" presetSubtype="0" fill="hold" nodeType="withEffect">
                                  <p:stCondLst>
                                    <p:cond delay="0"/>
                                  </p:stCondLst>
                                  <p:childTnLst>
                                    <p:set>
                                      <p:cBhvr>
                                        <p:cTn id="72" dur="1" fill="hold">
                                          <p:stCondLst>
                                            <p:cond delay="0"/>
                                          </p:stCondLst>
                                        </p:cTn>
                                        <p:tgtEl>
                                          <p:spTgt spid="54"/>
                                        </p:tgtEl>
                                        <p:attrNameLst>
                                          <p:attrName>style.visibility</p:attrName>
                                        </p:attrNameLst>
                                      </p:cBhvr>
                                      <p:to>
                                        <p:strVal val="visible"/>
                                      </p:to>
                                    </p:set>
                                    <p:animEffect transition="in" filter="fade">
                                      <p:cBhvr>
                                        <p:cTn id="73" dur="2000"/>
                                        <p:tgtEl>
                                          <p:spTgt spid="54"/>
                                        </p:tgtEl>
                                      </p:cBhvr>
                                    </p:animEffect>
                                  </p:childTnLst>
                                </p:cTn>
                              </p:par>
                              <p:par>
                                <p:cTn id="74" presetID="10" presetClass="entr" presetSubtype="0" fill="hold" nodeType="withEffect">
                                  <p:stCondLst>
                                    <p:cond delay="0"/>
                                  </p:stCondLst>
                                  <p:childTnLst>
                                    <p:set>
                                      <p:cBhvr>
                                        <p:cTn id="75" dur="1" fill="hold">
                                          <p:stCondLst>
                                            <p:cond delay="0"/>
                                          </p:stCondLst>
                                        </p:cTn>
                                        <p:tgtEl>
                                          <p:spTgt spid="59"/>
                                        </p:tgtEl>
                                        <p:attrNameLst>
                                          <p:attrName>style.visibility</p:attrName>
                                        </p:attrNameLst>
                                      </p:cBhvr>
                                      <p:to>
                                        <p:strVal val="visible"/>
                                      </p:to>
                                    </p:set>
                                    <p:animEffect transition="in" filter="fade">
                                      <p:cBhvr>
                                        <p:cTn id="76" dur="2000"/>
                                        <p:tgtEl>
                                          <p:spTgt spid="59"/>
                                        </p:tgtEl>
                                      </p:cBhvr>
                                    </p:animEffect>
                                  </p:childTnLst>
                                </p:cTn>
                              </p:par>
                              <p:par>
                                <p:cTn id="77" presetID="10" presetClass="entr" presetSubtype="0" fill="hold" nodeType="withEffect">
                                  <p:stCondLst>
                                    <p:cond delay="0"/>
                                  </p:stCondLst>
                                  <p:childTnLst>
                                    <p:set>
                                      <p:cBhvr>
                                        <p:cTn id="78" dur="1" fill="hold">
                                          <p:stCondLst>
                                            <p:cond delay="0"/>
                                          </p:stCondLst>
                                        </p:cTn>
                                        <p:tgtEl>
                                          <p:spTgt spid="60"/>
                                        </p:tgtEl>
                                        <p:attrNameLst>
                                          <p:attrName>style.visibility</p:attrName>
                                        </p:attrNameLst>
                                      </p:cBhvr>
                                      <p:to>
                                        <p:strVal val="visible"/>
                                      </p:to>
                                    </p:set>
                                    <p:animEffect transition="in" filter="fade">
                                      <p:cBhvr>
                                        <p:cTn id="79" dur="2000"/>
                                        <p:tgtEl>
                                          <p:spTgt spid="60"/>
                                        </p:tgtEl>
                                      </p:cBhvr>
                                    </p:animEffect>
                                  </p:childTnLst>
                                </p:cTn>
                              </p:par>
                              <p:par>
                                <p:cTn id="80" presetID="10" presetClass="entr" presetSubtype="0" fill="hold" nodeType="withEffect">
                                  <p:stCondLst>
                                    <p:cond delay="0"/>
                                  </p:stCondLst>
                                  <p:childTnLst>
                                    <p:set>
                                      <p:cBhvr>
                                        <p:cTn id="81" dur="1" fill="hold">
                                          <p:stCondLst>
                                            <p:cond delay="0"/>
                                          </p:stCondLst>
                                        </p:cTn>
                                        <p:tgtEl>
                                          <p:spTgt spid="61"/>
                                        </p:tgtEl>
                                        <p:attrNameLst>
                                          <p:attrName>style.visibility</p:attrName>
                                        </p:attrNameLst>
                                      </p:cBhvr>
                                      <p:to>
                                        <p:strVal val="visible"/>
                                      </p:to>
                                    </p:set>
                                    <p:animEffect transition="in" filter="fade">
                                      <p:cBhvr>
                                        <p:cTn id="82" dur="2000"/>
                                        <p:tgtEl>
                                          <p:spTgt spid="61"/>
                                        </p:tgtEl>
                                      </p:cBhvr>
                                    </p:animEffect>
                                  </p:childTnLst>
                                </p:cTn>
                              </p:par>
                              <p:par>
                                <p:cTn id="83" presetID="10" presetClass="entr" presetSubtype="0" fill="hold" nodeType="withEffect">
                                  <p:stCondLst>
                                    <p:cond delay="0"/>
                                  </p:stCondLst>
                                  <p:childTnLst>
                                    <p:set>
                                      <p:cBhvr>
                                        <p:cTn id="84" dur="1" fill="hold">
                                          <p:stCondLst>
                                            <p:cond delay="0"/>
                                          </p:stCondLst>
                                        </p:cTn>
                                        <p:tgtEl>
                                          <p:spTgt spid="62"/>
                                        </p:tgtEl>
                                        <p:attrNameLst>
                                          <p:attrName>style.visibility</p:attrName>
                                        </p:attrNameLst>
                                      </p:cBhvr>
                                      <p:to>
                                        <p:strVal val="visible"/>
                                      </p:to>
                                    </p:set>
                                    <p:animEffect transition="in" filter="fade">
                                      <p:cBhvr>
                                        <p:cTn id="85" dur="2000"/>
                                        <p:tgtEl>
                                          <p:spTgt spid="62"/>
                                        </p:tgtEl>
                                      </p:cBhvr>
                                    </p:animEffect>
                                  </p:childTnLst>
                                </p:cTn>
                              </p:par>
                              <p:par>
                                <p:cTn id="86" presetID="10" presetClass="entr" presetSubtype="0" fill="hold" nodeType="withEffect">
                                  <p:stCondLst>
                                    <p:cond delay="0"/>
                                  </p:stCondLst>
                                  <p:childTnLst>
                                    <p:set>
                                      <p:cBhvr>
                                        <p:cTn id="87" dur="1" fill="hold">
                                          <p:stCondLst>
                                            <p:cond delay="0"/>
                                          </p:stCondLst>
                                        </p:cTn>
                                        <p:tgtEl>
                                          <p:spTgt spid="63"/>
                                        </p:tgtEl>
                                        <p:attrNameLst>
                                          <p:attrName>style.visibility</p:attrName>
                                        </p:attrNameLst>
                                      </p:cBhvr>
                                      <p:to>
                                        <p:strVal val="visible"/>
                                      </p:to>
                                    </p:set>
                                    <p:animEffect transition="in" filter="fade">
                                      <p:cBhvr>
                                        <p:cTn id="88" dur="2000"/>
                                        <p:tgtEl>
                                          <p:spTgt spid="63"/>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nodeType="clickEffect">
                                  <p:stCondLst>
                                    <p:cond delay="0"/>
                                  </p:stCondLst>
                                  <p:childTnLst>
                                    <p:set>
                                      <p:cBhvr>
                                        <p:cTn id="92" dur="1" fill="hold">
                                          <p:stCondLst>
                                            <p:cond delay="0"/>
                                          </p:stCondLst>
                                        </p:cTn>
                                        <p:tgtEl>
                                          <p:spTgt spid="7"/>
                                        </p:tgtEl>
                                        <p:attrNameLst>
                                          <p:attrName>style.visibility</p:attrName>
                                        </p:attrNameLst>
                                      </p:cBhvr>
                                      <p:to>
                                        <p:strVal val="visible"/>
                                      </p:to>
                                    </p:set>
                                    <p:animEffect transition="in" filter="fade">
                                      <p:cBhvr>
                                        <p:cTn id="93" dur="500"/>
                                        <p:tgtEl>
                                          <p:spTgt spid="7"/>
                                        </p:tgtEl>
                                      </p:cBhvr>
                                    </p:animEffect>
                                  </p:childTnLst>
                                </p:cTn>
                              </p:par>
                              <p:par>
                                <p:cTn id="94" presetID="10" presetClass="entr" presetSubtype="0" fill="hold" nodeType="withEffect">
                                  <p:stCondLst>
                                    <p:cond delay="0"/>
                                  </p:stCondLst>
                                  <p:childTnLst>
                                    <p:set>
                                      <p:cBhvr>
                                        <p:cTn id="95" dur="1" fill="hold">
                                          <p:stCondLst>
                                            <p:cond delay="0"/>
                                          </p:stCondLst>
                                        </p:cTn>
                                        <p:tgtEl>
                                          <p:spTgt spid="84"/>
                                        </p:tgtEl>
                                        <p:attrNameLst>
                                          <p:attrName>style.visibility</p:attrName>
                                        </p:attrNameLst>
                                      </p:cBhvr>
                                      <p:to>
                                        <p:strVal val="visible"/>
                                      </p:to>
                                    </p:set>
                                    <p:animEffect transition="in" filter="fade">
                                      <p:cBhvr>
                                        <p:cTn id="96" dur="500"/>
                                        <p:tgtEl>
                                          <p:spTgt spid="84"/>
                                        </p:tgtEl>
                                      </p:cBhvr>
                                    </p:animEffect>
                                  </p:childTnLst>
                                </p:cTn>
                              </p:par>
                            </p:childTnLst>
                          </p:cTn>
                        </p:par>
                      </p:childTnLst>
                    </p:cTn>
                  </p:par>
                  <p:par>
                    <p:cTn id="97" fill="hold">
                      <p:stCondLst>
                        <p:cond delay="indefinite"/>
                      </p:stCondLst>
                      <p:childTnLst>
                        <p:par>
                          <p:cTn id="98" fill="hold">
                            <p:stCondLst>
                              <p:cond delay="0"/>
                            </p:stCondLst>
                            <p:childTnLst>
                              <p:par>
                                <p:cTn id="99" presetID="6" presetClass="entr" presetSubtype="32" fill="hold" nodeType="clickEffect">
                                  <p:stCondLst>
                                    <p:cond delay="0"/>
                                  </p:stCondLst>
                                  <p:childTnLst>
                                    <p:set>
                                      <p:cBhvr>
                                        <p:cTn id="100" dur="1" fill="hold">
                                          <p:stCondLst>
                                            <p:cond delay="0"/>
                                          </p:stCondLst>
                                        </p:cTn>
                                        <p:tgtEl>
                                          <p:spTgt spid="101"/>
                                        </p:tgtEl>
                                        <p:attrNameLst>
                                          <p:attrName>style.visibility</p:attrName>
                                        </p:attrNameLst>
                                      </p:cBhvr>
                                      <p:to>
                                        <p:strVal val="visible"/>
                                      </p:to>
                                    </p:set>
                                    <p:animEffect transition="in" filter="circle(out)">
                                      <p:cBhvr>
                                        <p:cTn id="101" dur="2000"/>
                                        <p:tgtEl>
                                          <p:spTgt spid="101"/>
                                        </p:tgtEl>
                                      </p:cBhvr>
                                    </p:animEffect>
                                  </p:childTnLst>
                                </p:cTn>
                              </p:par>
                              <p:par>
                                <p:cTn id="102" presetID="6" presetClass="entr" presetSubtype="16" fill="hold" nodeType="withEffect">
                                  <p:stCondLst>
                                    <p:cond delay="0"/>
                                  </p:stCondLst>
                                  <p:childTnLst>
                                    <p:set>
                                      <p:cBhvr>
                                        <p:cTn id="103" dur="1" fill="hold">
                                          <p:stCondLst>
                                            <p:cond delay="0"/>
                                          </p:stCondLst>
                                        </p:cTn>
                                        <p:tgtEl>
                                          <p:spTgt spid="52"/>
                                        </p:tgtEl>
                                        <p:attrNameLst>
                                          <p:attrName>style.visibility</p:attrName>
                                        </p:attrNameLst>
                                      </p:cBhvr>
                                      <p:to>
                                        <p:strVal val="visible"/>
                                      </p:to>
                                    </p:set>
                                    <p:animEffect transition="in" filter="circle(in)">
                                      <p:cBhvr>
                                        <p:cTn id="104" dur="2000"/>
                                        <p:tgtEl>
                                          <p:spTgt spid="52"/>
                                        </p:tgtEl>
                                      </p:cBhvr>
                                    </p:animEffect>
                                  </p:childTnLst>
                                </p:cTn>
                              </p:par>
                            </p:childTnLst>
                          </p:cTn>
                        </p:par>
                      </p:childTnLst>
                    </p:cTn>
                  </p:par>
                  <p:par>
                    <p:cTn id="105" fill="hold">
                      <p:stCondLst>
                        <p:cond delay="indefinite"/>
                      </p:stCondLst>
                      <p:childTnLst>
                        <p:par>
                          <p:cTn id="106" fill="hold">
                            <p:stCondLst>
                              <p:cond delay="0"/>
                            </p:stCondLst>
                            <p:childTnLst>
                              <p:par>
                                <p:cTn id="107" presetID="22" presetClass="entr" presetSubtype="1" fill="hold" nodeType="clickEffect">
                                  <p:stCondLst>
                                    <p:cond delay="0"/>
                                  </p:stCondLst>
                                  <p:childTnLst>
                                    <p:set>
                                      <p:cBhvr>
                                        <p:cTn id="108" dur="1" fill="hold">
                                          <p:stCondLst>
                                            <p:cond delay="0"/>
                                          </p:stCondLst>
                                        </p:cTn>
                                        <p:tgtEl>
                                          <p:spTgt spid="104"/>
                                        </p:tgtEl>
                                        <p:attrNameLst>
                                          <p:attrName>style.visibility</p:attrName>
                                        </p:attrNameLst>
                                      </p:cBhvr>
                                      <p:to>
                                        <p:strVal val="visible"/>
                                      </p:to>
                                    </p:set>
                                    <p:animEffect transition="in" filter="wipe(up)">
                                      <p:cBhvr>
                                        <p:cTn id="109" dur="500"/>
                                        <p:tgtEl>
                                          <p:spTgt spid="104"/>
                                        </p:tgtEl>
                                      </p:cBhvr>
                                    </p:animEffect>
                                  </p:childTnLst>
                                </p:cTn>
                              </p:par>
                              <p:par>
                                <p:cTn id="110" presetID="6" presetClass="entr" presetSubtype="32" fill="hold" nodeType="withEffect">
                                  <p:stCondLst>
                                    <p:cond delay="0"/>
                                  </p:stCondLst>
                                  <p:childTnLst>
                                    <p:set>
                                      <p:cBhvr>
                                        <p:cTn id="111" dur="1" fill="hold">
                                          <p:stCondLst>
                                            <p:cond delay="0"/>
                                          </p:stCondLst>
                                        </p:cTn>
                                        <p:tgtEl>
                                          <p:spTgt spid="86"/>
                                        </p:tgtEl>
                                        <p:attrNameLst>
                                          <p:attrName>style.visibility</p:attrName>
                                        </p:attrNameLst>
                                      </p:cBhvr>
                                      <p:to>
                                        <p:strVal val="visible"/>
                                      </p:to>
                                    </p:set>
                                    <p:animEffect transition="in" filter="circle(out)">
                                      <p:cBhvr>
                                        <p:cTn id="112" dur="2000"/>
                                        <p:tgtEl>
                                          <p:spTgt spid="86"/>
                                        </p:tgtEl>
                                      </p:cBhvr>
                                    </p:animEffect>
                                  </p:childTnLst>
                                </p:cTn>
                              </p:par>
                            </p:childTnLst>
                          </p:cTn>
                        </p:par>
                      </p:childTnLst>
                    </p:cTn>
                  </p:par>
                  <p:par>
                    <p:cTn id="113" fill="hold">
                      <p:stCondLst>
                        <p:cond delay="indefinite"/>
                      </p:stCondLst>
                      <p:childTnLst>
                        <p:par>
                          <p:cTn id="114" fill="hold">
                            <p:stCondLst>
                              <p:cond delay="0"/>
                            </p:stCondLst>
                            <p:childTnLst>
                              <p:par>
                                <p:cTn id="115" presetID="22" presetClass="entr" presetSubtype="8" fill="hold" grpId="0" nodeType="clickEffect">
                                  <p:stCondLst>
                                    <p:cond delay="0"/>
                                  </p:stCondLst>
                                  <p:childTnLst>
                                    <p:set>
                                      <p:cBhvr>
                                        <p:cTn id="116" dur="1" fill="hold">
                                          <p:stCondLst>
                                            <p:cond delay="0"/>
                                          </p:stCondLst>
                                        </p:cTn>
                                        <p:tgtEl>
                                          <p:spTgt spid="115"/>
                                        </p:tgtEl>
                                        <p:attrNameLst>
                                          <p:attrName>style.visibility</p:attrName>
                                        </p:attrNameLst>
                                      </p:cBhvr>
                                      <p:to>
                                        <p:strVal val="visible"/>
                                      </p:to>
                                    </p:set>
                                    <p:animEffect transition="in" filter="wipe(left)">
                                      <p:cBhvr>
                                        <p:cTn id="117" dur="500"/>
                                        <p:tgtEl>
                                          <p:spTgt spid="115"/>
                                        </p:tgtEl>
                                      </p:cBhvr>
                                    </p:animEffect>
                                  </p:childTnLst>
                                </p:cTn>
                              </p:par>
                            </p:childTnLst>
                          </p:cTn>
                        </p:par>
                      </p:childTnLst>
                    </p:cTn>
                  </p:par>
                  <p:par>
                    <p:cTn id="118" fill="hold">
                      <p:stCondLst>
                        <p:cond delay="indefinite"/>
                      </p:stCondLst>
                      <p:childTnLst>
                        <p:par>
                          <p:cTn id="119" fill="hold">
                            <p:stCondLst>
                              <p:cond delay="0"/>
                            </p:stCondLst>
                            <p:childTnLst>
                              <p:par>
                                <p:cTn id="120" presetID="22" presetClass="entr" presetSubtype="8" fill="hold" grpId="0" nodeType="clickEffect">
                                  <p:stCondLst>
                                    <p:cond delay="0"/>
                                  </p:stCondLst>
                                  <p:childTnLst>
                                    <p:set>
                                      <p:cBhvr>
                                        <p:cTn id="121" dur="1" fill="hold">
                                          <p:stCondLst>
                                            <p:cond delay="0"/>
                                          </p:stCondLst>
                                        </p:cTn>
                                        <p:tgtEl>
                                          <p:spTgt spid="3"/>
                                        </p:tgtEl>
                                        <p:attrNameLst>
                                          <p:attrName>style.visibility</p:attrName>
                                        </p:attrNameLst>
                                      </p:cBhvr>
                                      <p:to>
                                        <p:strVal val="visible"/>
                                      </p:to>
                                    </p:set>
                                    <p:animEffect transition="in" filter="wipe(left)">
                                      <p:cBhvr>
                                        <p:cTn id="122" dur="500"/>
                                        <p:tgtEl>
                                          <p:spTgt spid="3"/>
                                        </p:tgtEl>
                                      </p:cBhvr>
                                    </p:animEffect>
                                  </p:childTnLst>
                                </p:cTn>
                              </p:par>
                            </p:childTnLst>
                          </p:cTn>
                        </p:par>
                      </p:childTnLst>
                    </p:cTn>
                  </p:par>
                  <p:par>
                    <p:cTn id="123" fill="hold">
                      <p:stCondLst>
                        <p:cond delay="indefinite"/>
                      </p:stCondLst>
                      <p:childTnLst>
                        <p:par>
                          <p:cTn id="124" fill="hold">
                            <p:stCondLst>
                              <p:cond delay="0"/>
                            </p:stCondLst>
                            <p:childTnLst>
                              <p:par>
                                <p:cTn id="125" presetID="22" presetClass="entr" presetSubtype="8" fill="hold" grpId="0" nodeType="clickEffect">
                                  <p:stCondLst>
                                    <p:cond delay="0"/>
                                  </p:stCondLst>
                                  <p:childTnLst>
                                    <p:set>
                                      <p:cBhvr>
                                        <p:cTn id="126" dur="1" fill="hold">
                                          <p:stCondLst>
                                            <p:cond delay="0"/>
                                          </p:stCondLst>
                                        </p:cTn>
                                        <p:tgtEl>
                                          <p:spTgt spid="69"/>
                                        </p:tgtEl>
                                        <p:attrNameLst>
                                          <p:attrName>style.visibility</p:attrName>
                                        </p:attrNameLst>
                                      </p:cBhvr>
                                      <p:to>
                                        <p:strVal val="visible"/>
                                      </p:to>
                                    </p:set>
                                    <p:animEffect transition="in" filter="wipe(left)">
                                      <p:cBhvr>
                                        <p:cTn id="127" dur="500"/>
                                        <p:tgtEl>
                                          <p:spTgt spid="69"/>
                                        </p:tgtEl>
                                      </p:cBhvr>
                                    </p:animEffect>
                                  </p:childTnLst>
                                </p:cTn>
                              </p:par>
                            </p:childTnLst>
                          </p:cTn>
                        </p:par>
                      </p:childTnLst>
                    </p:cTn>
                  </p:par>
                  <p:par>
                    <p:cTn id="128" fill="hold">
                      <p:stCondLst>
                        <p:cond delay="indefinite"/>
                      </p:stCondLst>
                      <p:childTnLst>
                        <p:par>
                          <p:cTn id="129" fill="hold">
                            <p:stCondLst>
                              <p:cond delay="0"/>
                            </p:stCondLst>
                            <p:childTnLst>
                              <p:par>
                                <p:cTn id="130" presetID="22" presetClass="entr" presetSubtype="8" fill="hold" grpId="0" nodeType="clickEffect">
                                  <p:stCondLst>
                                    <p:cond delay="0"/>
                                  </p:stCondLst>
                                  <p:childTnLst>
                                    <p:set>
                                      <p:cBhvr>
                                        <p:cTn id="131" dur="1" fill="hold">
                                          <p:stCondLst>
                                            <p:cond delay="0"/>
                                          </p:stCondLst>
                                        </p:cTn>
                                        <p:tgtEl>
                                          <p:spTgt spid="70"/>
                                        </p:tgtEl>
                                        <p:attrNameLst>
                                          <p:attrName>style.visibility</p:attrName>
                                        </p:attrNameLst>
                                      </p:cBhvr>
                                      <p:to>
                                        <p:strVal val="visible"/>
                                      </p:to>
                                    </p:set>
                                    <p:animEffect transition="in" filter="wipe(left)">
                                      <p:cBhvr>
                                        <p:cTn id="132" dur="500"/>
                                        <p:tgtEl>
                                          <p:spTgt spid="70"/>
                                        </p:tgtEl>
                                      </p:cBhvr>
                                    </p:animEffect>
                                  </p:childTnLst>
                                </p:cTn>
                              </p:par>
                            </p:childTnLst>
                          </p:cTn>
                        </p:par>
                      </p:childTnLst>
                    </p:cTn>
                  </p:par>
                  <p:par>
                    <p:cTn id="133" fill="hold">
                      <p:stCondLst>
                        <p:cond delay="indefinite"/>
                      </p:stCondLst>
                      <p:childTnLst>
                        <p:par>
                          <p:cTn id="134" fill="hold">
                            <p:stCondLst>
                              <p:cond delay="0"/>
                            </p:stCondLst>
                            <p:childTnLst>
                              <p:par>
                                <p:cTn id="135" presetID="22" presetClass="entr" presetSubtype="8" fill="hold" grpId="0" nodeType="clickEffect">
                                  <p:stCondLst>
                                    <p:cond delay="0"/>
                                  </p:stCondLst>
                                  <p:childTnLst>
                                    <p:set>
                                      <p:cBhvr>
                                        <p:cTn id="136" dur="1" fill="hold">
                                          <p:stCondLst>
                                            <p:cond delay="0"/>
                                          </p:stCondLst>
                                        </p:cTn>
                                        <p:tgtEl>
                                          <p:spTgt spid="71"/>
                                        </p:tgtEl>
                                        <p:attrNameLst>
                                          <p:attrName>style.visibility</p:attrName>
                                        </p:attrNameLst>
                                      </p:cBhvr>
                                      <p:to>
                                        <p:strVal val="visible"/>
                                      </p:to>
                                    </p:set>
                                    <p:animEffect transition="in" filter="wipe(left)">
                                      <p:cBhvr>
                                        <p:cTn id="137" dur="500"/>
                                        <p:tgtEl>
                                          <p:spTgt spid="71"/>
                                        </p:tgtEl>
                                      </p:cBhvr>
                                    </p:animEffect>
                                  </p:childTnLst>
                                </p:cTn>
                              </p:par>
                            </p:childTnLst>
                          </p:cTn>
                        </p:par>
                      </p:childTnLst>
                    </p:cTn>
                  </p:par>
                  <p:par>
                    <p:cTn id="138" fill="hold">
                      <p:stCondLst>
                        <p:cond delay="indefinite"/>
                      </p:stCondLst>
                      <p:childTnLst>
                        <p:par>
                          <p:cTn id="139" fill="hold">
                            <p:stCondLst>
                              <p:cond delay="0"/>
                            </p:stCondLst>
                            <p:childTnLst>
                              <p:par>
                                <p:cTn id="140" presetID="22" presetClass="entr" presetSubtype="8" fill="hold" grpId="0" nodeType="clickEffect">
                                  <p:stCondLst>
                                    <p:cond delay="0"/>
                                  </p:stCondLst>
                                  <p:childTnLst>
                                    <p:set>
                                      <p:cBhvr>
                                        <p:cTn id="141" dur="1" fill="hold">
                                          <p:stCondLst>
                                            <p:cond delay="0"/>
                                          </p:stCondLst>
                                        </p:cTn>
                                        <p:tgtEl>
                                          <p:spTgt spid="76"/>
                                        </p:tgtEl>
                                        <p:attrNameLst>
                                          <p:attrName>style.visibility</p:attrName>
                                        </p:attrNameLst>
                                      </p:cBhvr>
                                      <p:to>
                                        <p:strVal val="visible"/>
                                      </p:to>
                                    </p:set>
                                    <p:animEffect transition="in" filter="wipe(left)">
                                      <p:cBhvr>
                                        <p:cTn id="142" dur="500"/>
                                        <p:tgtEl>
                                          <p:spTgt spid="76"/>
                                        </p:tgtEl>
                                      </p:cBhvr>
                                    </p:animEffect>
                                  </p:childTnLst>
                                </p:cTn>
                              </p:par>
                            </p:childTnLst>
                          </p:cTn>
                        </p:par>
                      </p:childTnLst>
                    </p:cTn>
                  </p:par>
                  <p:par>
                    <p:cTn id="143" fill="hold">
                      <p:stCondLst>
                        <p:cond delay="indefinite"/>
                      </p:stCondLst>
                      <p:childTnLst>
                        <p:par>
                          <p:cTn id="144" fill="hold">
                            <p:stCondLst>
                              <p:cond delay="0"/>
                            </p:stCondLst>
                            <p:childTnLst>
                              <p:par>
                                <p:cTn id="145" presetID="22" presetClass="entr" presetSubtype="8" fill="hold" grpId="0" nodeType="clickEffect">
                                  <p:stCondLst>
                                    <p:cond delay="0"/>
                                  </p:stCondLst>
                                  <p:childTnLst>
                                    <p:set>
                                      <p:cBhvr>
                                        <p:cTn id="146" dur="1" fill="hold">
                                          <p:stCondLst>
                                            <p:cond delay="0"/>
                                          </p:stCondLst>
                                        </p:cTn>
                                        <p:tgtEl>
                                          <p:spTgt spid="81"/>
                                        </p:tgtEl>
                                        <p:attrNameLst>
                                          <p:attrName>style.visibility</p:attrName>
                                        </p:attrNameLst>
                                      </p:cBhvr>
                                      <p:to>
                                        <p:strVal val="visible"/>
                                      </p:to>
                                    </p:set>
                                    <p:animEffect transition="in" filter="wipe(left)">
                                      <p:cBhvr>
                                        <p:cTn id="147" dur="500"/>
                                        <p:tgtEl>
                                          <p:spTgt spid="81"/>
                                        </p:tgtEl>
                                      </p:cBhvr>
                                    </p:animEffect>
                                  </p:childTnLst>
                                </p:cTn>
                              </p:par>
                            </p:childTnLst>
                          </p:cTn>
                        </p:par>
                      </p:childTnLst>
                    </p:cTn>
                  </p:par>
                  <p:par>
                    <p:cTn id="148" fill="hold">
                      <p:stCondLst>
                        <p:cond delay="indefinite"/>
                      </p:stCondLst>
                      <p:childTnLst>
                        <p:par>
                          <p:cTn id="149" fill="hold">
                            <p:stCondLst>
                              <p:cond delay="0"/>
                            </p:stCondLst>
                            <p:childTnLst>
                              <p:par>
                                <p:cTn id="150" presetID="22" presetClass="entr" presetSubtype="8" fill="hold" grpId="0" nodeType="clickEffect">
                                  <p:stCondLst>
                                    <p:cond delay="0"/>
                                  </p:stCondLst>
                                  <p:childTnLst>
                                    <p:set>
                                      <p:cBhvr>
                                        <p:cTn id="151" dur="1" fill="hold">
                                          <p:stCondLst>
                                            <p:cond delay="0"/>
                                          </p:stCondLst>
                                        </p:cTn>
                                        <p:tgtEl>
                                          <p:spTgt spid="82"/>
                                        </p:tgtEl>
                                        <p:attrNameLst>
                                          <p:attrName>style.visibility</p:attrName>
                                        </p:attrNameLst>
                                      </p:cBhvr>
                                      <p:to>
                                        <p:strVal val="visible"/>
                                      </p:to>
                                    </p:set>
                                    <p:animEffect transition="in" filter="wipe(left)">
                                      <p:cBhvr>
                                        <p:cTn id="152" dur="500"/>
                                        <p:tgtEl>
                                          <p:spTgt spid="82"/>
                                        </p:tgtEl>
                                      </p:cBhvr>
                                    </p:animEffect>
                                  </p:childTnLst>
                                </p:cTn>
                              </p:par>
                            </p:childTnLst>
                          </p:cTn>
                        </p:par>
                      </p:childTnLst>
                    </p:cTn>
                  </p:par>
                  <p:par>
                    <p:cTn id="153" fill="hold">
                      <p:stCondLst>
                        <p:cond delay="indefinite"/>
                      </p:stCondLst>
                      <p:childTnLst>
                        <p:par>
                          <p:cTn id="154" fill="hold">
                            <p:stCondLst>
                              <p:cond delay="0"/>
                            </p:stCondLst>
                            <p:childTnLst>
                              <p:par>
                                <p:cTn id="155" presetID="22" presetClass="entr" presetSubtype="8" fill="hold" grpId="0" nodeType="clickEffect">
                                  <p:stCondLst>
                                    <p:cond delay="0"/>
                                  </p:stCondLst>
                                  <p:childTnLst>
                                    <p:set>
                                      <p:cBhvr>
                                        <p:cTn id="156" dur="1" fill="hold">
                                          <p:stCondLst>
                                            <p:cond delay="0"/>
                                          </p:stCondLst>
                                        </p:cTn>
                                        <p:tgtEl>
                                          <p:spTgt spid="83"/>
                                        </p:tgtEl>
                                        <p:attrNameLst>
                                          <p:attrName>style.visibility</p:attrName>
                                        </p:attrNameLst>
                                      </p:cBhvr>
                                      <p:to>
                                        <p:strVal val="visible"/>
                                      </p:to>
                                    </p:set>
                                    <p:animEffect transition="in" filter="wipe(left)">
                                      <p:cBhvr>
                                        <p:cTn id="157" dur="500"/>
                                        <p:tgtEl>
                                          <p:spTgt spid="83"/>
                                        </p:tgtEl>
                                      </p:cBhvr>
                                    </p:animEffect>
                                  </p:childTnLst>
                                </p:cTn>
                              </p:par>
                            </p:childTnLst>
                          </p:cTn>
                        </p:par>
                      </p:childTnLst>
                    </p:cTn>
                  </p:par>
                  <p:par>
                    <p:cTn id="158" fill="hold">
                      <p:stCondLst>
                        <p:cond delay="indefinite"/>
                      </p:stCondLst>
                      <p:childTnLst>
                        <p:par>
                          <p:cTn id="159" fill="hold">
                            <p:stCondLst>
                              <p:cond delay="0"/>
                            </p:stCondLst>
                            <p:childTnLst>
                              <p:par>
                                <p:cTn id="160" presetID="22" presetClass="entr" presetSubtype="8" fill="hold" grpId="0" nodeType="clickEffect">
                                  <p:stCondLst>
                                    <p:cond delay="0"/>
                                  </p:stCondLst>
                                  <p:childTnLst>
                                    <p:set>
                                      <p:cBhvr>
                                        <p:cTn id="161" dur="1" fill="hold">
                                          <p:stCondLst>
                                            <p:cond delay="0"/>
                                          </p:stCondLst>
                                        </p:cTn>
                                        <p:tgtEl>
                                          <p:spTgt spid="110"/>
                                        </p:tgtEl>
                                        <p:attrNameLst>
                                          <p:attrName>style.visibility</p:attrName>
                                        </p:attrNameLst>
                                      </p:cBhvr>
                                      <p:to>
                                        <p:strVal val="visible"/>
                                      </p:to>
                                    </p:set>
                                    <p:animEffect transition="in" filter="wipe(left)">
                                      <p:cBhvr>
                                        <p:cTn id="162" dur="500"/>
                                        <p:tgtEl>
                                          <p:spTgt spid="110"/>
                                        </p:tgtEl>
                                      </p:cBhvr>
                                    </p:animEffect>
                                  </p:childTnLst>
                                </p:cTn>
                              </p:par>
                            </p:childTnLst>
                          </p:cTn>
                        </p:par>
                      </p:childTnLst>
                    </p:cTn>
                  </p:par>
                  <p:par>
                    <p:cTn id="163" fill="hold">
                      <p:stCondLst>
                        <p:cond delay="indefinite"/>
                      </p:stCondLst>
                      <p:childTnLst>
                        <p:par>
                          <p:cTn id="164" fill="hold">
                            <p:stCondLst>
                              <p:cond delay="0"/>
                            </p:stCondLst>
                            <p:childTnLst>
                              <p:par>
                                <p:cTn id="165" presetID="22" presetClass="entr" presetSubtype="4" fill="hold" nodeType="clickEffect">
                                  <p:stCondLst>
                                    <p:cond delay="0"/>
                                  </p:stCondLst>
                                  <p:childTnLst>
                                    <p:set>
                                      <p:cBhvr>
                                        <p:cTn id="166" dur="1" fill="hold">
                                          <p:stCondLst>
                                            <p:cond delay="0"/>
                                          </p:stCondLst>
                                        </p:cTn>
                                        <p:tgtEl>
                                          <p:spTgt spid="100"/>
                                        </p:tgtEl>
                                        <p:attrNameLst>
                                          <p:attrName>style.visibility</p:attrName>
                                        </p:attrNameLst>
                                      </p:cBhvr>
                                      <p:to>
                                        <p:strVal val="visible"/>
                                      </p:to>
                                    </p:set>
                                    <p:animEffect transition="in" filter="wipe(down)">
                                      <p:cBhvr>
                                        <p:cTn id="167" dur="2000"/>
                                        <p:tgtEl>
                                          <p:spTgt spid="100"/>
                                        </p:tgtEl>
                                      </p:cBhvr>
                                    </p:animEffect>
                                  </p:childTnLst>
                                </p:cTn>
                              </p:par>
                            </p:childTnLst>
                          </p:cTn>
                        </p:par>
                        <p:par>
                          <p:cTn id="168" fill="hold">
                            <p:stCondLst>
                              <p:cond delay="2000"/>
                            </p:stCondLst>
                            <p:childTnLst>
                              <p:par>
                                <p:cTn id="169" presetID="22" presetClass="entr" presetSubtype="8" fill="hold" grpId="0" nodeType="afterEffect">
                                  <p:stCondLst>
                                    <p:cond delay="0"/>
                                  </p:stCondLst>
                                  <p:childTnLst>
                                    <p:set>
                                      <p:cBhvr>
                                        <p:cTn id="170" dur="1" fill="hold">
                                          <p:stCondLst>
                                            <p:cond delay="0"/>
                                          </p:stCondLst>
                                        </p:cTn>
                                        <p:tgtEl>
                                          <p:spTgt spid="99"/>
                                        </p:tgtEl>
                                        <p:attrNameLst>
                                          <p:attrName>style.visibility</p:attrName>
                                        </p:attrNameLst>
                                      </p:cBhvr>
                                      <p:to>
                                        <p:strVal val="visible"/>
                                      </p:to>
                                    </p:set>
                                    <p:animEffect transition="in" filter="wipe(left)">
                                      <p:cBhvr>
                                        <p:cTn id="171" dur="500"/>
                                        <p:tgtEl>
                                          <p:spTgt spid="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2" grpId="0"/>
      <p:bldP spid="99" grpId="0"/>
      <p:bldP spid="3" grpId="0"/>
      <p:bldP spid="69" grpId="0"/>
      <p:bldP spid="70" grpId="0"/>
      <p:bldP spid="71" grpId="0"/>
      <p:bldP spid="76" grpId="0"/>
      <p:bldP spid="81" grpId="0"/>
      <p:bldP spid="82" grpId="0"/>
      <p:bldP spid="83" grpId="0"/>
      <p:bldP spid="110" grpId="0"/>
      <p:bldP spid="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sosceles Triangle 1"/>
          <p:cNvSpPr/>
          <p:nvPr/>
        </p:nvSpPr>
        <p:spPr>
          <a:xfrm rot="12382579">
            <a:off x="1896027" y="4608927"/>
            <a:ext cx="2823356" cy="974597"/>
          </a:xfrm>
          <a:prstGeom prst="triangle">
            <a:avLst>
              <a:gd name="adj" fmla="val 51539"/>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a:p>
        </p:txBody>
      </p:sp>
      <p:sp>
        <p:nvSpPr>
          <p:cNvPr id="52" name="Isosceles Triangle 51"/>
          <p:cNvSpPr/>
          <p:nvPr/>
        </p:nvSpPr>
        <p:spPr>
          <a:xfrm rot="12382579" flipH="1" flipV="1">
            <a:off x="3243440" y="1987609"/>
            <a:ext cx="2823356" cy="974597"/>
          </a:xfrm>
          <a:prstGeom prst="triangle">
            <a:avLst>
              <a:gd name="adj" fmla="val 51539"/>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a:p>
        </p:txBody>
      </p:sp>
      <p:cxnSp>
        <p:nvCxnSpPr>
          <p:cNvPr id="98" name="Straight Connector 97"/>
          <p:cNvCxnSpPr/>
          <p:nvPr/>
        </p:nvCxnSpPr>
        <p:spPr>
          <a:xfrm flipV="1">
            <a:off x="-112542" y="1845758"/>
            <a:ext cx="6784158" cy="904476"/>
          </a:xfrm>
          <a:prstGeom prst="line">
            <a:avLst/>
          </a:prstGeom>
          <a:ln w="25400">
            <a:solidFill>
              <a:srgbClr val="FF00FF"/>
            </a:solidFill>
          </a:ln>
        </p:spPr>
        <p:style>
          <a:lnRef idx="1">
            <a:schemeClr val="accent2"/>
          </a:lnRef>
          <a:fillRef idx="0">
            <a:schemeClr val="accent2"/>
          </a:fillRef>
          <a:effectRef idx="0">
            <a:schemeClr val="accent2"/>
          </a:effectRef>
          <a:fontRef idx="minor">
            <a:schemeClr val="tx1"/>
          </a:fontRef>
        </p:style>
      </p:cxnSp>
      <p:cxnSp>
        <p:nvCxnSpPr>
          <p:cNvPr id="68" name="Straight Connector 67"/>
          <p:cNvCxnSpPr/>
          <p:nvPr/>
        </p:nvCxnSpPr>
        <p:spPr>
          <a:xfrm>
            <a:off x="837028" y="1329397"/>
            <a:ext cx="2686619" cy="5071403"/>
          </a:xfrm>
          <a:prstGeom prst="line">
            <a:avLst/>
          </a:prstGeom>
          <a:ln w="25400">
            <a:solidFill>
              <a:srgbClr val="FF00FF"/>
            </a:solidFill>
          </a:ln>
        </p:spPr>
        <p:style>
          <a:lnRef idx="1">
            <a:schemeClr val="accent2"/>
          </a:lnRef>
          <a:fillRef idx="0">
            <a:schemeClr val="accent2"/>
          </a:fillRef>
          <a:effectRef idx="0">
            <a:schemeClr val="accent2"/>
          </a:effectRef>
          <a:fontRef idx="minor">
            <a:schemeClr val="tx1"/>
          </a:fontRef>
        </p:style>
      </p:cxnSp>
      <p:cxnSp>
        <p:nvCxnSpPr>
          <p:cNvPr id="48" name="Straight Connector 47"/>
          <p:cNvCxnSpPr/>
          <p:nvPr/>
        </p:nvCxnSpPr>
        <p:spPr>
          <a:xfrm flipV="1">
            <a:off x="-91440" y="1823060"/>
            <a:ext cx="6762474" cy="927174"/>
          </a:xfrm>
          <a:prstGeom prst="line">
            <a:avLst/>
          </a:prstGeom>
        </p:spPr>
        <p:style>
          <a:lnRef idx="1">
            <a:schemeClr val="accent2"/>
          </a:lnRef>
          <a:fillRef idx="0">
            <a:schemeClr val="accent2"/>
          </a:fillRef>
          <a:effectRef idx="0">
            <a:schemeClr val="accent2"/>
          </a:effectRef>
          <a:fontRef idx="minor">
            <a:schemeClr val="tx1"/>
          </a:fontRef>
        </p:style>
      </p:cxnSp>
      <p:cxnSp>
        <p:nvCxnSpPr>
          <p:cNvPr id="49" name="Straight Connector 48"/>
          <p:cNvCxnSpPr/>
          <p:nvPr/>
        </p:nvCxnSpPr>
        <p:spPr>
          <a:xfrm flipH="1">
            <a:off x="2591847" y="1184882"/>
            <a:ext cx="2794901" cy="5174628"/>
          </a:xfrm>
          <a:prstGeom prst="line">
            <a:avLst/>
          </a:prstGeom>
        </p:spPr>
        <p:style>
          <a:lnRef idx="1">
            <a:schemeClr val="accent2"/>
          </a:lnRef>
          <a:fillRef idx="0">
            <a:schemeClr val="accent2"/>
          </a:fillRef>
          <a:effectRef idx="0">
            <a:schemeClr val="accent2"/>
          </a:effectRef>
          <a:fontRef idx="minor">
            <a:schemeClr val="tx1"/>
          </a:fontRef>
        </p:style>
      </p:cxnSp>
      <p:cxnSp>
        <p:nvCxnSpPr>
          <p:cNvPr id="50" name="Straight Connector 49"/>
          <p:cNvCxnSpPr/>
          <p:nvPr/>
        </p:nvCxnSpPr>
        <p:spPr>
          <a:xfrm flipH="1">
            <a:off x="1287194" y="1185671"/>
            <a:ext cx="2552635" cy="4568015"/>
          </a:xfrm>
          <a:prstGeom prst="line">
            <a:avLst/>
          </a:prstGeom>
        </p:spPr>
        <p:style>
          <a:lnRef idx="3">
            <a:schemeClr val="dk1"/>
          </a:lnRef>
          <a:fillRef idx="0">
            <a:schemeClr val="dk1"/>
          </a:fillRef>
          <a:effectRef idx="2">
            <a:schemeClr val="dk1"/>
          </a:effectRef>
          <a:fontRef idx="minor">
            <a:schemeClr val="tx1"/>
          </a:fontRef>
        </p:style>
      </p:cxnSp>
      <p:cxnSp>
        <p:nvCxnSpPr>
          <p:cNvPr id="51" name="Straight Connector 50"/>
          <p:cNvCxnSpPr/>
          <p:nvPr/>
        </p:nvCxnSpPr>
        <p:spPr>
          <a:xfrm flipH="1">
            <a:off x="4265608" y="1823557"/>
            <a:ext cx="2406008" cy="4457200"/>
          </a:xfrm>
          <a:prstGeom prst="line">
            <a:avLst/>
          </a:prstGeom>
        </p:spPr>
        <p:style>
          <a:lnRef idx="3">
            <a:schemeClr val="dk1"/>
          </a:lnRef>
          <a:fillRef idx="0">
            <a:schemeClr val="dk1"/>
          </a:fillRef>
          <a:effectRef idx="2">
            <a:schemeClr val="dk1"/>
          </a:effectRef>
          <a:fontRef idx="minor">
            <a:schemeClr val="tx1"/>
          </a:fontRef>
        </p:style>
      </p:cxnSp>
      <p:cxnSp>
        <p:nvCxnSpPr>
          <p:cNvPr id="54" name="Straight Connector 53"/>
          <p:cNvCxnSpPr/>
          <p:nvPr/>
        </p:nvCxnSpPr>
        <p:spPr>
          <a:xfrm>
            <a:off x="1238285" y="1307119"/>
            <a:ext cx="6900550" cy="3489832"/>
          </a:xfrm>
          <a:prstGeom prst="line">
            <a:avLst/>
          </a:prstGeom>
        </p:spPr>
        <p:style>
          <a:lnRef idx="3">
            <a:schemeClr val="dk1"/>
          </a:lnRef>
          <a:fillRef idx="0">
            <a:schemeClr val="dk1"/>
          </a:fillRef>
          <a:effectRef idx="2">
            <a:schemeClr val="dk1"/>
          </a:effectRef>
          <a:fontRef idx="minor">
            <a:schemeClr val="tx1"/>
          </a:fontRef>
        </p:style>
      </p:cxnSp>
      <p:cxnSp>
        <p:nvCxnSpPr>
          <p:cNvPr id="58" name="Straight Connector 57"/>
          <p:cNvCxnSpPr/>
          <p:nvPr/>
        </p:nvCxnSpPr>
        <p:spPr>
          <a:xfrm>
            <a:off x="165459" y="1865919"/>
            <a:ext cx="7624763" cy="3848100"/>
          </a:xfrm>
          <a:prstGeom prst="line">
            <a:avLst/>
          </a:prstGeom>
          <a:ln w="63500" cmpd="tri">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59" name="Straight Connector 58"/>
          <p:cNvCxnSpPr/>
          <p:nvPr/>
        </p:nvCxnSpPr>
        <p:spPr>
          <a:xfrm>
            <a:off x="-112542" y="2806505"/>
            <a:ext cx="6921588" cy="3525892"/>
          </a:xfrm>
          <a:prstGeom prst="line">
            <a:avLst/>
          </a:prstGeom>
        </p:spPr>
        <p:style>
          <a:lnRef idx="3">
            <a:schemeClr val="dk1"/>
          </a:lnRef>
          <a:fillRef idx="0">
            <a:schemeClr val="dk1"/>
          </a:fillRef>
          <a:effectRef idx="2">
            <a:schemeClr val="dk1"/>
          </a:effectRef>
          <a:fontRef idx="minor">
            <a:schemeClr val="tx1"/>
          </a:fontRef>
        </p:style>
      </p:cxnSp>
      <p:cxnSp>
        <p:nvCxnSpPr>
          <p:cNvPr id="60" name="Straight Connector 59"/>
          <p:cNvCxnSpPr/>
          <p:nvPr/>
        </p:nvCxnSpPr>
        <p:spPr>
          <a:xfrm>
            <a:off x="2661009" y="1307119"/>
            <a:ext cx="2704346" cy="5075578"/>
          </a:xfrm>
          <a:prstGeom prst="line">
            <a:avLst/>
          </a:prstGeom>
        </p:spPr>
        <p:style>
          <a:lnRef idx="1">
            <a:schemeClr val="accent2"/>
          </a:lnRef>
          <a:fillRef idx="0">
            <a:schemeClr val="accent2"/>
          </a:fillRef>
          <a:effectRef idx="0">
            <a:schemeClr val="accent2"/>
          </a:effectRef>
          <a:fontRef idx="minor">
            <a:schemeClr val="tx1"/>
          </a:fontRef>
        </p:style>
      </p:cxnSp>
      <p:cxnSp>
        <p:nvCxnSpPr>
          <p:cNvPr id="61" name="Straight Connector 60"/>
          <p:cNvCxnSpPr/>
          <p:nvPr/>
        </p:nvCxnSpPr>
        <p:spPr>
          <a:xfrm>
            <a:off x="4437422" y="1184882"/>
            <a:ext cx="2802357" cy="5174628"/>
          </a:xfrm>
          <a:prstGeom prst="line">
            <a:avLst/>
          </a:prstGeom>
        </p:spPr>
        <p:style>
          <a:lnRef idx="1">
            <a:schemeClr val="accent2"/>
          </a:lnRef>
          <a:fillRef idx="0">
            <a:schemeClr val="accent2"/>
          </a:fillRef>
          <a:effectRef idx="0">
            <a:schemeClr val="accent2"/>
          </a:effectRef>
          <a:fontRef idx="minor">
            <a:schemeClr val="tx1"/>
          </a:fontRef>
        </p:style>
      </p:cxnSp>
      <p:cxnSp>
        <p:nvCxnSpPr>
          <p:cNvPr id="62" name="Straight Connector 61"/>
          <p:cNvCxnSpPr/>
          <p:nvPr/>
        </p:nvCxnSpPr>
        <p:spPr>
          <a:xfrm flipV="1">
            <a:off x="721084" y="3318482"/>
            <a:ext cx="6762750" cy="917575"/>
          </a:xfrm>
          <a:prstGeom prst="line">
            <a:avLst/>
          </a:prstGeom>
        </p:spPr>
        <p:style>
          <a:lnRef idx="1">
            <a:schemeClr val="accent2"/>
          </a:lnRef>
          <a:fillRef idx="0">
            <a:schemeClr val="accent2"/>
          </a:fillRef>
          <a:effectRef idx="0">
            <a:schemeClr val="accent2"/>
          </a:effectRef>
          <a:fontRef idx="minor">
            <a:schemeClr val="tx1"/>
          </a:fontRef>
        </p:style>
      </p:cxnSp>
      <p:cxnSp>
        <p:nvCxnSpPr>
          <p:cNvPr id="63" name="Straight Connector 62"/>
          <p:cNvCxnSpPr/>
          <p:nvPr/>
        </p:nvCxnSpPr>
        <p:spPr>
          <a:xfrm flipV="1">
            <a:off x="1301262" y="4836133"/>
            <a:ext cx="6838210" cy="910519"/>
          </a:xfrm>
          <a:prstGeom prst="line">
            <a:avLst/>
          </a:prstGeom>
        </p:spPr>
        <p:style>
          <a:lnRef idx="1">
            <a:schemeClr val="accent2"/>
          </a:lnRef>
          <a:fillRef idx="0">
            <a:schemeClr val="accent2"/>
          </a:fillRef>
          <a:effectRef idx="0">
            <a:schemeClr val="accent2"/>
          </a:effectRef>
          <a:fontRef idx="minor">
            <a:schemeClr val="tx1"/>
          </a:fontRef>
        </p:style>
      </p:cxnSp>
      <p:grpSp>
        <p:nvGrpSpPr>
          <p:cNvPr id="64" name="Group 19"/>
          <p:cNvGrpSpPr/>
          <p:nvPr/>
        </p:nvGrpSpPr>
        <p:grpSpPr>
          <a:xfrm>
            <a:off x="3335594" y="3130465"/>
            <a:ext cx="1337363" cy="1337364"/>
            <a:chOff x="2488348" y="1472348"/>
            <a:chExt cx="1119303" cy="1119303"/>
          </a:xfrm>
          <a:scene3d>
            <a:camera prst="orthographicFront">
              <a:rot lat="19584211" lon="19752261" rev="1595378"/>
            </a:camera>
            <a:lightRig rig="threePt" dir="t"/>
          </a:scene3d>
        </p:grpSpPr>
        <p:sp>
          <p:nvSpPr>
            <p:cNvPr id="65" name="Oval 64"/>
            <p:cNvSpPr/>
            <p:nvPr/>
          </p:nvSpPr>
          <p:spPr>
            <a:xfrm>
              <a:off x="2488348" y="1472348"/>
              <a:ext cx="1119303" cy="1119303"/>
            </a:xfrm>
            <a:prstGeom prst="ellipse">
              <a:avLst/>
            </a:prstGeom>
            <a:solidFill>
              <a:srgbClr val="FFC000"/>
            </a:solidFill>
            <a:effectLst>
              <a:glow rad="228600">
                <a:schemeClr val="accent2">
                  <a:satMod val="175000"/>
                  <a:alpha val="40000"/>
                </a:schemeClr>
              </a:glow>
            </a:effectLst>
            <a:sp3d extrusionH="152250" prstMaterial="matte">
              <a:bevelT w="165100" prst="coolSlant"/>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66" name="Oval 4"/>
            <p:cNvSpPr/>
            <p:nvPr/>
          </p:nvSpPr>
          <p:spPr>
            <a:xfrm>
              <a:off x="2652266" y="1636266"/>
              <a:ext cx="791467" cy="791467"/>
            </a:xfrm>
            <a:prstGeom prst="rect">
              <a:avLst/>
            </a:prstGeom>
            <a:sp3d/>
          </p:spPr>
          <p:style>
            <a:lnRef idx="0">
              <a:scrgbClr r="0" g="0" b="0"/>
            </a:lnRef>
            <a:fillRef idx="0">
              <a:scrgbClr r="0" g="0" b="0"/>
            </a:fillRef>
            <a:effectRef idx="0">
              <a:scrgbClr r="0" g="0" b="0"/>
            </a:effectRef>
            <a:fontRef idx="minor">
              <a:schemeClr val="lt1"/>
            </a:fontRef>
          </p:style>
          <p:txBody>
            <a:bodyPr wrap="none" lIns="31115" tIns="31115" rIns="31115" bIns="31115" spcCol="1270" anchor="ctr">
              <a:sp3d extrusionH="28000" prstMaterial="matte"/>
            </a:bodyPr>
            <a:lstStyle/>
            <a:p>
              <a:pPr algn="ctr" defTabSz="2178050">
                <a:lnSpc>
                  <a:spcPct val="90000"/>
                </a:lnSpc>
                <a:spcAft>
                  <a:spcPct val="35000"/>
                </a:spcAft>
                <a:defRPr/>
              </a:pPr>
              <a:r>
                <a:rPr lang="th-TH" sz="6000" dirty="0">
                  <a:solidFill>
                    <a:prstClr val="white"/>
                  </a:solidFill>
                  <a:effectLst>
                    <a:outerShdw blurRad="38100" dist="38100" dir="2700000" algn="tl">
                      <a:srgbClr val="000000">
                        <a:alpha val="43137"/>
                      </a:srgbClr>
                    </a:outerShdw>
                  </a:effectLst>
                  <a:latin typeface="BrowalliaUPC" pitchFamily="34" charset="-34"/>
                  <a:cs typeface="BrowalliaUPC" pitchFamily="34" charset="-34"/>
                </a:rPr>
                <a:t>คน</a:t>
              </a:r>
            </a:p>
          </p:txBody>
        </p:sp>
      </p:grpSp>
      <p:grpSp>
        <p:nvGrpSpPr>
          <p:cNvPr id="72" name="Group 23"/>
          <p:cNvGrpSpPr/>
          <p:nvPr/>
        </p:nvGrpSpPr>
        <p:grpSpPr>
          <a:xfrm>
            <a:off x="912387" y="1831231"/>
            <a:ext cx="1337362" cy="1337364"/>
            <a:chOff x="3946101" y="1472348"/>
            <a:chExt cx="1119303" cy="1119303"/>
          </a:xfrm>
          <a:scene3d>
            <a:camera prst="orthographicFront">
              <a:rot lat="19584211" lon="19752261" rev="1595378"/>
            </a:camera>
            <a:lightRig rig="threePt" dir="t"/>
          </a:scene3d>
        </p:grpSpPr>
        <p:sp>
          <p:nvSpPr>
            <p:cNvPr id="73" name="Oval 72"/>
            <p:cNvSpPr/>
            <p:nvPr/>
          </p:nvSpPr>
          <p:spPr>
            <a:xfrm>
              <a:off x="3946101" y="1472348"/>
              <a:ext cx="1119303" cy="1119303"/>
            </a:xfrm>
            <a:prstGeom prst="ellipse">
              <a:avLst/>
            </a:prstGeom>
            <a:solidFill>
              <a:srgbClr val="86A894"/>
            </a:solidFill>
            <a:sp3d extrusionH="152250" prstMaterial="matte">
              <a:bevelT w="165100" prst="coolSlant"/>
            </a:sp3d>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74" name="Oval 12"/>
            <p:cNvSpPr/>
            <p:nvPr/>
          </p:nvSpPr>
          <p:spPr>
            <a:xfrm>
              <a:off x="4110019" y="1636266"/>
              <a:ext cx="791467" cy="791467"/>
            </a:xfrm>
            <a:prstGeom prst="rect">
              <a:avLst/>
            </a:prstGeom>
            <a:sp3d/>
          </p:spPr>
          <p:style>
            <a:lnRef idx="0">
              <a:scrgbClr r="0" g="0" b="0"/>
            </a:lnRef>
            <a:fillRef idx="0">
              <a:scrgbClr r="0" g="0" b="0"/>
            </a:fillRef>
            <a:effectRef idx="0">
              <a:scrgbClr r="0" g="0" b="0"/>
            </a:effectRef>
            <a:fontRef idx="minor">
              <a:schemeClr val="lt1"/>
            </a:fontRef>
          </p:style>
          <p:txBody>
            <a:bodyPr wrap="none" lIns="12700" tIns="12700" rIns="12700" bIns="12700" spcCol="1270" anchor="ctr">
              <a:sp3d extrusionH="28000" prstMaterial="matte"/>
            </a:bodyPr>
            <a:lstStyle/>
            <a:p>
              <a:pPr algn="ctr" defTabSz="889000">
                <a:lnSpc>
                  <a:spcPct val="90000"/>
                </a:lnSpc>
                <a:spcAft>
                  <a:spcPct val="35000"/>
                </a:spcAft>
                <a:defRPr/>
              </a:pPr>
              <a:r>
                <a:rPr lang="th-TH" sz="4000" dirty="0" smtClean="0">
                  <a:solidFill>
                    <a:prstClr val="white"/>
                  </a:solidFill>
                  <a:effectLst>
                    <a:outerShdw blurRad="38100" dist="38100" dir="2700000" algn="tl">
                      <a:srgbClr val="000000">
                        <a:alpha val="43137"/>
                      </a:srgbClr>
                    </a:outerShdw>
                  </a:effectLst>
                  <a:latin typeface="BrowalliaUPC" pitchFamily="34" charset="-34"/>
                  <a:cs typeface="BrowalliaUPC" pitchFamily="34" charset="-34"/>
                </a:rPr>
                <a:t>แผน</a:t>
              </a:r>
            </a:p>
            <a:p>
              <a:pPr algn="ctr" defTabSz="889000">
                <a:lnSpc>
                  <a:spcPct val="90000"/>
                </a:lnSpc>
                <a:spcAft>
                  <a:spcPct val="35000"/>
                </a:spcAft>
                <a:defRPr/>
              </a:pPr>
              <a:endParaRPr lang="th-TH" sz="2400" dirty="0">
                <a:solidFill>
                  <a:prstClr val="white"/>
                </a:solidFill>
                <a:effectLst>
                  <a:outerShdw blurRad="38100" dist="38100" dir="2700000" algn="tl">
                    <a:srgbClr val="000000">
                      <a:alpha val="43137"/>
                    </a:srgbClr>
                  </a:outerShdw>
                </a:effectLst>
                <a:latin typeface="BrowalliaUPC" pitchFamily="34" charset="-34"/>
                <a:cs typeface="BrowalliaUPC" pitchFamily="34" charset="-34"/>
              </a:endParaRPr>
            </a:p>
          </p:txBody>
        </p:sp>
      </p:grpSp>
      <p:grpSp>
        <p:nvGrpSpPr>
          <p:cNvPr id="75" name="Group 23"/>
          <p:cNvGrpSpPr/>
          <p:nvPr/>
        </p:nvGrpSpPr>
        <p:grpSpPr>
          <a:xfrm>
            <a:off x="4265608" y="1399192"/>
            <a:ext cx="1337363" cy="1337364"/>
            <a:chOff x="3946101" y="1472348"/>
            <a:chExt cx="1119303" cy="1119303"/>
          </a:xfrm>
          <a:scene3d>
            <a:camera prst="orthographicFront">
              <a:rot lat="19584211" lon="19752261" rev="1595378"/>
            </a:camera>
            <a:lightRig rig="threePt" dir="t"/>
          </a:scene3d>
        </p:grpSpPr>
        <p:sp>
          <p:nvSpPr>
            <p:cNvPr id="77" name="Oval 76"/>
            <p:cNvSpPr/>
            <p:nvPr/>
          </p:nvSpPr>
          <p:spPr>
            <a:xfrm>
              <a:off x="3946101" y="1472348"/>
              <a:ext cx="1119303" cy="1119303"/>
            </a:xfrm>
            <a:prstGeom prst="ellipse">
              <a:avLst/>
            </a:prstGeom>
            <a:solidFill>
              <a:schemeClr val="accent5">
                <a:lumMod val="60000"/>
                <a:lumOff val="40000"/>
              </a:schemeClr>
            </a:solidFill>
            <a:sp3d extrusionH="152250" prstMaterial="matte">
              <a:bevelT w="165100" prst="coolSlant"/>
            </a:sp3d>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78" name="Oval 12"/>
            <p:cNvSpPr/>
            <p:nvPr/>
          </p:nvSpPr>
          <p:spPr>
            <a:xfrm>
              <a:off x="4110019" y="1636266"/>
              <a:ext cx="791467" cy="791467"/>
            </a:xfrm>
            <a:prstGeom prst="rect">
              <a:avLst/>
            </a:prstGeom>
            <a:sp3d/>
          </p:spPr>
          <p:style>
            <a:lnRef idx="0">
              <a:scrgbClr r="0" g="0" b="0"/>
            </a:lnRef>
            <a:fillRef idx="0">
              <a:scrgbClr r="0" g="0" b="0"/>
            </a:fillRef>
            <a:effectRef idx="0">
              <a:scrgbClr r="0" g="0" b="0"/>
            </a:effectRef>
            <a:fontRef idx="minor">
              <a:schemeClr val="lt1"/>
            </a:fontRef>
          </p:style>
          <p:txBody>
            <a:bodyPr wrap="none" lIns="12700" tIns="12700" rIns="12700" bIns="12700" spcCol="1270" anchor="ctr">
              <a:prstTxWarp prst="textInflate">
                <a:avLst/>
              </a:prstTxWarp>
            </a:bodyPr>
            <a:lstStyle/>
            <a:p>
              <a:pPr algn="ctr" defTabSz="889000">
                <a:lnSpc>
                  <a:spcPts val="1500"/>
                </a:lnSpc>
                <a:spcAft>
                  <a:spcPct val="35000"/>
                </a:spcAft>
                <a:defRPr/>
              </a:pPr>
              <a:r>
                <a:rPr lang="th-TH" dirty="0">
                  <a:ln w="0"/>
                  <a:solidFill>
                    <a:schemeClr val="bg1"/>
                  </a:solidFill>
                  <a:effectLst>
                    <a:outerShdw blurRad="38100" dist="19050" dir="2700000" algn="tl" rotWithShape="0">
                      <a:prstClr val="black">
                        <a:alpha val="40000"/>
                      </a:prstClr>
                    </a:outerShdw>
                  </a:effectLst>
                  <a:latin typeface="BrowalliaUPC" pitchFamily="34" charset="-34"/>
                  <a:cs typeface="BrowalliaUPC" pitchFamily="34" charset="-34"/>
                </a:rPr>
                <a:t>ความเป็น</a:t>
              </a:r>
              <a:endParaRPr lang="en-US" dirty="0">
                <a:ln w="0"/>
                <a:solidFill>
                  <a:schemeClr val="bg1"/>
                </a:solidFill>
                <a:effectLst>
                  <a:outerShdw blurRad="38100" dist="19050" dir="2700000" algn="tl" rotWithShape="0">
                    <a:prstClr val="black">
                      <a:alpha val="40000"/>
                    </a:prstClr>
                  </a:outerShdw>
                </a:effectLst>
                <a:latin typeface="BrowalliaUPC" pitchFamily="34" charset="-34"/>
                <a:cs typeface="BrowalliaUPC" pitchFamily="34" charset="-34"/>
              </a:endParaRPr>
            </a:p>
            <a:p>
              <a:pPr algn="ctr" defTabSz="889000">
                <a:lnSpc>
                  <a:spcPts val="1500"/>
                </a:lnSpc>
                <a:spcAft>
                  <a:spcPct val="35000"/>
                </a:spcAft>
                <a:defRPr/>
              </a:pPr>
              <a:r>
                <a:rPr lang="th-TH" dirty="0">
                  <a:ln w="0"/>
                  <a:solidFill>
                    <a:schemeClr val="bg1"/>
                  </a:solidFill>
                  <a:effectLst>
                    <a:outerShdw blurRad="38100" dist="19050" dir="2700000" algn="tl" rotWithShape="0">
                      <a:prstClr val="black">
                        <a:alpha val="40000"/>
                      </a:prstClr>
                    </a:outerShdw>
                  </a:effectLst>
                  <a:latin typeface="BrowalliaUPC" pitchFamily="34" charset="-34"/>
                  <a:cs typeface="BrowalliaUPC" pitchFamily="34" charset="-34"/>
                </a:rPr>
                <a:t>ที่ยอมรับ</a:t>
              </a:r>
            </a:p>
          </p:txBody>
        </p:sp>
      </p:grpSp>
      <p:grpSp>
        <p:nvGrpSpPr>
          <p:cNvPr id="79" name="Group 23"/>
          <p:cNvGrpSpPr/>
          <p:nvPr/>
        </p:nvGrpSpPr>
        <p:grpSpPr>
          <a:xfrm>
            <a:off x="5875684" y="4315945"/>
            <a:ext cx="1337363" cy="1337364"/>
            <a:chOff x="3946101" y="1472348"/>
            <a:chExt cx="1119303" cy="1119303"/>
          </a:xfrm>
          <a:scene3d>
            <a:camera prst="orthographicFront">
              <a:rot lat="19584211" lon="19752261" rev="1595378"/>
            </a:camera>
            <a:lightRig rig="threePt" dir="t"/>
          </a:scene3d>
        </p:grpSpPr>
        <p:sp>
          <p:nvSpPr>
            <p:cNvPr id="80" name="Oval 79"/>
            <p:cNvSpPr/>
            <p:nvPr/>
          </p:nvSpPr>
          <p:spPr>
            <a:xfrm>
              <a:off x="3946101" y="1472348"/>
              <a:ext cx="1119303" cy="1119303"/>
            </a:xfrm>
            <a:prstGeom prst="ellipse">
              <a:avLst/>
            </a:prstGeom>
            <a:solidFill>
              <a:srgbClr val="666280"/>
            </a:solidFill>
            <a:sp3d extrusionH="152250" prstMaterial="matte">
              <a:bevelT w="165100" prst="coolSlant"/>
            </a:sp3d>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85" name="Oval 12"/>
            <p:cNvSpPr/>
            <p:nvPr/>
          </p:nvSpPr>
          <p:spPr>
            <a:xfrm>
              <a:off x="4110019" y="1636266"/>
              <a:ext cx="791467" cy="791467"/>
            </a:xfrm>
            <a:prstGeom prst="rect">
              <a:avLst/>
            </a:prstGeom>
            <a:sp3d/>
          </p:spPr>
          <p:style>
            <a:lnRef idx="0">
              <a:scrgbClr r="0" g="0" b="0"/>
            </a:lnRef>
            <a:fillRef idx="0">
              <a:scrgbClr r="0" g="0" b="0"/>
            </a:fillRef>
            <a:effectRef idx="0">
              <a:scrgbClr r="0" g="0" b="0"/>
            </a:effectRef>
            <a:fontRef idx="minor">
              <a:schemeClr val="lt1"/>
            </a:fontRef>
          </p:style>
          <p:txBody>
            <a:bodyPr wrap="none" lIns="12700" tIns="12700" rIns="12700" bIns="12700" spcCol="1270" anchor="ctr">
              <a:sp3d extrusionH="28000" prstMaterial="matte"/>
            </a:bodyPr>
            <a:lstStyle/>
            <a:p>
              <a:pPr algn="ctr" defTabSz="889000">
                <a:lnSpc>
                  <a:spcPct val="90000"/>
                </a:lnSpc>
                <a:spcAft>
                  <a:spcPct val="35000"/>
                </a:spcAft>
                <a:defRPr/>
              </a:pPr>
              <a:r>
                <a:rPr lang="th-TH" sz="4800" dirty="0">
                  <a:solidFill>
                    <a:prstClr val="white"/>
                  </a:solidFill>
                  <a:effectLst>
                    <a:outerShdw blurRad="38100" dist="38100" dir="2700000" algn="tl">
                      <a:srgbClr val="000000">
                        <a:alpha val="43137"/>
                      </a:srgbClr>
                    </a:outerShdw>
                  </a:effectLst>
                  <a:latin typeface="BrowalliaUPC" pitchFamily="34" charset="-34"/>
                  <a:cs typeface="BrowalliaUPC" pitchFamily="34" charset="-34"/>
                </a:rPr>
                <a:t>เงิน</a:t>
              </a:r>
            </a:p>
          </p:txBody>
        </p:sp>
      </p:grpSp>
      <p:grpSp>
        <p:nvGrpSpPr>
          <p:cNvPr id="86" name="Group 25"/>
          <p:cNvGrpSpPr/>
          <p:nvPr/>
        </p:nvGrpSpPr>
        <p:grpSpPr>
          <a:xfrm>
            <a:off x="4152542" y="4572824"/>
            <a:ext cx="1337363" cy="1337364"/>
            <a:chOff x="2488348" y="2930101"/>
            <a:chExt cx="1119303" cy="1119303"/>
          </a:xfrm>
          <a:effectLst>
            <a:glow rad="228600">
              <a:schemeClr val="accent2">
                <a:satMod val="175000"/>
                <a:alpha val="40000"/>
              </a:schemeClr>
            </a:glow>
          </a:effectLst>
          <a:scene3d>
            <a:camera prst="orthographicFront">
              <a:rot lat="19584211" lon="19752261" rev="1595378"/>
            </a:camera>
            <a:lightRig rig="threePt" dir="t"/>
          </a:scene3d>
        </p:grpSpPr>
        <p:sp>
          <p:nvSpPr>
            <p:cNvPr id="87" name="Oval 86"/>
            <p:cNvSpPr/>
            <p:nvPr/>
          </p:nvSpPr>
          <p:spPr>
            <a:xfrm>
              <a:off x="2488348" y="2930101"/>
              <a:ext cx="1119303" cy="1119303"/>
            </a:xfrm>
            <a:prstGeom prst="ellipse">
              <a:avLst/>
            </a:prstGeom>
            <a:solidFill>
              <a:schemeClr val="accent2">
                <a:lumMod val="75000"/>
              </a:schemeClr>
            </a:solidFill>
            <a:sp3d extrusionH="152250" prstMaterial="matte">
              <a:bevelT w="165100" prst="coolSlant"/>
            </a:sp3d>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sp>
        <p:sp>
          <p:nvSpPr>
            <p:cNvPr id="88" name="Oval 16"/>
            <p:cNvSpPr/>
            <p:nvPr/>
          </p:nvSpPr>
          <p:spPr>
            <a:xfrm>
              <a:off x="2652266" y="3094019"/>
              <a:ext cx="791467" cy="791467"/>
            </a:xfrm>
            <a:prstGeom prst="rect">
              <a:avLst/>
            </a:prstGeom>
            <a:sp3d/>
          </p:spPr>
          <p:style>
            <a:lnRef idx="0">
              <a:scrgbClr r="0" g="0" b="0"/>
            </a:lnRef>
            <a:fillRef idx="0">
              <a:scrgbClr r="0" g="0" b="0"/>
            </a:fillRef>
            <a:effectRef idx="0">
              <a:scrgbClr r="0" g="0" b="0"/>
            </a:effectRef>
            <a:fontRef idx="minor">
              <a:schemeClr val="lt1"/>
            </a:fontRef>
          </p:style>
          <p:txBody>
            <a:bodyPr wrap="none" lIns="12700" tIns="12700" rIns="12700" bIns="12700" spcCol="1270" anchor="ctr">
              <a:prstTxWarp prst="textInflate">
                <a:avLst/>
              </a:prstTxWarp>
              <a:sp3d extrusionH="28000" prstMaterial="matte"/>
            </a:bodyPr>
            <a:lstStyle/>
            <a:p>
              <a:pPr algn="ctr" defTabSz="889000">
                <a:lnSpc>
                  <a:spcPts val="1500"/>
                </a:lnSpc>
                <a:spcAft>
                  <a:spcPct val="35000"/>
                </a:spcAft>
                <a:defRPr/>
              </a:pPr>
              <a:r>
                <a:rPr lang="th-TH" sz="4400" b="1" dirty="0">
                  <a:ln w="11430"/>
                  <a:gradFill>
                    <a:gsLst>
                      <a:gs pos="0">
                        <a:srgbClr val="CCAF0A">
                          <a:tint val="70000"/>
                          <a:satMod val="245000"/>
                        </a:srgbClr>
                      </a:gs>
                      <a:gs pos="75000">
                        <a:srgbClr val="CCAF0A">
                          <a:tint val="90000"/>
                          <a:shade val="60000"/>
                          <a:satMod val="240000"/>
                        </a:srgbClr>
                      </a:gs>
                      <a:gs pos="100000">
                        <a:srgbClr val="CCAF0A">
                          <a:tint val="100000"/>
                          <a:shade val="50000"/>
                          <a:satMod val="240000"/>
                        </a:srgbClr>
                      </a:gs>
                    </a:gsLst>
                    <a:lin ang="5400000"/>
                  </a:gradFill>
                  <a:effectLst>
                    <a:outerShdw blurRad="50800" dist="39000" dir="5460000" algn="tl">
                      <a:srgbClr val="000000">
                        <a:alpha val="38000"/>
                      </a:srgbClr>
                    </a:outerShdw>
                  </a:effectLst>
                  <a:latin typeface="Browallia New" pitchFamily="34" charset="-34"/>
                  <a:cs typeface="Browallia New" pitchFamily="34" charset="-34"/>
                </a:rPr>
                <a:t>สร้างสรรค์</a:t>
              </a:r>
              <a:endParaRPr lang="en-US" sz="4400" b="1" dirty="0">
                <a:ln w="11430"/>
                <a:gradFill>
                  <a:gsLst>
                    <a:gs pos="0">
                      <a:srgbClr val="CCAF0A">
                        <a:tint val="70000"/>
                        <a:satMod val="245000"/>
                      </a:srgbClr>
                    </a:gs>
                    <a:gs pos="75000">
                      <a:srgbClr val="CCAF0A">
                        <a:tint val="90000"/>
                        <a:shade val="60000"/>
                        <a:satMod val="240000"/>
                      </a:srgbClr>
                    </a:gs>
                    <a:gs pos="100000">
                      <a:srgbClr val="CCAF0A">
                        <a:tint val="100000"/>
                        <a:shade val="50000"/>
                        <a:satMod val="240000"/>
                      </a:srgbClr>
                    </a:gs>
                  </a:gsLst>
                  <a:lin ang="5400000"/>
                </a:gradFill>
                <a:effectLst>
                  <a:outerShdw blurRad="50800" dist="39000" dir="5460000" algn="tl">
                    <a:srgbClr val="000000">
                      <a:alpha val="38000"/>
                    </a:srgbClr>
                  </a:outerShdw>
                </a:effectLst>
                <a:latin typeface="Browallia New" pitchFamily="34" charset="-34"/>
                <a:cs typeface="Browallia New" pitchFamily="34" charset="-34"/>
              </a:endParaRPr>
            </a:p>
            <a:p>
              <a:pPr algn="ctr" defTabSz="889000">
                <a:lnSpc>
                  <a:spcPts val="1500"/>
                </a:lnSpc>
                <a:spcAft>
                  <a:spcPct val="35000"/>
                </a:spcAft>
                <a:defRPr/>
              </a:pPr>
              <a:r>
                <a:rPr lang="th-TH" sz="4400" b="1" dirty="0">
                  <a:ln w="11430"/>
                  <a:gradFill>
                    <a:gsLst>
                      <a:gs pos="0">
                        <a:srgbClr val="CCAF0A">
                          <a:tint val="70000"/>
                          <a:satMod val="245000"/>
                        </a:srgbClr>
                      </a:gs>
                      <a:gs pos="75000">
                        <a:srgbClr val="CCAF0A">
                          <a:tint val="90000"/>
                          <a:shade val="60000"/>
                          <a:satMod val="240000"/>
                        </a:srgbClr>
                      </a:gs>
                      <a:gs pos="100000">
                        <a:srgbClr val="CCAF0A">
                          <a:tint val="100000"/>
                          <a:shade val="50000"/>
                          <a:satMod val="240000"/>
                        </a:srgbClr>
                      </a:gs>
                    </a:gsLst>
                    <a:lin ang="5400000"/>
                  </a:gradFill>
                  <a:effectLst>
                    <a:outerShdw blurRad="50800" dist="39000" dir="5460000" algn="tl">
                      <a:srgbClr val="000000">
                        <a:alpha val="38000"/>
                      </a:srgbClr>
                    </a:outerShdw>
                  </a:effectLst>
                  <a:latin typeface="Browallia New" pitchFamily="34" charset="-34"/>
                  <a:cs typeface="Browallia New" pitchFamily="34" charset="-34"/>
                </a:rPr>
                <a:t>นวัตกรรม</a:t>
              </a:r>
              <a:endParaRPr lang="th-TH" sz="4400" dirty="0">
                <a:solidFill>
                  <a:prstClr val="white"/>
                </a:solidFill>
                <a:effectLst>
                  <a:outerShdw blurRad="38100" dist="38100" dir="2700000" algn="tl">
                    <a:srgbClr val="000000">
                      <a:alpha val="43137"/>
                    </a:srgbClr>
                  </a:outerShdw>
                </a:effectLst>
                <a:latin typeface="BrowalliaUPC" pitchFamily="34" charset="-34"/>
                <a:cs typeface="BrowalliaUPC" pitchFamily="34" charset="-34"/>
              </a:endParaRPr>
            </a:p>
          </p:txBody>
        </p:sp>
      </p:grpSp>
      <p:grpSp>
        <p:nvGrpSpPr>
          <p:cNvPr id="89" name="Group 27"/>
          <p:cNvGrpSpPr/>
          <p:nvPr/>
        </p:nvGrpSpPr>
        <p:grpSpPr>
          <a:xfrm>
            <a:off x="1525953" y="3347220"/>
            <a:ext cx="1337363" cy="1337364"/>
            <a:chOff x="1030594" y="1472348"/>
            <a:chExt cx="1119303" cy="1119303"/>
          </a:xfrm>
          <a:scene3d>
            <a:camera prst="orthographicFront">
              <a:rot lat="19584211" lon="19752261" rev="1595378"/>
            </a:camera>
            <a:lightRig rig="threePt" dir="t"/>
          </a:scene3d>
        </p:grpSpPr>
        <p:sp>
          <p:nvSpPr>
            <p:cNvPr id="90" name="Oval 89"/>
            <p:cNvSpPr/>
            <p:nvPr/>
          </p:nvSpPr>
          <p:spPr>
            <a:xfrm>
              <a:off x="1030594" y="1472348"/>
              <a:ext cx="1119303" cy="1119303"/>
            </a:xfrm>
            <a:prstGeom prst="ellipse">
              <a:avLst/>
            </a:prstGeom>
            <a:sp3d extrusionH="152250" prstMaterial="matte">
              <a:bevelT w="165100" prst="coolSlant"/>
            </a:sp3d>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sp>
        <p:sp>
          <p:nvSpPr>
            <p:cNvPr id="91" name="Oval 20"/>
            <p:cNvSpPr/>
            <p:nvPr/>
          </p:nvSpPr>
          <p:spPr>
            <a:xfrm>
              <a:off x="1194512" y="1636266"/>
              <a:ext cx="791467" cy="791467"/>
            </a:xfrm>
            <a:prstGeom prst="rect">
              <a:avLst/>
            </a:prstGeom>
            <a:sp3d extrusionH="152250" prstMaterial="matte">
              <a:bevelT w="165100" prst="coolSlant"/>
            </a:sp3d>
          </p:spPr>
          <p:style>
            <a:lnRef idx="0">
              <a:schemeClr val="lt1">
                <a:hueOff val="0"/>
                <a:satOff val="0"/>
                <a:lumOff val="0"/>
                <a:alphaOff val="0"/>
              </a:schemeClr>
            </a:lnRef>
            <a:fillRef idx="1">
              <a:schemeClr val="accent4">
                <a:hueOff val="0"/>
                <a:satOff val="0"/>
                <a:lumOff val="0"/>
                <a:alphaOff val="0"/>
              </a:schemeClr>
            </a:fillRef>
            <a:effectRef idx="2">
              <a:schemeClr val="accent4">
                <a:hueOff val="0"/>
                <a:satOff val="0"/>
                <a:lumOff val="0"/>
                <a:alphaOff val="0"/>
              </a:schemeClr>
            </a:effectRef>
            <a:fontRef idx="minor">
              <a:schemeClr val="lt1"/>
            </a:fontRef>
          </p:style>
          <p:txBody>
            <a:bodyPr wrap="none" lIns="12700" tIns="12700" rIns="12700" bIns="12700" spcCol="1270" anchor="ctr">
              <a:prstTxWarp prst="textInflate">
                <a:avLst/>
              </a:prstTxWarp>
              <a:sp3d extrusionH="28000" prstMaterial="matte"/>
            </a:bodyPr>
            <a:lstStyle/>
            <a:p>
              <a:pPr algn="ctr" defTabSz="889000">
                <a:lnSpc>
                  <a:spcPts val="2000"/>
                </a:lnSpc>
                <a:spcAft>
                  <a:spcPct val="35000"/>
                </a:spcAft>
                <a:defRPr/>
              </a:pPr>
              <a:r>
                <a:rPr lang="th-TH" sz="3600" b="1" dirty="0">
                  <a:solidFill>
                    <a:srgbClr val="CC3300"/>
                  </a:solidFill>
                  <a:effectLst>
                    <a:outerShdw blurRad="38100" dist="38100" dir="2700000" algn="tl">
                      <a:srgbClr val="000000">
                        <a:alpha val="43137"/>
                      </a:srgbClr>
                    </a:outerShdw>
                  </a:effectLst>
                  <a:latin typeface="BrowalliaUPC" pitchFamily="34" charset="-34"/>
                  <a:cs typeface="BrowalliaUPC" pitchFamily="34" charset="-34"/>
                </a:rPr>
                <a:t>ความ</a:t>
              </a:r>
              <a:endParaRPr lang="en-US" sz="3600" b="1" dirty="0">
                <a:solidFill>
                  <a:srgbClr val="CC3300"/>
                </a:solidFill>
                <a:effectLst>
                  <a:outerShdw blurRad="38100" dist="38100" dir="2700000" algn="tl">
                    <a:srgbClr val="000000">
                      <a:alpha val="43137"/>
                    </a:srgbClr>
                  </a:outerShdw>
                </a:effectLst>
                <a:latin typeface="BrowalliaUPC" pitchFamily="34" charset="-34"/>
                <a:cs typeface="BrowalliaUPC" pitchFamily="34" charset="-34"/>
              </a:endParaRPr>
            </a:p>
            <a:p>
              <a:pPr algn="ctr" defTabSz="889000">
                <a:lnSpc>
                  <a:spcPts val="2000"/>
                </a:lnSpc>
                <a:spcAft>
                  <a:spcPct val="35000"/>
                </a:spcAft>
                <a:defRPr/>
              </a:pPr>
              <a:r>
                <a:rPr lang="th-TH" sz="3600" b="1" dirty="0">
                  <a:solidFill>
                    <a:srgbClr val="CC3300"/>
                  </a:solidFill>
                  <a:effectLst>
                    <a:outerShdw blurRad="38100" dist="38100" dir="2700000" algn="tl">
                      <a:srgbClr val="000000">
                        <a:alpha val="43137"/>
                      </a:srgbClr>
                    </a:outerShdw>
                  </a:effectLst>
                  <a:latin typeface="BrowalliaUPC" pitchFamily="34" charset="-34"/>
                  <a:cs typeface="BrowalliaUPC" pitchFamily="34" charset="-34"/>
                </a:rPr>
                <a:t>เปลี่ยน</a:t>
              </a:r>
              <a:endParaRPr lang="en-US" sz="3600" b="1" dirty="0">
                <a:solidFill>
                  <a:srgbClr val="CC3300"/>
                </a:solidFill>
                <a:effectLst>
                  <a:outerShdw blurRad="38100" dist="38100" dir="2700000" algn="tl">
                    <a:srgbClr val="000000">
                      <a:alpha val="43137"/>
                    </a:srgbClr>
                  </a:outerShdw>
                </a:effectLst>
                <a:latin typeface="BrowalliaUPC" pitchFamily="34" charset="-34"/>
                <a:cs typeface="BrowalliaUPC" pitchFamily="34" charset="-34"/>
              </a:endParaRPr>
            </a:p>
            <a:p>
              <a:pPr algn="ctr" defTabSz="889000">
                <a:lnSpc>
                  <a:spcPts val="2000"/>
                </a:lnSpc>
                <a:spcAft>
                  <a:spcPct val="35000"/>
                </a:spcAft>
                <a:defRPr/>
              </a:pPr>
              <a:r>
                <a:rPr lang="th-TH" sz="3600" b="1" dirty="0">
                  <a:solidFill>
                    <a:srgbClr val="CC3300"/>
                  </a:solidFill>
                  <a:effectLst>
                    <a:outerShdw blurRad="38100" dist="38100" dir="2700000" algn="tl">
                      <a:srgbClr val="000000">
                        <a:alpha val="43137"/>
                      </a:srgbClr>
                    </a:outerShdw>
                  </a:effectLst>
                  <a:latin typeface="BrowalliaUPC" pitchFamily="34" charset="-34"/>
                  <a:cs typeface="BrowalliaUPC" pitchFamily="34" charset="-34"/>
                </a:rPr>
                <a:t>แปลง</a:t>
              </a:r>
            </a:p>
          </p:txBody>
        </p:sp>
      </p:grpSp>
      <p:grpSp>
        <p:nvGrpSpPr>
          <p:cNvPr id="92" name="Group 23"/>
          <p:cNvGrpSpPr/>
          <p:nvPr/>
        </p:nvGrpSpPr>
        <p:grpSpPr>
          <a:xfrm>
            <a:off x="2450750" y="4802575"/>
            <a:ext cx="1337362" cy="1337363"/>
            <a:chOff x="3946101" y="1472348"/>
            <a:chExt cx="1119303" cy="1119303"/>
          </a:xfrm>
          <a:scene3d>
            <a:camera prst="orthographicFront">
              <a:rot lat="19584211" lon="19752261" rev="1595378"/>
            </a:camera>
            <a:lightRig rig="threePt" dir="t"/>
          </a:scene3d>
        </p:grpSpPr>
        <p:sp>
          <p:nvSpPr>
            <p:cNvPr id="93" name="Oval 92"/>
            <p:cNvSpPr/>
            <p:nvPr/>
          </p:nvSpPr>
          <p:spPr>
            <a:xfrm>
              <a:off x="3946101" y="1472348"/>
              <a:ext cx="1119303" cy="1119303"/>
            </a:xfrm>
            <a:prstGeom prst="ellipse">
              <a:avLst/>
            </a:prstGeom>
            <a:solidFill>
              <a:srgbClr val="6E974F"/>
            </a:solidFill>
            <a:sp3d extrusionH="152250" prstMaterial="matte">
              <a:bevelT w="165100" prst="coolSlant"/>
            </a:sp3d>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94" name="Oval 12"/>
            <p:cNvSpPr/>
            <p:nvPr/>
          </p:nvSpPr>
          <p:spPr>
            <a:xfrm>
              <a:off x="4110019" y="1636266"/>
              <a:ext cx="791467" cy="791467"/>
            </a:xfrm>
            <a:prstGeom prst="rect">
              <a:avLst/>
            </a:prstGeom>
            <a:sp3d/>
          </p:spPr>
          <p:style>
            <a:lnRef idx="0">
              <a:scrgbClr r="0" g="0" b="0"/>
            </a:lnRef>
            <a:fillRef idx="0">
              <a:scrgbClr r="0" g="0" b="0"/>
            </a:fillRef>
            <a:effectRef idx="0">
              <a:scrgbClr r="0" g="0" b="0"/>
            </a:effectRef>
            <a:fontRef idx="minor">
              <a:schemeClr val="lt1"/>
            </a:fontRef>
          </p:style>
          <p:txBody>
            <a:bodyPr wrap="none" lIns="12700" tIns="12700" rIns="12700" bIns="12700" spcCol="1270" anchor="ctr">
              <a:prstTxWarp prst="textInflate">
                <a:avLst/>
              </a:prstTxWarp>
              <a:sp3d extrusionH="28000" prstMaterial="matte"/>
            </a:bodyPr>
            <a:lstStyle/>
            <a:p>
              <a:pPr algn="ctr">
                <a:lnSpc>
                  <a:spcPts val="3500"/>
                </a:lnSpc>
                <a:defRPr/>
              </a:pPr>
              <a:r>
                <a:rPr lang="th-TH" sz="3600" b="1" dirty="0">
                  <a:ln w="11430"/>
                  <a:gradFill>
                    <a:gsLst>
                      <a:gs pos="0">
                        <a:srgbClr val="CCAF0A">
                          <a:tint val="70000"/>
                          <a:satMod val="245000"/>
                        </a:srgbClr>
                      </a:gs>
                      <a:gs pos="75000">
                        <a:srgbClr val="CCAF0A">
                          <a:tint val="90000"/>
                          <a:shade val="60000"/>
                          <a:satMod val="240000"/>
                        </a:srgbClr>
                      </a:gs>
                      <a:gs pos="100000">
                        <a:srgbClr val="CCAF0A">
                          <a:tint val="100000"/>
                          <a:shade val="50000"/>
                          <a:satMod val="240000"/>
                        </a:srgbClr>
                      </a:gs>
                    </a:gsLst>
                    <a:lin ang="5400000"/>
                  </a:gradFill>
                  <a:effectLst>
                    <a:outerShdw blurRad="50800" dist="39000" dir="5460000" algn="tl">
                      <a:srgbClr val="000000">
                        <a:alpha val="38000"/>
                      </a:srgbClr>
                    </a:outerShdw>
                  </a:effectLst>
                  <a:latin typeface="Browallia New" pitchFamily="34" charset="-34"/>
                  <a:cs typeface="Browallia New" pitchFamily="34" charset="-34"/>
                </a:rPr>
                <a:t>ความ</a:t>
              </a:r>
              <a:endParaRPr lang="en-US" sz="3600" b="1" dirty="0">
                <a:ln w="11430"/>
                <a:gradFill>
                  <a:gsLst>
                    <a:gs pos="0">
                      <a:srgbClr val="CCAF0A">
                        <a:tint val="70000"/>
                        <a:satMod val="245000"/>
                      </a:srgbClr>
                    </a:gs>
                    <a:gs pos="75000">
                      <a:srgbClr val="CCAF0A">
                        <a:tint val="90000"/>
                        <a:shade val="60000"/>
                        <a:satMod val="240000"/>
                      </a:srgbClr>
                    </a:gs>
                    <a:gs pos="100000">
                      <a:srgbClr val="CCAF0A">
                        <a:tint val="100000"/>
                        <a:shade val="50000"/>
                        <a:satMod val="240000"/>
                      </a:srgbClr>
                    </a:gs>
                  </a:gsLst>
                  <a:lin ang="5400000"/>
                </a:gradFill>
                <a:effectLst>
                  <a:outerShdw blurRad="50800" dist="39000" dir="5460000" algn="tl">
                    <a:srgbClr val="000000">
                      <a:alpha val="38000"/>
                    </a:srgbClr>
                  </a:outerShdw>
                </a:effectLst>
                <a:latin typeface="Browallia New" pitchFamily="34" charset="-34"/>
                <a:cs typeface="Browallia New" pitchFamily="34" charset="-34"/>
              </a:endParaRPr>
            </a:p>
            <a:p>
              <a:pPr algn="ctr">
                <a:lnSpc>
                  <a:spcPts val="3500"/>
                </a:lnSpc>
                <a:defRPr/>
              </a:pPr>
              <a:r>
                <a:rPr lang="th-TH" sz="3600" b="1" dirty="0">
                  <a:ln w="11430"/>
                  <a:gradFill>
                    <a:gsLst>
                      <a:gs pos="0">
                        <a:srgbClr val="CCAF0A">
                          <a:tint val="70000"/>
                          <a:satMod val="245000"/>
                        </a:srgbClr>
                      </a:gs>
                      <a:gs pos="75000">
                        <a:srgbClr val="CCAF0A">
                          <a:tint val="90000"/>
                          <a:shade val="60000"/>
                          <a:satMod val="240000"/>
                        </a:srgbClr>
                      </a:gs>
                      <a:gs pos="100000">
                        <a:srgbClr val="CCAF0A">
                          <a:tint val="100000"/>
                          <a:shade val="50000"/>
                          <a:satMod val="240000"/>
                        </a:srgbClr>
                      </a:gs>
                    </a:gsLst>
                    <a:lin ang="5400000"/>
                  </a:gradFill>
                  <a:effectLst>
                    <a:outerShdw blurRad="50800" dist="39000" dir="5460000" algn="tl">
                      <a:srgbClr val="000000">
                        <a:alpha val="38000"/>
                      </a:srgbClr>
                    </a:outerShdw>
                  </a:effectLst>
                  <a:latin typeface="Browallia New" pitchFamily="34" charset="-34"/>
                  <a:cs typeface="Browallia New" pitchFamily="34" charset="-34"/>
                </a:rPr>
                <a:t>แตกต่าง</a:t>
              </a:r>
              <a:endParaRPr lang="th-TH" sz="3600" b="1" dirty="0">
                <a:ln w="11430"/>
                <a:gradFill>
                  <a:gsLst>
                    <a:gs pos="0">
                      <a:srgbClr val="CCAF0A">
                        <a:tint val="70000"/>
                        <a:satMod val="245000"/>
                      </a:srgbClr>
                    </a:gs>
                    <a:gs pos="75000">
                      <a:srgbClr val="CCAF0A">
                        <a:tint val="90000"/>
                        <a:shade val="60000"/>
                        <a:satMod val="240000"/>
                      </a:srgbClr>
                    </a:gs>
                    <a:gs pos="100000">
                      <a:srgbClr val="CCAF0A">
                        <a:tint val="100000"/>
                        <a:shade val="50000"/>
                        <a:satMod val="240000"/>
                      </a:srgbClr>
                    </a:gs>
                  </a:gsLst>
                  <a:lin ang="5400000"/>
                </a:gradFill>
                <a:effectLst>
                  <a:outerShdw blurRad="50800" dist="39000" dir="5460000" algn="tl">
                    <a:srgbClr val="000000">
                      <a:alpha val="38000"/>
                    </a:srgbClr>
                  </a:outerShdw>
                </a:effectLst>
              </a:endParaRPr>
            </a:p>
          </p:txBody>
        </p:sp>
      </p:grpSp>
      <p:grpSp>
        <p:nvGrpSpPr>
          <p:cNvPr id="95" name="Group 21"/>
          <p:cNvGrpSpPr/>
          <p:nvPr/>
        </p:nvGrpSpPr>
        <p:grpSpPr>
          <a:xfrm>
            <a:off x="2596593" y="1670050"/>
            <a:ext cx="1337363" cy="1337364"/>
            <a:chOff x="2488348" y="14594"/>
            <a:chExt cx="1119303" cy="1119303"/>
          </a:xfrm>
          <a:scene3d>
            <a:camera prst="orthographicFront">
              <a:rot lat="19584211" lon="19752261" rev="1595378"/>
            </a:camera>
            <a:lightRig rig="threePt" dir="t"/>
          </a:scene3d>
        </p:grpSpPr>
        <p:sp>
          <p:nvSpPr>
            <p:cNvPr id="96" name="Oval 95"/>
            <p:cNvSpPr/>
            <p:nvPr/>
          </p:nvSpPr>
          <p:spPr>
            <a:xfrm>
              <a:off x="2488348" y="14594"/>
              <a:ext cx="1119303" cy="1119303"/>
            </a:xfrm>
            <a:prstGeom prst="ellipse">
              <a:avLst/>
            </a:prstGeom>
            <a:sp3d extrusionH="152250" prstMaterial="matte">
              <a:bevelT w="165100" prst="coolSlant"/>
            </a:sp3d>
          </p:spPr>
          <p:style>
            <a:lnRef idx="0">
              <a:schemeClr val="lt1">
                <a:hueOff val="0"/>
                <a:satOff val="0"/>
                <a:lumOff val="0"/>
                <a:alphaOff val="0"/>
              </a:schemeClr>
            </a:lnRef>
            <a:fillRef idx="1">
              <a:schemeClr val="accent5">
                <a:hueOff val="0"/>
                <a:satOff val="0"/>
                <a:lumOff val="0"/>
                <a:alphaOff val="0"/>
              </a:schemeClr>
            </a:fillRef>
            <a:effectRef idx="2">
              <a:schemeClr val="accent5">
                <a:hueOff val="0"/>
                <a:satOff val="0"/>
                <a:lumOff val="0"/>
                <a:alphaOff val="0"/>
              </a:schemeClr>
            </a:effectRef>
            <a:fontRef idx="minor">
              <a:schemeClr val="lt1"/>
            </a:fontRef>
          </p:style>
        </p:sp>
        <p:sp>
          <p:nvSpPr>
            <p:cNvPr id="97" name="Oval 8"/>
            <p:cNvSpPr/>
            <p:nvPr/>
          </p:nvSpPr>
          <p:spPr>
            <a:xfrm>
              <a:off x="2652266" y="178512"/>
              <a:ext cx="791467" cy="791467"/>
            </a:xfrm>
            <a:prstGeom prst="rect">
              <a:avLst/>
            </a:prstGeom>
            <a:sp3d extrusionH="152250" prstMaterial="matte">
              <a:bevelT w="165100" prst="coolSlant"/>
            </a:sp3d>
          </p:spPr>
          <p:style>
            <a:lnRef idx="0">
              <a:schemeClr val="lt1">
                <a:hueOff val="0"/>
                <a:satOff val="0"/>
                <a:lumOff val="0"/>
                <a:alphaOff val="0"/>
              </a:schemeClr>
            </a:lnRef>
            <a:fillRef idx="1">
              <a:schemeClr val="accent5">
                <a:hueOff val="0"/>
                <a:satOff val="0"/>
                <a:lumOff val="0"/>
                <a:alphaOff val="0"/>
              </a:schemeClr>
            </a:fillRef>
            <a:effectRef idx="2">
              <a:schemeClr val="accent5">
                <a:hueOff val="0"/>
                <a:satOff val="0"/>
                <a:lumOff val="0"/>
                <a:alphaOff val="0"/>
              </a:schemeClr>
            </a:effectRef>
            <a:fontRef idx="minor">
              <a:schemeClr val="lt1"/>
            </a:fontRef>
          </p:style>
          <p:txBody>
            <a:bodyPr wrap="none" lIns="12700" tIns="12700" rIns="12700" bIns="12700" spcCol="1270" anchor="ctr">
              <a:prstTxWarp prst="textInflate">
                <a:avLst/>
              </a:prstTxWarp>
              <a:sp3d extrusionH="28000" prstMaterial="matte"/>
            </a:bodyPr>
            <a:lstStyle/>
            <a:p>
              <a:pPr algn="ctr" defTabSz="889000">
                <a:lnSpc>
                  <a:spcPts val="1500"/>
                </a:lnSpc>
                <a:spcAft>
                  <a:spcPct val="35000"/>
                </a:spcAft>
                <a:defRPr/>
              </a:pPr>
              <a:r>
                <a:rPr lang="th-TH" sz="3200" b="1" dirty="0" smtClean="0">
                  <a:solidFill>
                    <a:prstClr val="white"/>
                  </a:solidFill>
                  <a:effectLst>
                    <a:outerShdw blurRad="38100" dist="38100" dir="2700000" algn="tl">
                      <a:srgbClr val="000000">
                        <a:alpha val="43137"/>
                      </a:srgbClr>
                    </a:outerShdw>
                  </a:effectLst>
                  <a:latin typeface="BrowalliaUPC" pitchFamily="34" charset="-34"/>
                  <a:cs typeface="BrowalliaUPC" pitchFamily="34" charset="-34"/>
                </a:rPr>
                <a:t>การเพิ่ม</a:t>
              </a:r>
              <a:endParaRPr lang="en-US" sz="3200" b="1" dirty="0" smtClean="0">
                <a:solidFill>
                  <a:prstClr val="white"/>
                </a:solidFill>
                <a:effectLst>
                  <a:outerShdw blurRad="38100" dist="38100" dir="2700000" algn="tl">
                    <a:srgbClr val="000000">
                      <a:alpha val="43137"/>
                    </a:srgbClr>
                  </a:outerShdw>
                </a:effectLst>
                <a:latin typeface="BrowalliaUPC" pitchFamily="34" charset="-34"/>
                <a:cs typeface="BrowalliaUPC" pitchFamily="34" charset="-34"/>
              </a:endParaRPr>
            </a:p>
            <a:p>
              <a:pPr algn="ctr" defTabSz="889000">
                <a:lnSpc>
                  <a:spcPts val="1500"/>
                </a:lnSpc>
                <a:spcAft>
                  <a:spcPct val="35000"/>
                </a:spcAft>
                <a:defRPr/>
              </a:pPr>
              <a:r>
                <a:rPr lang="th-TH" sz="3200" b="1" dirty="0" smtClean="0">
                  <a:solidFill>
                    <a:prstClr val="white"/>
                  </a:solidFill>
                  <a:effectLst>
                    <a:outerShdw blurRad="38100" dist="38100" dir="2700000" algn="tl">
                      <a:srgbClr val="000000">
                        <a:alpha val="43137"/>
                      </a:srgbClr>
                    </a:outerShdw>
                  </a:effectLst>
                  <a:latin typeface="BrowalliaUPC" pitchFamily="34" charset="-34"/>
                  <a:cs typeface="BrowalliaUPC" pitchFamily="34" charset="-34"/>
                </a:rPr>
                <a:t>คุณภาพ</a:t>
              </a:r>
              <a:endParaRPr lang="th-TH" sz="3200" b="1" dirty="0">
                <a:solidFill>
                  <a:prstClr val="white"/>
                </a:solidFill>
                <a:effectLst>
                  <a:outerShdw blurRad="38100" dist="38100" dir="2700000" algn="tl">
                    <a:srgbClr val="000000">
                      <a:alpha val="43137"/>
                    </a:srgbClr>
                  </a:outerShdw>
                </a:effectLst>
                <a:latin typeface="BrowalliaUPC" pitchFamily="34" charset="-34"/>
                <a:cs typeface="BrowalliaUPC" pitchFamily="34" charset="-34"/>
              </a:endParaRPr>
            </a:p>
          </p:txBody>
        </p:sp>
      </p:grpSp>
      <p:grpSp>
        <p:nvGrpSpPr>
          <p:cNvPr id="101" name="Group 23"/>
          <p:cNvGrpSpPr/>
          <p:nvPr/>
        </p:nvGrpSpPr>
        <p:grpSpPr>
          <a:xfrm>
            <a:off x="5059854" y="2823628"/>
            <a:ext cx="1337363" cy="1337364"/>
            <a:chOff x="3946101" y="1472348"/>
            <a:chExt cx="1119303" cy="1119303"/>
          </a:xfrm>
          <a:scene3d>
            <a:camera prst="orthographicFront">
              <a:rot lat="19584211" lon="19752261" rev="1595378"/>
            </a:camera>
            <a:lightRig rig="threePt" dir="t"/>
          </a:scene3d>
        </p:grpSpPr>
        <p:sp>
          <p:nvSpPr>
            <p:cNvPr id="102" name="Oval 101"/>
            <p:cNvSpPr/>
            <p:nvPr/>
          </p:nvSpPr>
          <p:spPr>
            <a:xfrm>
              <a:off x="3946101" y="1472348"/>
              <a:ext cx="1119303" cy="1119303"/>
            </a:xfrm>
            <a:prstGeom prst="ellipse">
              <a:avLst/>
            </a:prstGeom>
            <a:solidFill>
              <a:schemeClr val="accent6">
                <a:lumMod val="60000"/>
                <a:lumOff val="40000"/>
              </a:schemeClr>
            </a:solidFill>
            <a:sp3d extrusionH="152250" prstMaterial="matte">
              <a:bevelT w="165100" prst="coolSlant"/>
            </a:sp3d>
          </p:spPr>
          <p:style>
            <a:lnRef idx="0">
              <a:schemeClr val="lt1">
                <a:hueOff val="0"/>
                <a:satOff val="0"/>
                <a:lumOff val="0"/>
                <a:alphaOff val="0"/>
              </a:schemeClr>
            </a:lnRef>
            <a:fillRef idx="1">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103" name="Oval 12"/>
            <p:cNvSpPr/>
            <p:nvPr/>
          </p:nvSpPr>
          <p:spPr>
            <a:xfrm>
              <a:off x="4110019" y="1636266"/>
              <a:ext cx="791467" cy="791467"/>
            </a:xfrm>
            <a:prstGeom prst="rect">
              <a:avLst/>
            </a:prstGeom>
            <a:sp3d/>
          </p:spPr>
          <p:style>
            <a:lnRef idx="0">
              <a:scrgbClr r="0" g="0" b="0"/>
            </a:lnRef>
            <a:fillRef idx="0">
              <a:scrgbClr r="0" g="0" b="0"/>
            </a:fillRef>
            <a:effectRef idx="0">
              <a:scrgbClr r="0" g="0" b="0"/>
            </a:effectRef>
            <a:fontRef idx="minor">
              <a:schemeClr val="lt1"/>
            </a:fontRef>
          </p:style>
          <p:txBody>
            <a:bodyPr wrap="none" lIns="12700" tIns="12700" rIns="12700" bIns="12700" spcCol="1270" anchor="ctr">
              <a:prstTxWarp prst="textInflate">
                <a:avLst/>
              </a:prstTxWarp>
            </a:bodyPr>
            <a:lstStyle/>
            <a:p>
              <a:pPr algn="ctr">
                <a:lnSpc>
                  <a:spcPts val="3000"/>
                </a:lnSpc>
                <a:defRPr/>
              </a:pPr>
              <a:r>
                <a:rPr lang="th-TH" sz="3200" dirty="0" smtClean="0">
                  <a:ln w="0"/>
                  <a:solidFill>
                    <a:srgbClr val="4F81BD"/>
                  </a:solidFill>
                  <a:effectLst>
                    <a:outerShdw blurRad="38100" dist="25400" dir="5400000" algn="ctr" rotWithShape="0">
                      <a:srgbClr val="6E747A">
                        <a:alpha val="43000"/>
                      </a:srgbClr>
                    </a:outerShdw>
                  </a:effectLst>
                  <a:latin typeface="Browallia New" pitchFamily="34" charset="-34"/>
                  <a:cs typeface="Browallia New" pitchFamily="34" charset="-34"/>
                </a:rPr>
                <a:t>การเพิ่ม</a:t>
              </a:r>
            </a:p>
            <a:p>
              <a:pPr algn="ctr">
                <a:lnSpc>
                  <a:spcPts val="3000"/>
                </a:lnSpc>
                <a:defRPr/>
              </a:pPr>
              <a:r>
                <a:rPr lang="th-TH" sz="3200" dirty="0" smtClean="0">
                  <a:ln w="0"/>
                  <a:solidFill>
                    <a:srgbClr val="4F81BD"/>
                  </a:solidFill>
                  <a:effectLst>
                    <a:outerShdw blurRad="38100" dist="25400" dir="5400000" algn="ctr" rotWithShape="0">
                      <a:srgbClr val="6E747A">
                        <a:alpha val="43000"/>
                      </a:srgbClr>
                    </a:outerShdw>
                  </a:effectLst>
                  <a:latin typeface="Browallia New" pitchFamily="34" charset="-34"/>
                  <a:cs typeface="Browallia New" pitchFamily="34" charset="-34"/>
                </a:rPr>
                <a:t>ผลิตภาพ</a:t>
              </a:r>
              <a:endParaRPr lang="th-TH" sz="3200" dirty="0">
                <a:ln w="0"/>
                <a:solidFill>
                  <a:srgbClr val="4F81BD"/>
                </a:solidFill>
                <a:effectLst>
                  <a:outerShdw blurRad="38100" dist="25400" dir="5400000" algn="ctr" rotWithShape="0">
                    <a:srgbClr val="6E747A">
                      <a:alpha val="43000"/>
                    </a:srgbClr>
                  </a:outerShdw>
                </a:effectLst>
              </a:endParaRPr>
            </a:p>
          </p:txBody>
        </p:sp>
      </p:grpSp>
      <p:sp>
        <p:nvSpPr>
          <p:cNvPr id="4" name="Rectangle 3"/>
          <p:cNvSpPr/>
          <p:nvPr/>
        </p:nvSpPr>
        <p:spPr>
          <a:xfrm rot="20931022">
            <a:off x="902207" y="2288046"/>
            <a:ext cx="1313180" cy="480131"/>
          </a:xfrm>
          <a:prstGeom prst="rect">
            <a:avLst/>
          </a:prstGeom>
        </p:spPr>
        <p:txBody>
          <a:bodyPr wrap="none">
            <a:spAutoFit/>
          </a:bodyPr>
          <a:lstStyle/>
          <a:p>
            <a:pPr algn="ctr" defTabSz="889000">
              <a:lnSpc>
                <a:spcPct val="90000"/>
              </a:lnSpc>
              <a:spcAft>
                <a:spcPct val="35000"/>
              </a:spcAft>
              <a:defRPr/>
            </a:pPr>
            <a:r>
              <a:rPr lang="th-TH" dirty="0">
                <a:solidFill>
                  <a:prstClr val="white"/>
                </a:solidFill>
                <a:effectLst>
                  <a:outerShdw blurRad="38100" dist="38100" dir="2700000" algn="tl">
                    <a:srgbClr val="000000">
                      <a:alpha val="43137"/>
                    </a:srgbClr>
                  </a:outerShdw>
                </a:effectLst>
                <a:latin typeface="BrowalliaUPC" pitchFamily="34" charset="-34"/>
                <a:cs typeface="BrowalliaUPC" pitchFamily="34" charset="-34"/>
              </a:rPr>
              <a:t>ยุทธศาสตร์</a:t>
            </a:r>
          </a:p>
        </p:txBody>
      </p:sp>
      <p:sp>
        <p:nvSpPr>
          <p:cNvPr id="84" name="Rectangle 83"/>
          <p:cNvSpPr/>
          <p:nvPr/>
        </p:nvSpPr>
        <p:spPr>
          <a:xfrm>
            <a:off x="-25514" y="6163125"/>
            <a:ext cx="9144000" cy="733534"/>
          </a:xfrm>
          <a:prstGeom prst="rect">
            <a:avLst/>
          </a:prstGeom>
        </p:spPr>
        <p:txBody>
          <a:bodyPr>
            <a:spAutoFit/>
          </a:bodyPr>
          <a:lstStyle/>
          <a:p>
            <a:pPr algn="ctr">
              <a:lnSpc>
                <a:spcPts val="5000"/>
              </a:lnSpc>
              <a:defRPr/>
            </a:pPr>
            <a:r>
              <a:rPr lang="th-TH" sz="3600" dirty="0" smtClean="0">
                <a:ln w="0"/>
                <a:solidFill>
                  <a:prstClr val="black"/>
                </a:solidFill>
                <a:effectLst>
                  <a:outerShdw blurRad="38100" dist="19050" dir="2700000" algn="tl" rotWithShape="0">
                    <a:prstClr val="black">
                      <a:alpha val="40000"/>
                    </a:prstClr>
                  </a:outerShdw>
                </a:effectLst>
                <a:latin typeface="AngsanaUPC" panose="02020603050405020304" pitchFamily="18" charset="-34"/>
                <a:cs typeface="AngsanaUPC" panose="02020603050405020304" pitchFamily="18" charset="-34"/>
              </a:rPr>
              <a:t>องค์กรชั้นนำให้</a:t>
            </a:r>
            <a:r>
              <a:rPr lang="th-TH" sz="3600" u="sng" dirty="0" smtClean="0">
                <a:ln w="0"/>
                <a:solidFill>
                  <a:prstClr val="black"/>
                </a:solidFill>
                <a:effectLst>
                  <a:outerShdw blurRad="38100" dist="19050" dir="2700000" algn="tl" rotWithShape="0">
                    <a:prstClr val="black">
                      <a:alpha val="40000"/>
                    </a:prstClr>
                  </a:outerShdw>
                </a:effectLst>
                <a:latin typeface="AngsanaUPC" panose="02020603050405020304" pitchFamily="18" charset="-34"/>
                <a:cs typeface="AngsanaUPC" panose="02020603050405020304" pitchFamily="18" charset="-34"/>
              </a:rPr>
              <a:t>ความสำคัญ</a:t>
            </a:r>
            <a:r>
              <a:rPr lang="th-TH" sz="3600" u="sng" dirty="0">
                <a:ln w="0"/>
                <a:solidFill>
                  <a:prstClr val="black"/>
                </a:solidFill>
                <a:effectLst>
                  <a:outerShdw blurRad="38100" dist="19050" dir="2700000" algn="tl" rotWithShape="0">
                    <a:prstClr val="black">
                      <a:alpha val="40000"/>
                    </a:prstClr>
                  </a:outerShdw>
                </a:effectLst>
                <a:latin typeface="AngsanaUPC" panose="02020603050405020304" pitchFamily="18" charset="-34"/>
                <a:cs typeface="AngsanaUPC" panose="02020603050405020304" pitchFamily="18" charset="-34"/>
              </a:rPr>
              <a:t>ตาม </a:t>
            </a:r>
            <a:r>
              <a:rPr lang="en-US" sz="3600" u="sng" dirty="0">
                <a:ln w="0"/>
                <a:solidFill>
                  <a:prstClr val="black"/>
                </a:solidFill>
                <a:effectLst>
                  <a:outerShdw blurRad="38100" dist="19050" dir="2700000" algn="tl" rotWithShape="0">
                    <a:prstClr val="black">
                      <a:alpha val="40000"/>
                    </a:prstClr>
                  </a:outerShdw>
                </a:effectLst>
                <a:latin typeface="AngsanaUPC" panose="02020603050405020304" pitchFamily="18" charset="-34"/>
                <a:cs typeface="AngsanaUPC" panose="02020603050405020304" pitchFamily="18" charset="-34"/>
              </a:rPr>
              <a:t>Strategy</a:t>
            </a:r>
            <a:r>
              <a:rPr lang="th-TH" sz="3600" dirty="0">
                <a:ln w="0"/>
                <a:solidFill>
                  <a:prstClr val="black"/>
                </a:solidFill>
                <a:effectLst>
                  <a:outerShdw blurRad="38100" dist="19050" dir="2700000" algn="tl" rotWithShape="0">
                    <a:prstClr val="black">
                      <a:alpha val="40000"/>
                    </a:prstClr>
                  </a:outerShdw>
                </a:effectLst>
                <a:latin typeface="AngsanaUPC" panose="02020603050405020304" pitchFamily="18" charset="-34"/>
                <a:cs typeface="AngsanaUPC" panose="02020603050405020304" pitchFamily="18" charset="-34"/>
              </a:rPr>
              <a:t> ไม่ใช่ตาม </a:t>
            </a:r>
            <a:r>
              <a:rPr lang="en-US" sz="3600" dirty="0">
                <a:ln w="0"/>
                <a:solidFill>
                  <a:prstClr val="black"/>
                </a:solidFill>
                <a:effectLst>
                  <a:outerShdw blurRad="38100" dist="19050" dir="2700000" algn="tl" rotWithShape="0">
                    <a:prstClr val="black">
                      <a:alpha val="40000"/>
                    </a:prstClr>
                  </a:outerShdw>
                </a:effectLst>
                <a:latin typeface="AngsanaUPC" panose="02020603050405020304" pitchFamily="18" charset="-34"/>
                <a:cs typeface="AngsanaUPC" panose="02020603050405020304" pitchFamily="18" charset="-34"/>
              </a:rPr>
              <a:t>Function</a:t>
            </a:r>
            <a:endParaRPr lang="th-TH" sz="2400" dirty="0">
              <a:ln w="0"/>
              <a:solidFill>
                <a:prstClr val="black"/>
              </a:solidFill>
              <a:effectLst>
                <a:outerShdw blurRad="38100" dist="19050" dir="2700000" algn="tl" rotWithShape="0">
                  <a:prstClr val="black">
                    <a:alpha val="40000"/>
                  </a:prstClr>
                </a:outerShdw>
              </a:effectLst>
              <a:latin typeface="AngsanaUPC" panose="02020603050405020304" pitchFamily="18" charset="-34"/>
              <a:cs typeface="AngsanaUPC" panose="02020603050405020304" pitchFamily="18" charset="-34"/>
            </a:endParaRPr>
          </a:p>
        </p:txBody>
      </p:sp>
      <p:sp>
        <p:nvSpPr>
          <p:cNvPr id="114" name="Rectangle 113"/>
          <p:cNvSpPr/>
          <p:nvPr/>
        </p:nvSpPr>
        <p:spPr>
          <a:xfrm>
            <a:off x="108695" y="795634"/>
            <a:ext cx="3483646" cy="584775"/>
          </a:xfrm>
          <a:prstGeom prst="rect">
            <a:avLst/>
          </a:prstGeom>
        </p:spPr>
        <p:txBody>
          <a:bodyPr wrap="none">
            <a:spAutoFit/>
          </a:bodyPr>
          <a:lstStyle/>
          <a:p>
            <a:pPr algn="r"/>
            <a:r>
              <a:rPr kumimoji="1" lang="th-TH" sz="3200" i="1" kern="0" dirty="0" smtClean="0">
                <a:ln w="0"/>
                <a:solidFill>
                  <a:srgbClr val="4F81BD"/>
                </a:solidFill>
                <a:effectLst>
                  <a:outerShdw blurRad="38100" dist="25400" dir="5400000" algn="ctr" rotWithShape="0">
                    <a:srgbClr val="6E747A">
                      <a:alpha val="43000"/>
                    </a:srgbClr>
                  </a:outerShdw>
                </a:effectLst>
                <a:latin typeface="Angsana New" pitchFamily="18" charset="-34"/>
              </a:rPr>
              <a:t>บทบาทของผู้นำต้องเปลี่ยนไป</a:t>
            </a:r>
            <a:endParaRPr lang="th-TH" sz="3200" dirty="0">
              <a:ln w="0"/>
              <a:solidFill>
                <a:srgbClr val="4F81BD"/>
              </a:solidFill>
              <a:effectLst>
                <a:outerShdw blurRad="38100" dist="25400" dir="5400000" algn="ctr" rotWithShape="0">
                  <a:srgbClr val="6E747A">
                    <a:alpha val="43000"/>
                  </a:srgbClr>
                </a:outerShdw>
              </a:effectLst>
            </a:endParaRPr>
          </a:p>
        </p:txBody>
      </p:sp>
      <p:sp>
        <p:nvSpPr>
          <p:cNvPr id="115" name="Rectangle 114"/>
          <p:cNvSpPr/>
          <p:nvPr/>
        </p:nvSpPr>
        <p:spPr>
          <a:xfrm>
            <a:off x="5165242" y="780520"/>
            <a:ext cx="3818674" cy="584775"/>
          </a:xfrm>
          <a:prstGeom prst="rect">
            <a:avLst/>
          </a:prstGeom>
        </p:spPr>
        <p:txBody>
          <a:bodyPr wrap="none">
            <a:spAutoFit/>
          </a:bodyPr>
          <a:lstStyle/>
          <a:p>
            <a:pPr algn="r"/>
            <a:r>
              <a:rPr kumimoji="1" lang="th-TH" sz="3200" i="1" kern="0" dirty="0" smtClean="0">
                <a:ln w="0"/>
                <a:solidFill>
                  <a:srgbClr val="4F81BD"/>
                </a:solidFill>
                <a:effectLst>
                  <a:outerShdw blurRad="38100" dist="25400" dir="5400000" algn="ctr" rotWithShape="0">
                    <a:srgbClr val="6E747A">
                      <a:alpha val="43000"/>
                    </a:srgbClr>
                  </a:outerShdw>
                </a:effectLst>
                <a:latin typeface="Angsana New" pitchFamily="18" charset="-34"/>
              </a:rPr>
              <a:t>แนวคิดของผู้คนต้องเปลี่ยนแปลง</a:t>
            </a:r>
            <a:endParaRPr lang="th-TH" sz="3200" dirty="0">
              <a:ln w="0"/>
              <a:solidFill>
                <a:srgbClr val="4F81BD"/>
              </a:solidFill>
              <a:effectLst>
                <a:outerShdw blurRad="38100" dist="25400" dir="5400000" algn="ctr" rotWithShape="0">
                  <a:srgbClr val="6E747A">
                    <a:alpha val="43000"/>
                  </a:srgbClr>
                </a:outerShdw>
              </a:effectLst>
            </a:endParaRPr>
          </a:p>
        </p:txBody>
      </p:sp>
      <p:sp>
        <p:nvSpPr>
          <p:cNvPr id="47" name="Rectangle 46"/>
          <p:cNvSpPr/>
          <p:nvPr/>
        </p:nvSpPr>
        <p:spPr>
          <a:xfrm>
            <a:off x="8644" y="14492"/>
            <a:ext cx="8980637" cy="605294"/>
          </a:xfrm>
          <a:prstGeom prst="rect">
            <a:avLst/>
          </a:prstGeom>
        </p:spPr>
        <p:style>
          <a:lnRef idx="1">
            <a:schemeClr val="accent2"/>
          </a:lnRef>
          <a:fillRef idx="3">
            <a:schemeClr val="accent2"/>
          </a:fillRef>
          <a:effectRef idx="2">
            <a:schemeClr val="accent2"/>
          </a:effectRef>
          <a:fontRef idx="minor">
            <a:schemeClr val="lt1"/>
          </a:fontRef>
        </p:style>
        <p:txBody>
          <a:bodyPr wrap="square">
            <a:spAutoFit/>
          </a:bodyPr>
          <a:lstStyle/>
          <a:p>
            <a:pPr algn="ctr">
              <a:lnSpc>
                <a:spcPts val="4000"/>
              </a:lnSpc>
              <a:defRPr/>
            </a:pPr>
            <a:r>
              <a:rPr lang="th-TH" sz="3200" b="0" dirty="0">
                <a:solidFill>
                  <a:schemeClr val="bg1"/>
                </a:solidFill>
                <a:latin typeface="AngsanaUPC" panose="02020603050405020304" pitchFamily="18" charset="-34"/>
                <a:cs typeface="AngsanaUPC" panose="02020603050405020304" pitchFamily="18" charset="-34"/>
              </a:rPr>
              <a:t>หลักสำคัญในการจัดการ</a:t>
            </a:r>
            <a:r>
              <a:rPr lang="th-TH" sz="3200" b="0" dirty="0" smtClean="0">
                <a:solidFill>
                  <a:schemeClr val="bg1"/>
                </a:solidFill>
                <a:latin typeface="AngsanaUPC" panose="02020603050405020304" pitchFamily="18" charset="-34"/>
                <a:cs typeface="AngsanaUPC" panose="02020603050405020304" pitchFamily="18" charset="-34"/>
              </a:rPr>
              <a:t>องค์กร - </a:t>
            </a:r>
            <a:r>
              <a:rPr lang="th-TH" sz="3200" b="0" u="sng" dirty="0" smtClean="0">
                <a:solidFill>
                  <a:schemeClr val="bg1"/>
                </a:solidFill>
                <a:latin typeface="AngsanaUPC" panose="02020603050405020304" pitchFamily="18" charset="-34"/>
                <a:cs typeface="AngsanaUPC" panose="02020603050405020304" pitchFamily="18" charset="-34"/>
              </a:rPr>
              <a:t>การ</a:t>
            </a:r>
            <a:r>
              <a:rPr lang="th-TH" sz="3200" b="0" u="sng" dirty="0">
                <a:solidFill>
                  <a:schemeClr val="bg1"/>
                </a:solidFill>
                <a:latin typeface="AngsanaUPC" panose="02020603050405020304" pitchFamily="18" charset="-34"/>
                <a:cs typeface="AngsanaUPC" panose="02020603050405020304" pitchFamily="18" charset="-34"/>
              </a:rPr>
              <a:t>วัด</a:t>
            </a:r>
            <a:r>
              <a:rPr lang="th-TH" sz="3200" b="0" u="sng" dirty="0" smtClean="0">
                <a:solidFill>
                  <a:schemeClr val="bg1"/>
                </a:solidFill>
                <a:latin typeface="AngsanaUPC" panose="02020603050405020304" pitchFamily="18" charset="-34"/>
                <a:cs typeface="AngsanaUPC" panose="02020603050405020304" pitchFamily="18" charset="-34"/>
              </a:rPr>
              <a:t>ความสำเร็จ</a:t>
            </a:r>
            <a:r>
              <a:rPr lang="th-TH" sz="3200" b="0" dirty="0" smtClean="0">
                <a:solidFill>
                  <a:schemeClr val="bg1"/>
                </a:solidFill>
                <a:latin typeface="AngsanaUPC" panose="02020603050405020304" pitchFamily="18" charset="-34"/>
                <a:cs typeface="AngsanaUPC" panose="02020603050405020304" pitchFamily="18" charset="-34"/>
              </a:rPr>
              <a:t>ในผลการดำเนินงาน</a:t>
            </a:r>
            <a:endParaRPr lang="th-TH" sz="3200" b="0" dirty="0">
              <a:solidFill>
                <a:schemeClr val="bg1"/>
              </a:solidFill>
              <a:latin typeface="AngsanaUPC" panose="02020603050405020304" pitchFamily="18" charset="-34"/>
              <a:cs typeface="AngsanaUPC" panose="02020603050405020304" pitchFamily="18" charset="-34"/>
            </a:endParaRPr>
          </a:p>
        </p:txBody>
      </p:sp>
      <p:sp>
        <p:nvSpPr>
          <p:cNvPr id="53" name="Slide Number Placeholder 5"/>
          <p:cNvSpPr>
            <a:spLocks noGrp="1"/>
          </p:cNvSpPr>
          <p:nvPr>
            <p:ph type="sldNum" sz="quarter" idx="4"/>
          </p:nvPr>
        </p:nvSpPr>
        <p:spPr>
          <a:xfrm>
            <a:off x="8787337" y="4581128"/>
            <a:ext cx="430893" cy="365125"/>
          </a:xfrm>
        </p:spPr>
        <p:txBody>
          <a:bodyPr/>
          <a:lstStyle/>
          <a:p>
            <a:pPr fontAlgn="auto">
              <a:spcBef>
                <a:spcPts val="0"/>
              </a:spcBef>
              <a:spcAft>
                <a:spcPts val="0"/>
              </a:spcAft>
            </a:pPr>
            <a:r>
              <a:rPr lang="en-US" b="0" dirty="0" smtClean="0">
                <a:solidFill>
                  <a:prstClr val="black">
                    <a:tint val="75000"/>
                  </a:prstClr>
                </a:solidFill>
              </a:rPr>
              <a:t>6</a:t>
            </a:r>
            <a:endParaRPr lang="th-TH" b="0" dirty="0">
              <a:solidFill>
                <a:prstClr val="black">
                  <a:tint val="75000"/>
                </a:prstClr>
              </a:solidFill>
            </a:endParaRPr>
          </a:p>
        </p:txBody>
      </p:sp>
    </p:spTree>
    <p:extLst>
      <p:ext uri="{BB962C8B-B14F-4D97-AF65-F5344CB8AC3E}">
        <p14:creationId xmlns:p14="http://schemas.microsoft.com/office/powerpoint/2010/main" val="4195014062"/>
      </p:ext>
    </p:extLst>
  </p:cSld>
  <p:clrMapOvr>
    <a:masterClrMapping/>
  </p:clrMapOvr>
  <p:transition advClick="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84"/>
                                        </p:tgtEl>
                                        <p:attrNameLst>
                                          <p:attrName>style.visibility</p:attrName>
                                        </p:attrNameLst>
                                      </p:cBhvr>
                                      <p:to>
                                        <p:strVal val="visible"/>
                                      </p:to>
                                    </p:set>
                                    <p:animEffect transition="in" filter="wipe(left)">
                                      <p:cBhvr>
                                        <p:cTn id="7" dur="500"/>
                                        <p:tgtEl>
                                          <p:spTgt spid="84"/>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nodeType="clickEffect">
                                  <p:stCondLst>
                                    <p:cond delay="0"/>
                                  </p:stCondLst>
                                  <p:childTnLst>
                                    <p:set>
                                      <p:cBhvr>
                                        <p:cTn id="11" dur="1" fill="hold">
                                          <p:stCondLst>
                                            <p:cond delay="0"/>
                                          </p:stCondLst>
                                        </p:cTn>
                                        <p:tgtEl>
                                          <p:spTgt spid="92"/>
                                        </p:tgtEl>
                                        <p:attrNameLst>
                                          <p:attrName>style.visibility</p:attrName>
                                        </p:attrNameLst>
                                      </p:cBhvr>
                                      <p:to>
                                        <p:strVal val="visible"/>
                                      </p:to>
                                    </p:set>
                                    <p:animEffect transition="in" filter="wheel(1)">
                                      <p:cBhvr>
                                        <p:cTn id="12" dur="2000"/>
                                        <p:tgtEl>
                                          <p:spTgt spid="92"/>
                                        </p:tgtEl>
                                      </p:cBhvr>
                                    </p:animEffect>
                                  </p:childTnLst>
                                </p:cTn>
                              </p:par>
                            </p:childTnLst>
                          </p:cTn>
                        </p:par>
                      </p:childTnLst>
                    </p:cTn>
                  </p:par>
                  <p:par>
                    <p:cTn id="13" fill="hold">
                      <p:stCondLst>
                        <p:cond delay="indefinite"/>
                      </p:stCondLst>
                      <p:childTnLst>
                        <p:par>
                          <p:cTn id="14" fill="hold">
                            <p:stCondLst>
                              <p:cond delay="0"/>
                            </p:stCondLst>
                            <p:childTnLst>
                              <p:par>
                                <p:cTn id="15" presetID="21" presetClass="entr" presetSubtype="1" fill="hold" nodeType="clickEffect">
                                  <p:stCondLst>
                                    <p:cond delay="0"/>
                                  </p:stCondLst>
                                  <p:childTnLst>
                                    <p:set>
                                      <p:cBhvr>
                                        <p:cTn id="16" dur="1" fill="hold">
                                          <p:stCondLst>
                                            <p:cond delay="0"/>
                                          </p:stCondLst>
                                        </p:cTn>
                                        <p:tgtEl>
                                          <p:spTgt spid="86"/>
                                        </p:tgtEl>
                                        <p:attrNameLst>
                                          <p:attrName>style.visibility</p:attrName>
                                        </p:attrNameLst>
                                      </p:cBhvr>
                                      <p:to>
                                        <p:strVal val="visible"/>
                                      </p:to>
                                    </p:set>
                                    <p:animEffect transition="in" filter="wheel(1)">
                                      <p:cBhvr>
                                        <p:cTn id="17" dur="2000"/>
                                        <p:tgtEl>
                                          <p:spTgt spid="86"/>
                                        </p:tgtEl>
                                      </p:cBhvr>
                                    </p:animEffect>
                                  </p:childTnLst>
                                </p:cTn>
                              </p:par>
                            </p:childTnLst>
                          </p:cTn>
                        </p:par>
                      </p:childTnLst>
                    </p:cTn>
                  </p:par>
                  <p:par>
                    <p:cTn id="18" fill="hold">
                      <p:stCondLst>
                        <p:cond delay="indefinite"/>
                      </p:stCondLst>
                      <p:childTnLst>
                        <p:par>
                          <p:cTn id="19" fill="hold">
                            <p:stCondLst>
                              <p:cond delay="0"/>
                            </p:stCondLst>
                            <p:childTnLst>
                              <p:par>
                                <p:cTn id="20" presetID="21" presetClass="entr" presetSubtype="1" fill="hold" nodeType="clickEffect">
                                  <p:stCondLst>
                                    <p:cond delay="0"/>
                                  </p:stCondLst>
                                  <p:childTnLst>
                                    <p:set>
                                      <p:cBhvr>
                                        <p:cTn id="21" dur="1" fill="hold">
                                          <p:stCondLst>
                                            <p:cond delay="0"/>
                                          </p:stCondLst>
                                        </p:cTn>
                                        <p:tgtEl>
                                          <p:spTgt spid="89"/>
                                        </p:tgtEl>
                                        <p:attrNameLst>
                                          <p:attrName>style.visibility</p:attrName>
                                        </p:attrNameLst>
                                      </p:cBhvr>
                                      <p:to>
                                        <p:strVal val="visible"/>
                                      </p:to>
                                    </p:set>
                                    <p:animEffect transition="in" filter="wheel(1)">
                                      <p:cBhvr>
                                        <p:cTn id="22" dur="2000"/>
                                        <p:tgtEl>
                                          <p:spTgt spid="89"/>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wipe(left)">
                                      <p:cBhvr>
                                        <p:cTn id="27" dur="500"/>
                                        <p:tgtEl>
                                          <p:spTgt spid="2"/>
                                        </p:tgtEl>
                                      </p:cBhvr>
                                    </p:animEffect>
                                  </p:childTnLst>
                                </p:cTn>
                              </p:par>
                            </p:childTnLst>
                          </p:cTn>
                        </p:par>
                      </p:childTnLst>
                    </p:cTn>
                  </p:par>
                  <p:par>
                    <p:cTn id="28" fill="hold">
                      <p:stCondLst>
                        <p:cond delay="indefinite"/>
                      </p:stCondLst>
                      <p:childTnLst>
                        <p:par>
                          <p:cTn id="29" fill="hold">
                            <p:stCondLst>
                              <p:cond delay="0"/>
                            </p:stCondLst>
                            <p:childTnLst>
                              <p:par>
                                <p:cTn id="30" presetID="21" presetClass="entr" presetSubtype="1" fill="hold" nodeType="clickEffect">
                                  <p:stCondLst>
                                    <p:cond delay="0"/>
                                  </p:stCondLst>
                                  <p:childTnLst>
                                    <p:set>
                                      <p:cBhvr>
                                        <p:cTn id="31" dur="1" fill="hold">
                                          <p:stCondLst>
                                            <p:cond delay="0"/>
                                          </p:stCondLst>
                                        </p:cTn>
                                        <p:tgtEl>
                                          <p:spTgt spid="95"/>
                                        </p:tgtEl>
                                        <p:attrNameLst>
                                          <p:attrName>style.visibility</p:attrName>
                                        </p:attrNameLst>
                                      </p:cBhvr>
                                      <p:to>
                                        <p:strVal val="visible"/>
                                      </p:to>
                                    </p:set>
                                    <p:animEffect transition="in" filter="wheel(1)">
                                      <p:cBhvr>
                                        <p:cTn id="32" dur="2000"/>
                                        <p:tgtEl>
                                          <p:spTgt spid="95"/>
                                        </p:tgtEl>
                                      </p:cBhvr>
                                    </p:animEffect>
                                  </p:childTnLst>
                                </p:cTn>
                              </p:par>
                            </p:childTnLst>
                          </p:cTn>
                        </p:par>
                      </p:childTnLst>
                    </p:cTn>
                  </p:par>
                  <p:par>
                    <p:cTn id="33" fill="hold">
                      <p:stCondLst>
                        <p:cond delay="indefinite"/>
                      </p:stCondLst>
                      <p:childTnLst>
                        <p:par>
                          <p:cTn id="34" fill="hold">
                            <p:stCondLst>
                              <p:cond delay="0"/>
                            </p:stCondLst>
                            <p:childTnLst>
                              <p:par>
                                <p:cTn id="35" presetID="21" presetClass="entr" presetSubtype="1" fill="hold" nodeType="clickEffect">
                                  <p:stCondLst>
                                    <p:cond delay="0"/>
                                  </p:stCondLst>
                                  <p:childTnLst>
                                    <p:set>
                                      <p:cBhvr>
                                        <p:cTn id="36" dur="1" fill="hold">
                                          <p:stCondLst>
                                            <p:cond delay="0"/>
                                          </p:stCondLst>
                                        </p:cTn>
                                        <p:tgtEl>
                                          <p:spTgt spid="101"/>
                                        </p:tgtEl>
                                        <p:attrNameLst>
                                          <p:attrName>style.visibility</p:attrName>
                                        </p:attrNameLst>
                                      </p:cBhvr>
                                      <p:to>
                                        <p:strVal val="visible"/>
                                      </p:to>
                                    </p:set>
                                    <p:animEffect transition="in" filter="wheel(1)">
                                      <p:cBhvr>
                                        <p:cTn id="37" dur="2000"/>
                                        <p:tgtEl>
                                          <p:spTgt spid="101"/>
                                        </p:tgtEl>
                                      </p:cBhvr>
                                    </p:animEffect>
                                  </p:childTnLst>
                                </p:cTn>
                              </p:par>
                            </p:childTnLst>
                          </p:cTn>
                        </p:par>
                      </p:childTnLst>
                    </p:cTn>
                  </p:par>
                  <p:par>
                    <p:cTn id="38" fill="hold">
                      <p:stCondLst>
                        <p:cond delay="indefinite"/>
                      </p:stCondLst>
                      <p:childTnLst>
                        <p:par>
                          <p:cTn id="39" fill="hold">
                            <p:stCondLst>
                              <p:cond delay="0"/>
                            </p:stCondLst>
                            <p:childTnLst>
                              <p:par>
                                <p:cTn id="40" presetID="21" presetClass="entr" presetSubtype="1" fill="hold" nodeType="clickEffect">
                                  <p:stCondLst>
                                    <p:cond delay="0"/>
                                  </p:stCondLst>
                                  <p:childTnLst>
                                    <p:set>
                                      <p:cBhvr>
                                        <p:cTn id="41" dur="1" fill="hold">
                                          <p:stCondLst>
                                            <p:cond delay="0"/>
                                          </p:stCondLst>
                                        </p:cTn>
                                        <p:tgtEl>
                                          <p:spTgt spid="75"/>
                                        </p:tgtEl>
                                        <p:attrNameLst>
                                          <p:attrName>style.visibility</p:attrName>
                                        </p:attrNameLst>
                                      </p:cBhvr>
                                      <p:to>
                                        <p:strVal val="visible"/>
                                      </p:to>
                                    </p:set>
                                    <p:animEffect transition="in" filter="wheel(1)">
                                      <p:cBhvr>
                                        <p:cTn id="42" dur="2000"/>
                                        <p:tgtEl>
                                          <p:spTgt spid="75"/>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grpId="0" nodeType="clickEffect">
                                  <p:stCondLst>
                                    <p:cond delay="0"/>
                                  </p:stCondLst>
                                  <p:childTnLst>
                                    <p:set>
                                      <p:cBhvr>
                                        <p:cTn id="46" dur="1" fill="hold">
                                          <p:stCondLst>
                                            <p:cond delay="0"/>
                                          </p:stCondLst>
                                        </p:cTn>
                                        <p:tgtEl>
                                          <p:spTgt spid="52"/>
                                        </p:tgtEl>
                                        <p:attrNameLst>
                                          <p:attrName>style.visibility</p:attrName>
                                        </p:attrNameLst>
                                      </p:cBhvr>
                                      <p:to>
                                        <p:strVal val="visible"/>
                                      </p:to>
                                    </p:set>
                                    <p:animEffect transition="in" filter="wipe(left)">
                                      <p:cBhvr>
                                        <p:cTn id="47" dur="500"/>
                                        <p:tgtEl>
                                          <p:spTgt spid="52"/>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grpId="0" nodeType="clickEffect">
                                  <p:stCondLst>
                                    <p:cond delay="0"/>
                                  </p:stCondLst>
                                  <p:childTnLst>
                                    <p:set>
                                      <p:cBhvr>
                                        <p:cTn id="51" dur="1" fill="hold">
                                          <p:stCondLst>
                                            <p:cond delay="0"/>
                                          </p:stCondLst>
                                        </p:cTn>
                                        <p:tgtEl>
                                          <p:spTgt spid="114"/>
                                        </p:tgtEl>
                                        <p:attrNameLst>
                                          <p:attrName>style.visibility</p:attrName>
                                        </p:attrNameLst>
                                      </p:cBhvr>
                                      <p:to>
                                        <p:strVal val="visible"/>
                                      </p:to>
                                    </p:set>
                                    <p:animEffect transition="in" filter="wipe(left)">
                                      <p:cBhvr>
                                        <p:cTn id="52" dur="500"/>
                                        <p:tgtEl>
                                          <p:spTgt spid="114"/>
                                        </p:tgtEl>
                                      </p:cBhvr>
                                    </p:animEffect>
                                  </p:childTnLst>
                                </p:cTn>
                              </p:par>
                            </p:childTnLst>
                          </p:cTn>
                        </p:par>
                        <p:par>
                          <p:cTn id="53" fill="hold">
                            <p:stCondLst>
                              <p:cond delay="500"/>
                            </p:stCondLst>
                            <p:childTnLst>
                              <p:par>
                                <p:cTn id="54" presetID="22" presetClass="entr" presetSubtype="8" fill="hold" grpId="0" nodeType="afterEffect">
                                  <p:stCondLst>
                                    <p:cond delay="0"/>
                                  </p:stCondLst>
                                  <p:childTnLst>
                                    <p:set>
                                      <p:cBhvr>
                                        <p:cTn id="55" dur="1" fill="hold">
                                          <p:stCondLst>
                                            <p:cond delay="0"/>
                                          </p:stCondLst>
                                        </p:cTn>
                                        <p:tgtEl>
                                          <p:spTgt spid="115"/>
                                        </p:tgtEl>
                                        <p:attrNameLst>
                                          <p:attrName>style.visibility</p:attrName>
                                        </p:attrNameLst>
                                      </p:cBhvr>
                                      <p:to>
                                        <p:strVal val="visible"/>
                                      </p:to>
                                    </p:set>
                                    <p:animEffect transition="in" filter="wipe(left)">
                                      <p:cBhvr>
                                        <p:cTn id="56" dur="500"/>
                                        <p:tgtEl>
                                          <p:spTgt spid="1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2" grpId="0" animBg="1"/>
      <p:bldP spid="84" grpId="0"/>
      <p:bldP spid="114" grpId="0"/>
      <p:bldP spid="11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ผลการค้นหารูปภาพสำหรับ change"/>
          <p:cNvPicPr>
            <a:picLocks noChangeAspect="1" noChangeArrowheads="1"/>
          </p:cNvPicPr>
          <p:nvPr/>
        </p:nvPicPr>
        <p:blipFill rotWithShape="1">
          <a:blip r:embed="rId3">
            <a:extLst>
              <a:ext uri="{28A0092B-C50C-407E-A947-70E740481C1C}">
                <a14:useLocalDpi xmlns:a14="http://schemas.microsoft.com/office/drawing/2010/main" val="0"/>
              </a:ext>
            </a:extLst>
          </a:blip>
          <a:srcRect t="2279"/>
          <a:stretch/>
        </p:blipFill>
        <p:spPr bwMode="auto">
          <a:xfrm>
            <a:off x="4293" y="76200"/>
            <a:ext cx="9149127" cy="547612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0986" y="4953000"/>
            <a:ext cx="1444800" cy="1444800"/>
          </a:xfrm>
          <a:prstGeom prst="rect">
            <a:avLst/>
          </a:prstGeom>
        </p:spPr>
      </p:pic>
      <p:pic>
        <p:nvPicPr>
          <p:cNvPr id="60" name="Picture 5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6300000">
            <a:off x="498345" y="5112575"/>
            <a:ext cx="1582128" cy="1420462"/>
          </a:xfrm>
          <a:prstGeom prst="rect">
            <a:avLst/>
          </a:prstGeom>
        </p:spPr>
      </p:pic>
      <p:sp>
        <p:nvSpPr>
          <p:cNvPr id="58" name="WordArt 6"/>
          <p:cNvSpPr>
            <a:spLocks noChangeArrowheads="1" noChangeShapeType="1" noTextEdit="1"/>
          </p:cNvSpPr>
          <p:nvPr/>
        </p:nvSpPr>
        <p:spPr bwMode="auto">
          <a:xfrm>
            <a:off x="457200" y="6344453"/>
            <a:ext cx="1662793" cy="382556"/>
          </a:xfrm>
          <a:prstGeom prst="rect">
            <a:avLst/>
          </a:prstGeom>
        </p:spPr>
        <p:txBody>
          <a:bodyPr wrap="none" fromWordArt="1">
            <a:prstTxWarp prst="textPlain">
              <a:avLst>
                <a:gd name="adj" fmla="val 50000"/>
              </a:avLst>
            </a:prstTxWarp>
            <a:scene3d>
              <a:camera prst="orthographicFront"/>
              <a:lightRig rig="threePt" dir="t"/>
            </a:scene3d>
            <a:sp3d extrusionH="57150">
              <a:bevelT w="38100" h="38100"/>
            </a:sp3d>
          </a:bodyPr>
          <a:lstStyle/>
          <a:p>
            <a:pPr>
              <a:defRPr/>
            </a:pPr>
            <a:r>
              <a:rPr lang="th-TH" sz="1800" b="1" kern="10" dirty="0" smtClean="0">
                <a:ln w="9525">
                  <a:noFill/>
                  <a:round/>
                  <a:headEnd/>
                  <a:tailEnd type="none" w="lg" len="lg"/>
                </a:ln>
                <a:gradFill rotWithShape="1">
                  <a:gsLst>
                    <a:gs pos="0">
                      <a:srgbClr val="FC9FCB"/>
                    </a:gs>
                    <a:gs pos="13000">
                      <a:srgbClr val="F8B049"/>
                    </a:gs>
                    <a:gs pos="21001">
                      <a:srgbClr val="F8B049"/>
                    </a:gs>
                    <a:gs pos="63000">
                      <a:srgbClr val="FEE7F2"/>
                    </a:gs>
                    <a:gs pos="67000">
                      <a:srgbClr val="F952A0"/>
                    </a:gs>
                    <a:gs pos="69000">
                      <a:srgbClr val="C50849"/>
                    </a:gs>
                    <a:gs pos="82001">
                      <a:srgbClr val="B43E85"/>
                    </a:gs>
                    <a:gs pos="100000">
                      <a:srgbClr val="F8B049"/>
                    </a:gs>
                  </a:gsLst>
                  <a:lin ang="5400000" scaled="1"/>
                </a:gradFill>
                <a:effectLst>
                  <a:outerShdw blurRad="50800" dist="38100" dir="5400000" algn="t" rotWithShape="0">
                    <a:prstClr val="black">
                      <a:alpha val="40000"/>
                    </a:prstClr>
                  </a:outerShdw>
                </a:effectLst>
                <a:latin typeface="Angsana New"/>
              </a:rPr>
              <a:t>โลกเปลี่ยน</a:t>
            </a:r>
            <a:endParaRPr lang="th-TH" sz="1800" b="1" kern="10" dirty="0">
              <a:ln w="9525">
                <a:noFill/>
                <a:round/>
                <a:headEnd/>
                <a:tailEnd type="none" w="lg" len="lg"/>
              </a:ln>
              <a:gradFill rotWithShape="1">
                <a:gsLst>
                  <a:gs pos="0">
                    <a:srgbClr val="FC9FCB"/>
                  </a:gs>
                  <a:gs pos="13000">
                    <a:srgbClr val="F8B049"/>
                  </a:gs>
                  <a:gs pos="21001">
                    <a:srgbClr val="F8B049"/>
                  </a:gs>
                  <a:gs pos="63000">
                    <a:srgbClr val="FEE7F2"/>
                  </a:gs>
                  <a:gs pos="67000">
                    <a:srgbClr val="F952A0"/>
                  </a:gs>
                  <a:gs pos="69000">
                    <a:srgbClr val="C50849"/>
                  </a:gs>
                  <a:gs pos="82001">
                    <a:srgbClr val="B43E85"/>
                  </a:gs>
                  <a:gs pos="100000">
                    <a:srgbClr val="F8B049"/>
                  </a:gs>
                </a:gsLst>
                <a:lin ang="5400000" scaled="1"/>
              </a:gradFill>
              <a:effectLst>
                <a:outerShdw blurRad="50800" dist="38100" dir="5400000" algn="t" rotWithShape="0">
                  <a:prstClr val="black">
                    <a:alpha val="40000"/>
                  </a:prstClr>
                </a:outerShdw>
              </a:effectLst>
              <a:latin typeface="Angsana New"/>
            </a:endParaRPr>
          </a:p>
        </p:txBody>
      </p:sp>
      <p:pic>
        <p:nvPicPr>
          <p:cNvPr id="69" name="Picture 6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47334" y="4804932"/>
            <a:ext cx="1479633" cy="1472879"/>
          </a:xfrm>
          <a:prstGeom prst="rect">
            <a:avLst/>
          </a:prstGeom>
        </p:spPr>
      </p:pic>
      <p:pic>
        <p:nvPicPr>
          <p:cNvPr id="71" name="Picture 7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51520" y="4900226"/>
            <a:ext cx="1616263" cy="1451111"/>
          </a:xfrm>
          <a:prstGeom prst="rect">
            <a:avLst/>
          </a:prstGeom>
        </p:spPr>
      </p:pic>
      <p:sp>
        <p:nvSpPr>
          <p:cNvPr id="68" name="WordArt 50"/>
          <p:cNvSpPr>
            <a:spLocks noChangeArrowheads="1" noChangeShapeType="1" noTextEdit="1"/>
          </p:cNvSpPr>
          <p:nvPr/>
        </p:nvSpPr>
        <p:spPr bwMode="auto">
          <a:xfrm>
            <a:off x="3700736" y="6266462"/>
            <a:ext cx="1809641" cy="380925"/>
          </a:xfrm>
          <a:prstGeom prst="rect">
            <a:avLst/>
          </a:prstGeom>
        </p:spPr>
        <p:txBody>
          <a:bodyPr wrap="none" fromWordArt="1">
            <a:prstTxWarp prst="textPlain">
              <a:avLst>
                <a:gd name="adj" fmla="val 50000"/>
              </a:avLst>
            </a:prstTxWarp>
            <a:scene3d>
              <a:camera prst="orthographicFront"/>
              <a:lightRig rig="threePt" dir="t"/>
            </a:scene3d>
            <a:sp3d extrusionH="57150">
              <a:bevelT w="38100" h="38100"/>
            </a:sp3d>
          </a:bodyPr>
          <a:lstStyle/>
          <a:p>
            <a:pPr>
              <a:defRPr/>
            </a:pPr>
            <a:r>
              <a:rPr lang="th-TH" b="1" kern="10" dirty="0" smtClean="0">
                <a:ln w="9525">
                  <a:noFill/>
                  <a:round/>
                  <a:headEnd/>
                  <a:tailEnd type="none" w="lg" len="lg"/>
                </a:ln>
                <a:gradFill rotWithShape="1">
                  <a:gsLst>
                    <a:gs pos="0">
                      <a:srgbClr val="FC9FCB"/>
                    </a:gs>
                    <a:gs pos="13000">
                      <a:srgbClr val="F8B049"/>
                    </a:gs>
                    <a:gs pos="21001">
                      <a:srgbClr val="F8B049"/>
                    </a:gs>
                    <a:gs pos="63000">
                      <a:srgbClr val="FEE7F2"/>
                    </a:gs>
                    <a:gs pos="67000">
                      <a:srgbClr val="F952A0"/>
                    </a:gs>
                    <a:gs pos="69000">
                      <a:srgbClr val="C50849"/>
                    </a:gs>
                    <a:gs pos="82001">
                      <a:srgbClr val="B43E85"/>
                    </a:gs>
                    <a:gs pos="100000">
                      <a:srgbClr val="F8B049"/>
                    </a:gs>
                  </a:gsLst>
                  <a:lin ang="5400000" scaled="1"/>
                </a:gradFill>
                <a:effectLst>
                  <a:outerShdw blurRad="38100" dist="38100" dir="2700000" algn="tl">
                    <a:srgbClr val="000000">
                      <a:alpha val="43137"/>
                    </a:srgbClr>
                  </a:outerShdw>
                </a:effectLst>
                <a:latin typeface="LilyUPC" panose="020B0604020202020204" pitchFamily="34" charset="-34"/>
                <a:ea typeface="+mn-cs"/>
              </a:rPr>
              <a:t>ประเทศเปลี่ยน</a:t>
            </a:r>
            <a:endParaRPr lang="th-TH" b="1" kern="10" dirty="0">
              <a:ln w="9525">
                <a:noFill/>
                <a:round/>
                <a:headEnd/>
                <a:tailEnd type="none" w="lg" len="lg"/>
              </a:ln>
              <a:gradFill rotWithShape="1">
                <a:gsLst>
                  <a:gs pos="0">
                    <a:srgbClr val="FC9FCB"/>
                  </a:gs>
                  <a:gs pos="13000">
                    <a:srgbClr val="F8B049"/>
                  </a:gs>
                  <a:gs pos="21001">
                    <a:srgbClr val="F8B049"/>
                  </a:gs>
                  <a:gs pos="63000">
                    <a:srgbClr val="FEE7F2"/>
                  </a:gs>
                  <a:gs pos="67000">
                    <a:srgbClr val="F952A0"/>
                  </a:gs>
                  <a:gs pos="69000">
                    <a:srgbClr val="C50849"/>
                  </a:gs>
                  <a:gs pos="82001">
                    <a:srgbClr val="B43E85"/>
                  </a:gs>
                  <a:gs pos="100000">
                    <a:srgbClr val="F8B049"/>
                  </a:gs>
                </a:gsLst>
                <a:lin ang="5400000" scaled="1"/>
              </a:gradFill>
              <a:effectLst>
                <a:outerShdw blurRad="38100" dist="38100" dir="2700000" algn="tl">
                  <a:srgbClr val="000000">
                    <a:alpha val="43137"/>
                  </a:srgbClr>
                </a:outerShdw>
              </a:effectLst>
              <a:latin typeface="LilyUPC" panose="020B0604020202020204" pitchFamily="34" charset="-34"/>
              <a:ea typeface="+mn-cs"/>
            </a:endParaRPr>
          </a:p>
        </p:txBody>
      </p:sp>
      <p:pic>
        <p:nvPicPr>
          <p:cNvPr id="65" name="Picture 47" descr="thaimap1"/>
          <p:cNvPicPr>
            <a:picLocks noChangeAspect="1" noChangeArrowheads="1"/>
          </p:cNvPicPr>
          <p:nvPr/>
        </p:nvPicPr>
        <p:blipFill>
          <a:blip r:embed="rId8" cstate="print">
            <a:clrChange>
              <a:clrFrom>
                <a:srgbClr val="000000"/>
              </a:clrFrom>
              <a:clrTo>
                <a:srgbClr val="000000">
                  <a:alpha val="0"/>
                </a:srgbClr>
              </a:clrTo>
            </a:clrChange>
          </a:blip>
          <a:srcRect/>
          <a:stretch>
            <a:fillRect/>
          </a:stretch>
        </p:blipFill>
        <p:spPr bwMode="auto">
          <a:xfrm rot="20868740">
            <a:off x="3899243" y="5087572"/>
            <a:ext cx="654568" cy="1006766"/>
          </a:xfrm>
          <a:prstGeom prst="rect">
            <a:avLst/>
          </a:prstGeom>
          <a:noFill/>
          <a:ln w="9525">
            <a:noFill/>
            <a:miter lim="800000"/>
            <a:headEnd/>
            <a:tailEnd/>
          </a:ln>
          <a:effectLst>
            <a:softEdge rad="12700"/>
          </a:effectLst>
        </p:spPr>
      </p:pic>
      <p:pic>
        <p:nvPicPr>
          <p:cNvPr id="75" name="Picture 7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74595" y="4964746"/>
            <a:ext cx="1435519" cy="1435519"/>
          </a:xfrm>
          <a:prstGeom prst="rect">
            <a:avLst/>
          </a:prstGeom>
        </p:spPr>
      </p:pic>
      <p:pic>
        <p:nvPicPr>
          <p:cNvPr id="76" name="Picture 7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6730487">
            <a:off x="6683070" y="4792198"/>
            <a:ext cx="1652703" cy="1483826"/>
          </a:xfrm>
          <a:prstGeom prst="rect">
            <a:avLst/>
          </a:prstGeom>
        </p:spPr>
      </p:pic>
      <p:sp>
        <p:nvSpPr>
          <p:cNvPr id="74" name="WordArt 31"/>
          <p:cNvSpPr>
            <a:spLocks noChangeArrowheads="1" noChangeShapeType="1" noTextEdit="1"/>
          </p:cNvSpPr>
          <p:nvPr/>
        </p:nvSpPr>
        <p:spPr bwMode="auto">
          <a:xfrm>
            <a:off x="6646583" y="6280427"/>
            <a:ext cx="1638014" cy="425117"/>
          </a:xfrm>
          <a:prstGeom prst="rect">
            <a:avLst/>
          </a:prstGeom>
        </p:spPr>
        <p:txBody>
          <a:bodyPr wrap="none" numCol="1" fromWordArt="1">
            <a:prstTxWarp prst="textPlain">
              <a:avLst>
                <a:gd name="adj" fmla="val 50000"/>
              </a:avLst>
            </a:prstTxWarp>
            <a:scene3d>
              <a:camera prst="orthographicFront"/>
              <a:lightRig rig="threePt" dir="t"/>
            </a:scene3d>
            <a:sp3d extrusionH="57150">
              <a:bevelT w="38100" h="38100"/>
            </a:sp3d>
          </a:bodyPr>
          <a:lstStyle/>
          <a:p>
            <a:r>
              <a:rPr lang="th-TH" b="1" kern="10" dirty="0">
                <a:ln w="9525">
                  <a:noFill/>
                  <a:round/>
                  <a:headEnd/>
                  <a:tailEnd type="none" w="lg" len="lg"/>
                </a:ln>
                <a:gradFill rotWithShape="1">
                  <a:gsLst>
                    <a:gs pos="0">
                      <a:srgbClr val="FC9FCB"/>
                    </a:gs>
                    <a:gs pos="13000">
                      <a:srgbClr val="F8B049"/>
                    </a:gs>
                    <a:gs pos="21001">
                      <a:srgbClr val="F8B049"/>
                    </a:gs>
                    <a:gs pos="63000">
                      <a:srgbClr val="FEE7F2"/>
                    </a:gs>
                    <a:gs pos="67000">
                      <a:srgbClr val="F952A0"/>
                    </a:gs>
                    <a:gs pos="69000">
                      <a:srgbClr val="C50849"/>
                    </a:gs>
                    <a:gs pos="82001">
                      <a:srgbClr val="B43E85"/>
                    </a:gs>
                    <a:gs pos="100000">
                      <a:srgbClr val="F8B049"/>
                    </a:gs>
                  </a:gsLst>
                  <a:lin ang="5400000" scaled="1"/>
                </a:gradFill>
                <a:effectLst>
                  <a:outerShdw blurRad="38100" dist="38100" dir="2700000" algn="tl">
                    <a:srgbClr val="000000">
                      <a:alpha val="43137"/>
                    </a:srgbClr>
                  </a:outerShdw>
                </a:effectLst>
                <a:latin typeface="LilyUPC" panose="020B0604020202020204" pitchFamily="34" charset="-34"/>
                <a:ea typeface="+mn-cs"/>
              </a:rPr>
              <a:t>องค์กรเปลี่ยน</a:t>
            </a:r>
          </a:p>
        </p:txBody>
      </p:sp>
      <p:grpSp>
        <p:nvGrpSpPr>
          <p:cNvPr id="2" name="Group 1"/>
          <p:cNvGrpSpPr/>
          <p:nvPr/>
        </p:nvGrpSpPr>
        <p:grpSpPr>
          <a:xfrm>
            <a:off x="7413232" y="381000"/>
            <a:ext cx="1393764" cy="1407271"/>
            <a:chOff x="7564841" y="193964"/>
            <a:chExt cx="1393764" cy="1407271"/>
          </a:xfrm>
        </p:grpSpPr>
        <p:pic>
          <p:nvPicPr>
            <p:cNvPr id="77" name="Picture 7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585640" y="228600"/>
              <a:ext cx="1305543" cy="1372635"/>
            </a:xfrm>
            <a:prstGeom prst="rect">
              <a:avLst/>
            </a:prstGeom>
          </p:spPr>
        </p:pic>
        <p:sp>
          <p:nvSpPr>
            <p:cNvPr id="78" name="TextBox 77"/>
            <p:cNvSpPr txBox="1"/>
            <p:nvPr/>
          </p:nvSpPr>
          <p:spPr>
            <a:xfrm>
              <a:off x="7564841" y="193964"/>
              <a:ext cx="1393764" cy="978811"/>
            </a:xfrm>
            <a:prstGeom prst="rect">
              <a:avLst/>
            </a:prstGeom>
            <a:noFill/>
          </p:spPr>
          <p:txBody>
            <a:bodyPr wrap="none" rtlCol="0">
              <a:prstTxWarp prst="textArchUp">
                <a:avLst/>
              </a:prstTxWarp>
              <a:spAutoFit/>
            </a:bodyPr>
            <a:lstStyle/>
            <a:p>
              <a:pPr algn="ctr" fontAlgn="auto">
                <a:spcBef>
                  <a:spcPts val="0"/>
                </a:spcBef>
                <a:spcAft>
                  <a:spcPts val="0"/>
                </a:spcAft>
              </a:pPr>
              <a:r>
                <a:rPr lang="th-TH" sz="2000" dirty="0" smtClean="0">
                  <a:ln w="0"/>
                  <a:solidFill>
                    <a:srgbClr val="4F81BD"/>
                  </a:solidFill>
                  <a:effectLst>
                    <a:outerShdw blurRad="38100" dist="25400" dir="5400000" algn="ctr" rotWithShape="0">
                      <a:srgbClr val="6E747A">
                        <a:alpha val="43000"/>
                      </a:srgbClr>
                    </a:outerShdw>
                  </a:effectLst>
                  <a:latin typeface="Calibri"/>
                  <a:cs typeface="Cordia New" panose="020B0304020202020204" pitchFamily="34" charset="-34"/>
                </a:rPr>
                <a:t>อะไรที่ต้องปรับ</a:t>
              </a:r>
              <a:r>
                <a:rPr lang="en-US" sz="2000" dirty="0" smtClean="0">
                  <a:ln w="0"/>
                  <a:solidFill>
                    <a:srgbClr val="4F81BD"/>
                  </a:solidFill>
                  <a:effectLst>
                    <a:outerShdw blurRad="38100" dist="25400" dir="5400000" algn="ctr" rotWithShape="0">
                      <a:srgbClr val="6E747A">
                        <a:alpha val="43000"/>
                      </a:srgbClr>
                    </a:outerShdw>
                  </a:effectLst>
                  <a:latin typeface="Calibri"/>
                  <a:cs typeface="+mn-cs"/>
                </a:rPr>
                <a:t>-</a:t>
              </a:r>
              <a:r>
                <a:rPr lang="th-TH" sz="2000" dirty="0" smtClean="0">
                  <a:ln w="0"/>
                  <a:solidFill>
                    <a:srgbClr val="4F81BD"/>
                  </a:solidFill>
                  <a:effectLst>
                    <a:outerShdw blurRad="38100" dist="25400" dir="5400000" algn="ctr" rotWithShape="0">
                      <a:srgbClr val="6E747A">
                        <a:alpha val="43000"/>
                      </a:srgbClr>
                    </a:outerShdw>
                  </a:effectLst>
                  <a:latin typeface="Calibri"/>
                  <a:cs typeface="Cordia New" panose="020B0304020202020204" pitchFamily="34" charset="-34"/>
                </a:rPr>
                <a:t>เปลี่ยน</a:t>
              </a:r>
              <a:endParaRPr lang="th-TH" sz="2000" dirty="0">
                <a:ln w="0"/>
                <a:solidFill>
                  <a:srgbClr val="4F81BD"/>
                </a:solidFill>
                <a:effectLst>
                  <a:outerShdw blurRad="38100" dist="25400" dir="5400000" algn="ctr" rotWithShape="0">
                    <a:srgbClr val="6E747A">
                      <a:alpha val="43000"/>
                    </a:srgbClr>
                  </a:outerShdw>
                </a:effectLst>
                <a:latin typeface="Calibri"/>
                <a:cs typeface="Cordia New" panose="020B0304020202020204" pitchFamily="34" charset="-34"/>
              </a:endParaRPr>
            </a:p>
          </p:txBody>
        </p:sp>
      </p:grpSp>
    </p:spTree>
    <p:extLst>
      <p:ext uri="{BB962C8B-B14F-4D97-AF65-F5344CB8AC3E}">
        <p14:creationId xmlns:p14="http://schemas.microsoft.com/office/powerpoint/2010/main" val="32334098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par>
                                <p:cTn id="8" presetID="10" presetClass="entr" presetSubtype="0" fill="hold"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fade">
                                      <p:cBhvr>
                                        <p:cTn id="10" dur="500"/>
                                        <p:tgtEl>
                                          <p:spTgt spid="6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8"/>
                                        </p:tgtEl>
                                        <p:attrNameLst>
                                          <p:attrName>style.visibility</p:attrName>
                                        </p:attrNameLst>
                                      </p:cBhvr>
                                      <p:to>
                                        <p:strVal val="visible"/>
                                      </p:to>
                                    </p:set>
                                    <p:animEffect transition="in" filter="fade">
                                      <p:cBhvr>
                                        <p:cTn id="13" dur="500"/>
                                        <p:tgtEl>
                                          <p:spTgt spid="58"/>
                                        </p:tgtEl>
                                      </p:cBhvr>
                                    </p:animEffect>
                                  </p:childTnLst>
                                </p:cTn>
                              </p:par>
                            </p:childTnLst>
                          </p:cTn>
                        </p:par>
                      </p:childTnLst>
                    </p:cTn>
                  </p:par>
                  <p:par>
                    <p:cTn id="14" fill="hold">
                      <p:stCondLst>
                        <p:cond delay="indefinite"/>
                      </p:stCondLst>
                      <p:childTnLst>
                        <p:par>
                          <p:cTn id="15" fill="hold">
                            <p:stCondLst>
                              <p:cond delay="0"/>
                            </p:stCondLst>
                            <p:childTnLst>
                              <p:par>
                                <p:cTn id="16" presetID="8" presetClass="emph" presetSubtype="0" fill="hold" nodeType="clickEffect">
                                  <p:stCondLst>
                                    <p:cond delay="0"/>
                                  </p:stCondLst>
                                  <p:childTnLst>
                                    <p:animRot by="-8580000">
                                      <p:cBhvr>
                                        <p:cTn id="17" dur="2000" fill="hold"/>
                                        <p:tgtEl>
                                          <p:spTgt spid="60"/>
                                        </p:tgtEl>
                                        <p:attrNameLst>
                                          <p:attrName>r</p:attrName>
                                        </p:attrNameLst>
                                      </p:cBhvr>
                                    </p:animRot>
                                  </p:childTnLst>
                                </p:cTn>
                              </p:par>
                              <p:par>
                                <p:cTn id="18" presetID="63" presetClass="path" presetSubtype="0" accel="50000" decel="50000" fill="hold" nodeType="withEffect">
                                  <p:stCondLst>
                                    <p:cond delay="0"/>
                                  </p:stCondLst>
                                  <p:childTnLst>
                                    <p:animMotion origin="layout" path="M -2.22222E-6 -4.07407E-6 L 0.03611 -0.02384 " pathEditMode="relative" rAng="0" ptsTypes="AA">
                                      <p:cBhvr>
                                        <p:cTn id="19" dur="2000" fill="hold"/>
                                        <p:tgtEl>
                                          <p:spTgt spid="60"/>
                                        </p:tgtEl>
                                        <p:attrNameLst>
                                          <p:attrName>ppt_x</p:attrName>
                                          <p:attrName>ppt_y</p:attrName>
                                        </p:attrNameLst>
                                      </p:cBhvr>
                                      <p:rCtr x="1806" y="-1204"/>
                                    </p:animMotion>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69"/>
                                        </p:tgtEl>
                                        <p:attrNameLst>
                                          <p:attrName>style.visibility</p:attrName>
                                        </p:attrNameLst>
                                      </p:cBhvr>
                                      <p:to>
                                        <p:strVal val="visible"/>
                                      </p:to>
                                    </p:set>
                                    <p:animEffect transition="in" filter="fade">
                                      <p:cBhvr>
                                        <p:cTn id="23" dur="500"/>
                                        <p:tgtEl>
                                          <p:spTgt spid="69"/>
                                        </p:tgtEl>
                                      </p:cBhvr>
                                    </p:animEffect>
                                  </p:childTnLst>
                                </p:cTn>
                              </p:par>
                              <p:par>
                                <p:cTn id="24" presetID="10" presetClass="entr" presetSubtype="0" fill="hold" nodeType="withEffect">
                                  <p:stCondLst>
                                    <p:cond delay="0"/>
                                  </p:stCondLst>
                                  <p:childTnLst>
                                    <p:set>
                                      <p:cBhvr>
                                        <p:cTn id="25" dur="1" fill="hold">
                                          <p:stCondLst>
                                            <p:cond delay="0"/>
                                          </p:stCondLst>
                                        </p:cTn>
                                        <p:tgtEl>
                                          <p:spTgt spid="71"/>
                                        </p:tgtEl>
                                        <p:attrNameLst>
                                          <p:attrName>style.visibility</p:attrName>
                                        </p:attrNameLst>
                                      </p:cBhvr>
                                      <p:to>
                                        <p:strVal val="visible"/>
                                      </p:to>
                                    </p:set>
                                    <p:animEffect transition="in" filter="fade">
                                      <p:cBhvr>
                                        <p:cTn id="26" dur="500"/>
                                        <p:tgtEl>
                                          <p:spTgt spid="7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68"/>
                                        </p:tgtEl>
                                        <p:attrNameLst>
                                          <p:attrName>style.visibility</p:attrName>
                                        </p:attrNameLst>
                                      </p:cBhvr>
                                      <p:to>
                                        <p:strVal val="visible"/>
                                      </p:to>
                                    </p:set>
                                    <p:animEffect transition="in" filter="fade">
                                      <p:cBhvr>
                                        <p:cTn id="29" dur="500"/>
                                        <p:tgtEl>
                                          <p:spTgt spid="68"/>
                                        </p:tgtEl>
                                      </p:cBhvr>
                                    </p:animEffect>
                                  </p:childTnLst>
                                </p:cTn>
                              </p:par>
                              <p:par>
                                <p:cTn id="30" presetID="10" presetClass="entr" presetSubtype="0" fill="hold" nodeType="withEffect">
                                  <p:stCondLst>
                                    <p:cond delay="0"/>
                                  </p:stCondLst>
                                  <p:childTnLst>
                                    <p:set>
                                      <p:cBhvr>
                                        <p:cTn id="31" dur="1" fill="hold">
                                          <p:stCondLst>
                                            <p:cond delay="0"/>
                                          </p:stCondLst>
                                        </p:cTn>
                                        <p:tgtEl>
                                          <p:spTgt spid="65"/>
                                        </p:tgtEl>
                                        <p:attrNameLst>
                                          <p:attrName>style.visibility</p:attrName>
                                        </p:attrNameLst>
                                      </p:cBhvr>
                                      <p:to>
                                        <p:strVal val="visible"/>
                                      </p:to>
                                    </p:set>
                                    <p:animEffect transition="in" filter="fade">
                                      <p:cBhvr>
                                        <p:cTn id="32" dur="500"/>
                                        <p:tgtEl>
                                          <p:spTgt spid="65"/>
                                        </p:tgtEl>
                                      </p:cBhvr>
                                    </p:animEffect>
                                  </p:childTnLst>
                                </p:cTn>
                              </p:par>
                            </p:childTnLst>
                          </p:cTn>
                        </p:par>
                      </p:childTnLst>
                    </p:cTn>
                  </p:par>
                  <p:par>
                    <p:cTn id="33" fill="hold">
                      <p:stCondLst>
                        <p:cond delay="indefinite"/>
                      </p:stCondLst>
                      <p:childTnLst>
                        <p:par>
                          <p:cTn id="34" fill="hold">
                            <p:stCondLst>
                              <p:cond delay="0"/>
                            </p:stCondLst>
                            <p:childTnLst>
                              <p:par>
                                <p:cTn id="35" presetID="8" presetClass="emph" presetSubtype="0" fill="hold" nodeType="clickEffect">
                                  <p:stCondLst>
                                    <p:cond delay="0"/>
                                  </p:stCondLst>
                                  <p:childTnLst>
                                    <p:animRot by="-2400000">
                                      <p:cBhvr>
                                        <p:cTn id="36" dur="2000" fill="hold"/>
                                        <p:tgtEl>
                                          <p:spTgt spid="71"/>
                                        </p:tgtEl>
                                        <p:attrNameLst>
                                          <p:attrName>r</p:attrName>
                                        </p:attrNameLst>
                                      </p:cBhvr>
                                    </p:animRot>
                                  </p:childTnLst>
                                </p:cTn>
                              </p:par>
                              <p:par>
                                <p:cTn id="37" presetID="64" presetClass="path" presetSubtype="0" accel="50000" decel="50000" fill="hold" nodeType="withEffect">
                                  <p:stCondLst>
                                    <p:cond delay="0"/>
                                  </p:stCondLst>
                                  <p:childTnLst>
                                    <p:animMotion origin="layout" path="M -1.11111E-6 -3.7037E-7 L 0.00139 -0.02037 " pathEditMode="relative" rAng="0" ptsTypes="AA">
                                      <p:cBhvr>
                                        <p:cTn id="38" dur="2000" fill="hold"/>
                                        <p:tgtEl>
                                          <p:spTgt spid="71"/>
                                        </p:tgtEl>
                                        <p:attrNameLst>
                                          <p:attrName>ppt_x</p:attrName>
                                          <p:attrName>ppt_y</p:attrName>
                                        </p:attrNameLst>
                                      </p:cBhvr>
                                      <p:rCtr x="69" y="-1019"/>
                                    </p:animMotion>
                                  </p:childTnLst>
                                </p:cTn>
                              </p:par>
                            </p:childTnLst>
                          </p:cTn>
                        </p:par>
                        <p:par>
                          <p:cTn id="39" fill="hold">
                            <p:stCondLst>
                              <p:cond delay="2000"/>
                            </p:stCondLst>
                            <p:childTnLst>
                              <p:par>
                                <p:cTn id="40" presetID="10" presetClass="entr" presetSubtype="0" fill="hold" nodeType="afterEffect">
                                  <p:stCondLst>
                                    <p:cond delay="0"/>
                                  </p:stCondLst>
                                  <p:childTnLst>
                                    <p:set>
                                      <p:cBhvr>
                                        <p:cTn id="41" dur="1" fill="hold">
                                          <p:stCondLst>
                                            <p:cond delay="0"/>
                                          </p:stCondLst>
                                        </p:cTn>
                                        <p:tgtEl>
                                          <p:spTgt spid="75"/>
                                        </p:tgtEl>
                                        <p:attrNameLst>
                                          <p:attrName>style.visibility</p:attrName>
                                        </p:attrNameLst>
                                      </p:cBhvr>
                                      <p:to>
                                        <p:strVal val="visible"/>
                                      </p:to>
                                    </p:set>
                                    <p:animEffect transition="in" filter="fade">
                                      <p:cBhvr>
                                        <p:cTn id="42" dur="500"/>
                                        <p:tgtEl>
                                          <p:spTgt spid="75"/>
                                        </p:tgtEl>
                                      </p:cBhvr>
                                    </p:animEffect>
                                  </p:childTnLst>
                                </p:cTn>
                              </p:par>
                              <p:par>
                                <p:cTn id="43" presetID="10" presetClass="entr" presetSubtype="0" fill="hold" nodeType="withEffect">
                                  <p:stCondLst>
                                    <p:cond delay="0"/>
                                  </p:stCondLst>
                                  <p:childTnLst>
                                    <p:set>
                                      <p:cBhvr>
                                        <p:cTn id="44" dur="1" fill="hold">
                                          <p:stCondLst>
                                            <p:cond delay="0"/>
                                          </p:stCondLst>
                                        </p:cTn>
                                        <p:tgtEl>
                                          <p:spTgt spid="76"/>
                                        </p:tgtEl>
                                        <p:attrNameLst>
                                          <p:attrName>style.visibility</p:attrName>
                                        </p:attrNameLst>
                                      </p:cBhvr>
                                      <p:to>
                                        <p:strVal val="visible"/>
                                      </p:to>
                                    </p:set>
                                    <p:animEffect transition="in" filter="fade">
                                      <p:cBhvr>
                                        <p:cTn id="45" dur="500"/>
                                        <p:tgtEl>
                                          <p:spTgt spid="7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74"/>
                                        </p:tgtEl>
                                        <p:attrNameLst>
                                          <p:attrName>style.visibility</p:attrName>
                                        </p:attrNameLst>
                                      </p:cBhvr>
                                      <p:to>
                                        <p:strVal val="visible"/>
                                      </p:to>
                                    </p:set>
                                    <p:animEffect transition="in" filter="fade">
                                      <p:cBhvr>
                                        <p:cTn id="48" dur="500"/>
                                        <p:tgtEl>
                                          <p:spTgt spid="74"/>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1" fill="hold" nodeType="clickEffect">
                                  <p:stCondLst>
                                    <p:cond delay="0"/>
                                  </p:stCondLst>
                                  <p:childTnLst>
                                    <p:set>
                                      <p:cBhvr>
                                        <p:cTn id="52" dur="1" fill="hold">
                                          <p:stCondLst>
                                            <p:cond delay="0"/>
                                          </p:stCondLst>
                                        </p:cTn>
                                        <p:tgtEl>
                                          <p:spTgt spid="2"/>
                                        </p:tgtEl>
                                        <p:attrNameLst>
                                          <p:attrName>style.visibility</p:attrName>
                                        </p:attrNameLst>
                                      </p:cBhvr>
                                      <p:to>
                                        <p:strVal val="visible"/>
                                      </p:to>
                                    </p:set>
                                    <p:animEffect transition="in" filter="wipe(up)">
                                      <p:cBhvr>
                                        <p:cTn id="53"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p:bldP spid="68" grpId="0"/>
      <p:bldP spid="7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Slide Number Placeholder 3"/>
          <p:cNvSpPr txBox="1">
            <a:spLocks noGrp="1"/>
          </p:cNvSpPr>
          <p:nvPr/>
        </p:nvSpPr>
        <p:spPr bwMode="auto">
          <a:xfrm>
            <a:off x="8626468" y="6443815"/>
            <a:ext cx="394003" cy="406070"/>
          </a:xfrm>
          <a:prstGeom prst="rect">
            <a:avLst/>
          </a:prstGeom>
          <a:noFill/>
          <a:ln>
            <a:miter lim="800000"/>
            <a:headEnd/>
            <a:tailEnd/>
          </a:ln>
        </p:spPr>
        <p:txBody>
          <a:bodyPr/>
          <a:lstStyle/>
          <a:p>
            <a:pPr algn="r" eaLnBrk="0" hangingPunct="0">
              <a:defRPr/>
            </a:pPr>
            <a:fld id="{CB7B0993-7A45-474B-B245-6AC8170489E5}" type="slidenum">
              <a:rPr lang="en-US" sz="2400" i="1">
                <a:solidFill>
                  <a:prstClr val="black"/>
                </a:solidFill>
                <a:effectDag name="">
                  <a:cont type="tree" name="">
                    <a:effect ref="fillLine"/>
                    <a:outerShdw dist="38100" dir="13500000" algn="br">
                      <a:srgbClr val="6858FF"/>
                    </a:outerShdw>
                  </a:cont>
                  <a:cont type="tree" name="">
                    <a:effect ref="fillLine"/>
                    <a:outerShdw dist="38100" dir="2700000" algn="tl">
                      <a:srgbClr val="0E0286"/>
                    </a:outerShdw>
                  </a:cont>
                  <a:effect ref="fillLine"/>
                </a:effectDag>
                <a:latin typeface="BrowalliaUPC" pitchFamily="34" charset="-34"/>
              </a:rPr>
              <a:pPr algn="r" eaLnBrk="0" hangingPunct="0">
                <a:defRPr/>
              </a:pPr>
              <a:t>8</a:t>
            </a:fld>
            <a:endParaRPr lang="th-TH" sz="1800" i="1" dirty="0">
              <a:solidFill>
                <a:prstClr val="black"/>
              </a:solidFill>
              <a:effectDag name="">
                <a:cont type="tree" name="">
                  <a:effect ref="fillLine"/>
                  <a:outerShdw dist="38100" dir="13500000" algn="br">
                    <a:srgbClr val="6858FF"/>
                  </a:outerShdw>
                </a:cont>
                <a:cont type="tree" name="">
                  <a:effect ref="fillLine"/>
                  <a:outerShdw dist="38100" dir="2700000" algn="tl">
                    <a:srgbClr val="0E0286"/>
                  </a:outerShdw>
                </a:cont>
                <a:effect ref="fillLine"/>
              </a:effectDag>
              <a:latin typeface="BrowalliaUPC" pitchFamily="34" charset="-34"/>
            </a:endParaRPr>
          </a:p>
        </p:txBody>
      </p:sp>
      <p:sp>
        <p:nvSpPr>
          <p:cNvPr id="114" name="Rectangle 42"/>
          <p:cNvSpPr>
            <a:spLocks noChangeArrowheads="1"/>
          </p:cNvSpPr>
          <p:nvPr/>
        </p:nvSpPr>
        <p:spPr bwMode="auto">
          <a:xfrm>
            <a:off x="105331" y="2984405"/>
            <a:ext cx="1888677" cy="2089150"/>
          </a:xfrm>
          <a:prstGeom prst="rect">
            <a:avLst/>
          </a:prstGeom>
          <a:solidFill>
            <a:srgbClr val="0066CC"/>
          </a:solidFill>
          <a:ln w="28575" algn="ctr">
            <a:noFill/>
            <a:miter lim="800000"/>
            <a:headEnd/>
            <a:tailEnd type="none" w="lg" len="lg"/>
          </a:ln>
          <a:effectLst>
            <a:glow rad="139700">
              <a:srgbClr val="6EA0B0">
                <a:satMod val="175000"/>
                <a:alpha val="40000"/>
              </a:srgb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fontAlgn="auto">
              <a:spcBef>
                <a:spcPts val="0"/>
              </a:spcBef>
              <a:spcAft>
                <a:spcPts val="0"/>
              </a:spcAft>
              <a:defRPr/>
            </a:pPr>
            <a:endParaRPr lang="th-TH" sz="1100" kern="0">
              <a:solidFill>
                <a:prstClr val="black"/>
              </a:solidFill>
            </a:endParaRPr>
          </a:p>
        </p:txBody>
      </p:sp>
      <p:sp>
        <p:nvSpPr>
          <p:cNvPr id="115" name="Rectangle 43"/>
          <p:cNvSpPr>
            <a:spLocks noChangeArrowheads="1"/>
          </p:cNvSpPr>
          <p:nvPr/>
        </p:nvSpPr>
        <p:spPr bwMode="auto">
          <a:xfrm>
            <a:off x="135648" y="110835"/>
            <a:ext cx="1866210" cy="2662638"/>
          </a:xfrm>
          <a:prstGeom prst="rect">
            <a:avLst/>
          </a:prstGeom>
          <a:solidFill>
            <a:srgbClr val="0066CC"/>
          </a:solidFill>
          <a:ln w="28575" algn="ctr">
            <a:noFill/>
            <a:miter lim="800000"/>
            <a:headEnd/>
            <a:tailEnd type="none" w="lg" len="lg"/>
          </a:ln>
          <a:effectLst>
            <a:glow rad="139700">
              <a:srgbClr val="6EA0B0">
                <a:satMod val="175000"/>
                <a:alpha val="40000"/>
              </a:srgb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fontAlgn="auto">
              <a:spcBef>
                <a:spcPts val="0"/>
              </a:spcBef>
              <a:spcAft>
                <a:spcPts val="0"/>
              </a:spcAft>
              <a:defRPr/>
            </a:pPr>
            <a:endParaRPr lang="th-TH" sz="1100" kern="0">
              <a:solidFill>
                <a:prstClr val="black"/>
              </a:solidFill>
            </a:endParaRPr>
          </a:p>
        </p:txBody>
      </p:sp>
      <p:sp>
        <p:nvSpPr>
          <p:cNvPr id="116" name="Oval 2"/>
          <p:cNvSpPr>
            <a:spLocks noChangeArrowheads="1"/>
          </p:cNvSpPr>
          <p:nvPr/>
        </p:nvSpPr>
        <p:spPr bwMode="auto">
          <a:xfrm>
            <a:off x="2556883" y="291180"/>
            <a:ext cx="6361112" cy="6361112"/>
          </a:xfrm>
          <a:prstGeom prst="ellipse">
            <a:avLst/>
          </a:prstGeom>
          <a:gradFill rotWithShape="1">
            <a:gsLst>
              <a:gs pos="0">
                <a:srgbClr val="9E9273">
                  <a:tint val="73000"/>
                  <a:satMod val="150000"/>
                </a:srgbClr>
              </a:gs>
              <a:gs pos="25000">
                <a:srgbClr val="9E9273">
                  <a:tint val="96000"/>
                  <a:shade val="80000"/>
                  <a:satMod val="105000"/>
                </a:srgbClr>
              </a:gs>
              <a:gs pos="38000">
                <a:srgbClr val="9E9273">
                  <a:tint val="96000"/>
                  <a:shade val="59000"/>
                  <a:satMod val="120000"/>
                </a:srgbClr>
              </a:gs>
              <a:gs pos="55000">
                <a:srgbClr val="9E9273">
                  <a:shade val="57000"/>
                  <a:satMod val="120000"/>
                </a:srgbClr>
              </a:gs>
              <a:gs pos="80000">
                <a:srgbClr val="9E9273">
                  <a:shade val="56000"/>
                  <a:satMod val="145000"/>
                </a:srgbClr>
              </a:gs>
              <a:gs pos="88000">
                <a:srgbClr val="9E9273">
                  <a:shade val="63000"/>
                  <a:satMod val="160000"/>
                </a:srgbClr>
              </a:gs>
              <a:gs pos="100000">
                <a:srgbClr val="9E9273">
                  <a:tint val="99555"/>
                  <a:satMod val="155000"/>
                </a:srgbClr>
              </a:gs>
            </a:gsLst>
            <a:lin ang="5400000" scaled="1"/>
          </a:gradFill>
          <a:ln>
            <a:noFill/>
            <a:headEnd/>
            <a:tailEnd/>
          </a:ln>
          <a:effectLst>
            <a:glow rad="228600">
              <a:srgbClr val="CCAF0A">
                <a:satMod val="175000"/>
                <a:alpha val="40000"/>
              </a:srgbClr>
            </a:glow>
            <a:outerShdw blurRad="65500" dist="38100" dir="5400000" rotWithShape="0">
              <a:srgbClr val="000000">
                <a:alpha val="40000"/>
              </a:srgbClr>
            </a:outerShdw>
          </a:effectLst>
          <a:scene3d>
            <a:camera prst="orthographicFront" fov="0">
              <a:rot lat="0" lon="0" rev="0"/>
            </a:camera>
            <a:lightRig rig="contrasting" dir="t">
              <a:rot lat="0" lon="0" rev="12000000"/>
            </a:lightRig>
          </a:scene3d>
          <a:sp3d prstMaterial="powder">
            <a:bevelT h="50800"/>
          </a:sp3d>
        </p:spPr>
        <p:txBody>
          <a:bodyPr wrap="none" anchor="ctr"/>
          <a:lstStyle/>
          <a:p>
            <a:pPr fontAlgn="auto">
              <a:spcBef>
                <a:spcPts val="0"/>
              </a:spcBef>
              <a:spcAft>
                <a:spcPts val="0"/>
              </a:spcAft>
              <a:defRPr/>
            </a:pPr>
            <a:endParaRPr lang="th-TH" sz="1800" kern="0">
              <a:solidFill>
                <a:prstClr val="white"/>
              </a:solidFill>
              <a:latin typeface="Arial"/>
              <a:cs typeface="LilyUPC" panose="020B0604020202020204" pitchFamily="34" charset="-34"/>
            </a:endParaRPr>
          </a:p>
        </p:txBody>
      </p:sp>
      <p:sp>
        <p:nvSpPr>
          <p:cNvPr id="121" name="Rectangle 7"/>
          <p:cNvSpPr>
            <a:spLocks noChangeArrowheads="1"/>
          </p:cNvSpPr>
          <p:nvPr/>
        </p:nvSpPr>
        <p:spPr bwMode="auto">
          <a:xfrm>
            <a:off x="96980" y="258109"/>
            <a:ext cx="1624163" cy="338554"/>
          </a:xfrm>
          <a:prstGeom prst="rect">
            <a:avLst/>
          </a:prstGeom>
          <a:noFill/>
          <a:ln w="9525">
            <a:noFill/>
            <a:miter lim="800000"/>
            <a:headEnd/>
            <a:tailEnd/>
          </a:ln>
          <a:effectLst/>
        </p:spPr>
        <p:txBody>
          <a:bodyPr wrap="none" lIns="92075" tIns="46038" rIns="92075" bIns="46038"/>
          <a:lstStyle/>
          <a:p>
            <a:pPr marL="342900" indent="-342900" eaLnBrk="0" hangingPunct="0">
              <a:lnSpc>
                <a:spcPct val="80000"/>
              </a:lnSpc>
              <a:spcBef>
                <a:spcPct val="20000"/>
              </a:spcBef>
              <a:buClr>
                <a:srgbClr val="00C8C3"/>
              </a:buClr>
              <a:buSzPct val="50000"/>
              <a:defRPr/>
            </a:pPr>
            <a:r>
              <a:rPr lang="en-US" sz="2000" b="1" i="1" dirty="0">
                <a:ln>
                  <a:solidFill>
                    <a:srgbClr val="FF9900"/>
                  </a:solidFill>
                </a:ln>
                <a:solidFill>
                  <a:prstClr val="white"/>
                </a:solidFill>
                <a:effectLst>
                  <a:outerShdw blurRad="38100" dist="38100" dir="2700000" algn="tl">
                    <a:srgbClr val="000000"/>
                  </a:outerShdw>
                </a:effectLst>
                <a:cs typeface="AngsanaUPC" pitchFamily="18" charset="-34"/>
              </a:rPr>
              <a:t>Economics </a:t>
            </a:r>
          </a:p>
        </p:txBody>
      </p:sp>
      <p:sp>
        <p:nvSpPr>
          <p:cNvPr id="122" name="Rectangle 8"/>
          <p:cNvSpPr>
            <a:spLocks noChangeArrowheads="1"/>
          </p:cNvSpPr>
          <p:nvPr/>
        </p:nvSpPr>
        <p:spPr bwMode="auto">
          <a:xfrm>
            <a:off x="96980" y="1062077"/>
            <a:ext cx="1030288" cy="415925"/>
          </a:xfrm>
          <a:prstGeom prst="rect">
            <a:avLst/>
          </a:prstGeom>
          <a:noFill/>
          <a:ln w="9525">
            <a:noFill/>
            <a:miter lim="800000"/>
            <a:headEnd/>
            <a:tailEnd/>
          </a:ln>
          <a:effectLst/>
        </p:spPr>
        <p:txBody>
          <a:bodyPr wrap="none" lIns="92075" tIns="46038" rIns="92075" bIns="46038"/>
          <a:lstStyle/>
          <a:p>
            <a:pPr marL="342900" indent="-342900" eaLnBrk="0" hangingPunct="0">
              <a:lnSpc>
                <a:spcPct val="80000"/>
              </a:lnSpc>
              <a:spcBef>
                <a:spcPct val="20000"/>
              </a:spcBef>
              <a:buClr>
                <a:srgbClr val="00C8C3"/>
              </a:buClr>
              <a:buSzPct val="50000"/>
              <a:defRPr/>
            </a:pPr>
            <a:r>
              <a:rPr lang="en-US" sz="2000" b="1" i="1" dirty="0">
                <a:ln>
                  <a:solidFill>
                    <a:srgbClr val="FF9900"/>
                  </a:solidFill>
                </a:ln>
                <a:solidFill>
                  <a:prstClr val="white"/>
                </a:solidFill>
                <a:effectLst>
                  <a:outerShdw blurRad="38100" dist="38100" dir="2700000" algn="tl">
                    <a:srgbClr val="000000"/>
                  </a:outerShdw>
                </a:effectLst>
                <a:cs typeface="AngsanaUPC" pitchFamily="18" charset="-34"/>
              </a:rPr>
              <a:t>Social </a:t>
            </a:r>
          </a:p>
        </p:txBody>
      </p:sp>
      <p:sp>
        <p:nvSpPr>
          <p:cNvPr id="123" name="Rectangle 9"/>
          <p:cNvSpPr>
            <a:spLocks noChangeArrowheads="1"/>
          </p:cNvSpPr>
          <p:nvPr/>
        </p:nvSpPr>
        <p:spPr bwMode="auto">
          <a:xfrm>
            <a:off x="96980" y="1501750"/>
            <a:ext cx="1752600" cy="421690"/>
          </a:xfrm>
          <a:prstGeom prst="rect">
            <a:avLst/>
          </a:prstGeom>
          <a:noFill/>
          <a:ln w="9525">
            <a:noFill/>
            <a:miter lim="800000"/>
            <a:headEnd/>
            <a:tailEnd/>
          </a:ln>
          <a:effectLst/>
        </p:spPr>
        <p:txBody>
          <a:bodyPr wrap="none" lIns="92075" tIns="46038" rIns="92075" bIns="46038"/>
          <a:lstStyle/>
          <a:p>
            <a:pPr marL="342900" indent="-342900" eaLnBrk="0" hangingPunct="0">
              <a:lnSpc>
                <a:spcPct val="80000"/>
              </a:lnSpc>
              <a:spcBef>
                <a:spcPct val="20000"/>
              </a:spcBef>
              <a:buClr>
                <a:srgbClr val="00C8C3"/>
              </a:buClr>
              <a:buSzPct val="50000"/>
              <a:buFont typeface="Monotype Sorts" pitchFamily="2" charset="2"/>
              <a:buNone/>
              <a:defRPr/>
            </a:pPr>
            <a:r>
              <a:rPr lang="en-US" sz="2000" b="1" i="1" dirty="0">
                <a:ln>
                  <a:solidFill>
                    <a:srgbClr val="FF9900"/>
                  </a:solidFill>
                </a:ln>
                <a:solidFill>
                  <a:prstClr val="white"/>
                </a:solidFill>
                <a:effectLst>
                  <a:outerShdw blurRad="38100" dist="38100" dir="2700000" algn="tl">
                    <a:srgbClr val="000000"/>
                  </a:outerShdw>
                </a:effectLst>
                <a:cs typeface="AngsanaUPC" pitchFamily="18" charset="-34"/>
              </a:rPr>
              <a:t>Technology</a:t>
            </a:r>
          </a:p>
        </p:txBody>
      </p:sp>
      <p:sp>
        <p:nvSpPr>
          <p:cNvPr id="124" name="Rectangle 10"/>
          <p:cNvSpPr>
            <a:spLocks noChangeArrowheads="1"/>
          </p:cNvSpPr>
          <p:nvPr/>
        </p:nvSpPr>
        <p:spPr bwMode="auto">
          <a:xfrm>
            <a:off x="96980" y="633453"/>
            <a:ext cx="1187450" cy="416858"/>
          </a:xfrm>
          <a:prstGeom prst="rect">
            <a:avLst/>
          </a:prstGeom>
          <a:noFill/>
          <a:ln w="9525">
            <a:noFill/>
            <a:miter lim="800000"/>
            <a:headEnd/>
            <a:tailEnd/>
          </a:ln>
          <a:effectLst/>
        </p:spPr>
        <p:txBody>
          <a:bodyPr wrap="none" lIns="92075" tIns="46038" rIns="92075" bIns="46038"/>
          <a:lstStyle/>
          <a:p>
            <a:pPr marL="342900" indent="-342900" eaLnBrk="0" hangingPunct="0">
              <a:lnSpc>
                <a:spcPct val="80000"/>
              </a:lnSpc>
              <a:spcBef>
                <a:spcPct val="20000"/>
              </a:spcBef>
              <a:buClr>
                <a:srgbClr val="00C8C3"/>
              </a:buClr>
              <a:buSzPct val="50000"/>
              <a:buFont typeface="Monotype Sorts" pitchFamily="2" charset="2"/>
              <a:buNone/>
              <a:defRPr/>
            </a:pPr>
            <a:r>
              <a:rPr lang="en-US" sz="2000" b="1" i="1" dirty="0">
                <a:ln>
                  <a:solidFill>
                    <a:srgbClr val="FF9900"/>
                  </a:solidFill>
                </a:ln>
                <a:solidFill>
                  <a:prstClr val="white"/>
                </a:solidFill>
                <a:effectLst>
                  <a:outerShdw blurRad="38100" dist="38100" dir="2700000" algn="tl">
                    <a:srgbClr val="000000"/>
                  </a:outerShdw>
                </a:effectLst>
                <a:cs typeface="AngsanaUPC" pitchFamily="18" charset="-34"/>
              </a:rPr>
              <a:t>Politics</a:t>
            </a:r>
          </a:p>
        </p:txBody>
      </p:sp>
      <p:sp>
        <p:nvSpPr>
          <p:cNvPr id="125" name="Rectangle 11"/>
          <p:cNvSpPr>
            <a:spLocks noChangeArrowheads="1"/>
          </p:cNvSpPr>
          <p:nvPr/>
        </p:nvSpPr>
        <p:spPr bwMode="auto">
          <a:xfrm>
            <a:off x="96980" y="1948330"/>
            <a:ext cx="1890713" cy="469900"/>
          </a:xfrm>
          <a:prstGeom prst="rect">
            <a:avLst/>
          </a:prstGeom>
          <a:noFill/>
          <a:ln w="9525">
            <a:noFill/>
            <a:miter lim="800000"/>
            <a:headEnd/>
            <a:tailEnd/>
          </a:ln>
          <a:effectLst/>
        </p:spPr>
        <p:txBody>
          <a:bodyPr wrap="none" lIns="92075" tIns="46038" rIns="92075" bIns="46038"/>
          <a:lstStyle/>
          <a:p>
            <a:pPr marL="342900" indent="-342900" eaLnBrk="0" hangingPunct="0">
              <a:lnSpc>
                <a:spcPct val="80000"/>
              </a:lnSpc>
              <a:spcBef>
                <a:spcPct val="20000"/>
              </a:spcBef>
              <a:buClr>
                <a:srgbClr val="00C8C3"/>
              </a:buClr>
              <a:buSzPct val="50000"/>
              <a:buFont typeface="Monotype Sorts" pitchFamily="2" charset="2"/>
              <a:buNone/>
              <a:defRPr/>
            </a:pPr>
            <a:r>
              <a:rPr lang="en-US" sz="2000" b="1" i="1" dirty="0">
                <a:ln>
                  <a:solidFill>
                    <a:srgbClr val="FF9900"/>
                  </a:solidFill>
                </a:ln>
                <a:solidFill>
                  <a:prstClr val="white"/>
                </a:solidFill>
                <a:effectLst>
                  <a:outerShdw blurRad="38100" dist="38100" dir="2700000" algn="tl">
                    <a:srgbClr val="000000"/>
                  </a:outerShdw>
                </a:effectLst>
                <a:cs typeface="AngsanaUPC" pitchFamily="18" charset="-34"/>
              </a:rPr>
              <a:t>International</a:t>
            </a:r>
          </a:p>
        </p:txBody>
      </p:sp>
      <p:sp>
        <p:nvSpPr>
          <p:cNvPr id="126" name="Rectangle 12"/>
          <p:cNvSpPr>
            <a:spLocks noChangeArrowheads="1"/>
          </p:cNvSpPr>
          <p:nvPr/>
        </p:nvSpPr>
        <p:spPr bwMode="auto">
          <a:xfrm>
            <a:off x="25466" y="2999159"/>
            <a:ext cx="1439863" cy="579437"/>
          </a:xfrm>
          <a:prstGeom prst="rect">
            <a:avLst/>
          </a:prstGeom>
          <a:noFill/>
          <a:ln w="9525">
            <a:noFill/>
            <a:miter lim="800000"/>
            <a:headEnd/>
            <a:tailEnd/>
          </a:ln>
          <a:effectLst/>
        </p:spPr>
        <p:txBody>
          <a:bodyPr wrap="none" lIns="92075" tIns="46038" rIns="92075" bIns="46038"/>
          <a:lstStyle/>
          <a:p>
            <a:pPr marL="342900" indent="-342900" eaLnBrk="0" hangingPunct="0">
              <a:lnSpc>
                <a:spcPct val="80000"/>
              </a:lnSpc>
              <a:spcBef>
                <a:spcPct val="20000"/>
              </a:spcBef>
              <a:buClr>
                <a:srgbClr val="00C8C3"/>
              </a:buClr>
              <a:buSzPct val="50000"/>
              <a:defRPr/>
            </a:pPr>
            <a:r>
              <a:rPr lang="en-US" sz="2000" b="1" i="1" dirty="0">
                <a:ln>
                  <a:solidFill>
                    <a:srgbClr val="FF9900"/>
                  </a:solidFill>
                </a:ln>
                <a:solidFill>
                  <a:prstClr val="white"/>
                </a:solidFill>
                <a:effectLst>
                  <a:outerShdw blurRad="38100" dist="38100" dir="2700000" algn="tl">
                    <a:srgbClr val="000000"/>
                  </a:outerShdw>
                </a:effectLst>
                <a:cs typeface="AngsanaUPC" pitchFamily="18" charset="-34"/>
              </a:rPr>
              <a:t>Customer</a:t>
            </a:r>
          </a:p>
        </p:txBody>
      </p:sp>
      <p:sp>
        <p:nvSpPr>
          <p:cNvPr id="127" name="Rectangle 13"/>
          <p:cNvSpPr>
            <a:spLocks noChangeArrowheads="1"/>
          </p:cNvSpPr>
          <p:nvPr/>
        </p:nvSpPr>
        <p:spPr bwMode="auto">
          <a:xfrm>
            <a:off x="25466" y="3392205"/>
            <a:ext cx="1439863" cy="579438"/>
          </a:xfrm>
          <a:prstGeom prst="rect">
            <a:avLst/>
          </a:prstGeom>
          <a:noFill/>
          <a:ln w="9525">
            <a:noFill/>
            <a:miter lim="800000"/>
            <a:headEnd/>
            <a:tailEnd/>
          </a:ln>
          <a:effectLst/>
        </p:spPr>
        <p:txBody>
          <a:bodyPr wrap="none" lIns="92075" tIns="46038" rIns="92075" bIns="46038"/>
          <a:lstStyle/>
          <a:p>
            <a:pPr marL="342900" indent="-342900" eaLnBrk="0" hangingPunct="0">
              <a:lnSpc>
                <a:spcPct val="80000"/>
              </a:lnSpc>
              <a:spcBef>
                <a:spcPct val="20000"/>
              </a:spcBef>
              <a:buClr>
                <a:srgbClr val="00C8C3"/>
              </a:buClr>
              <a:buSzPct val="50000"/>
              <a:buFont typeface="Monotype Sorts" pitchFamily="2" charset="2"/>
              <a:buNone/>
              <a:defRPr/>
            </a:pPr>
            <a:r>
              <a:rPr lang="en-US" sz="2000" b="1" i="1" dirty="0">
                <a:ln>
                  <a:solidFill>
                    <a:srgbClr val="FF9900"/>
                  </a:solidFill>
                </a:ln>
                <a:solidFill>
                  <a:prstClr val="white"/>
                </a:solidFill>
                <a:effectLst>
                  <a:outerShdw blurRad="38100" dist="38100" dir="2700000" algn="tl">
                    <a:srgbClr val="000000"/>
                  </a:outerShdw>
                </a:effectLst>
                <a:cs typeface="AngsanaUPC" pitchFamily="18" charset="-34"/>
              </a:rPr>
              <a:t>Competitor</a:t>
            </a:r>
          </a:p>
        </p:txBody>
      </p:sp>
      <p:sp>
        <p:nvSpPr>
          <p:cNvPr id="128" name="Rectangle 14"/>
          <p:cNvSpPr>
            <a:spLocks noChangeArrowheads="1"/>
          </p:cNvSpPr>
          <p:nvPr/>
        </p:nvSpPr>
        <p:spPr bwMode="auto">
          <a:xfrm>
            <a:off x="25466" y="4723744"/>
            <a:ext cx="1439863" cy="579437"/>
          </a:xfrm>
          <a:prstGeom prst="rect">
            <a:avLst/>
          </a:prstGeom>
          <a:noFill/>
          <a:ln w="9525">
            <a:noFill/>
            <a:miter lim="800000"/>
            <a:headEnd/>
            <a:tailEnd/>
          </a:ln>
          <a:effectLst/>
        </p:spPr>
        <p:txBody>
          <a:bodyPr wrap="none" lIns="92075" tIns="46038" rIns="92075" bIns="46038"/>
          <a:lstStyle/>
          <a:p>
            <a:pPr marL="342900" indent="-342900" eaLnBrk="0" hangingPunct="0">
              <a:lnSpc>
                <a:spcPct val="80000"/>
              </a:lnSpc>
              <a:spcBef>
                <a:spcPct val="20000"/>
              </a:spcBef>
              <a:buClr>
                <a:srgbClr val="00C8C3"/>
              </a:buClr>
              <a:buSzPct val="50000"/>
              <a:buFont typeface="Monotype Sorts" pitchFamily="2" charset="2"/>
              <a:buNone/>
              <a:defRPr/>
            </a:pPr>
            <a:r>
              <a:rPr lang="en-US" sz="2000" b="1" i="1" dirty="0">
                <a:ln>
                  <a:solidFill>
                    <a:srgbClr val="FF9900"/>
                  </a:solidFill>
                </a:ln>
                <a:solidFill>
                  <a:prstClr val="white"/>
                </a:solidFill>
                <a:effectLst>
                  <a:outerShdw blurRad="38100" dist="38100" dir="2700000" algn="tl">
                    <a:srgbClr val="000000"/>
                  </a:outerShdw>
                </a:effectLst>
                <a:cs typeface="AngsanaUPC" pitchFamily="18" charset="-34"/>
              </a:rPr>
              <a:t>S</a:t>
            </a:r>
            <a:r>
              <a:rPr lang="en-US" sz="2000" b="1" dirty="0">
                <a:ln>
                  <a:solidFill>
                    <a:srgbClr val="FF9900"/>
                  </a:solidFill>
                </a:ln>
                <a:solidFill>
                  <a:prstClr val="white"/>
                </a:solidFill>
                <a:effectLst>
                  <a:outerShdw blurRad="38100" dist="38100" dir="2700000" algn="tl">
                    <a:srgbClr val="000000"/>
                  </a:outerShdw>
                </a:effectLst>
                <a:cs typeface="AngsanaUPC" pitchFamily="18" charset="-34"/>
              </a:rPr>
              <a:t>upplier</a:t>
            </a:r>
          </a:p>
        </p:txBody>
      </p:sp>
      <p:sp>
        <p:nvSpPr>
          <p:cNvPr id="129" name="Rectangle 15"/>
          <p:cNvSpPr>
            <a:spLocks noChangeArrowheads="1"/>
          </p:cNvSpPr>
          <p:nvPr/>
        </p:nvSpPr>
        <p:spPr bwMode="auto">
          <a:xfrm>
            <a:off x="25466" y="4299321"/>
            <a:ext cx="1944688" cy="579438"/>
          </a:xfrm>
          <a:prstGeom prst="rect">
            <a:avLst/>
          </a:prstGeom>
          <a:noFill/>
          <a:ln w="9525">
            <a:noFill/>
            <a:miter lim="800000"/>
            <a:headEnd/>
            <a:tailEnd/>
          </a:ln>
          <a:effectLst/>
        </p:spPr>
        <p:txBody>
          <a:bodyPr wrap="none" lIns="92075" tIns="46038" rIns="92075" bIns="46038"/>
          <a:lstStyle/>
          <a:p>
            <a:pPr marL="342900" indent="-342900" eaLnBrk="0" hangingPunct="0">
              <a:lnSpc>
                <a:spcPct val="80000"/>
              </a:lnSpc>
              <a:spcBef>
                <a:spcPct val="20000"/>
              </a:spcBef>
              <a:buClr>
                <a:srgbClr val="00C8C3"/>
              </a:buClr>
              <a:buSzPct val="50000"/>
              <a:defRPr/>
            </a:pPr>
            <a:r>
              <a:rPr lang="en-US" sz="2000" b="1" i="1" dirty="0">
                <a:ln>
                  <a:solidFill>
                    <a:srgbClr val="FF9900"/>
                  </a:solidFill>
                </a:ln>
                <a:solidFill>
                  <a:prstClr val="white"/>
                </a:solidFill>
                <a:effectLst>
                  <a:outerShdw blurRad="38100" dist="38100" dir="2700000" algn="tl">
                    <a:srgbClr val="000000"/>
                  </a:outerShdw>
                </a:effectLst>
                <a:cs typeface="AngsanaUPC" pitchFamily="18" charset="-34"/>
              </a:rPr>
              <a:t>Stake-holder</a:t>
            </a:r>
          </a:p>
        </p:txBody>
      </p:sp>
      <p:sp>
        <p:nvSpPr>
          <p:cNvPr id="130" name="Rectangle 16"/>
          <p:cNvSpPr>
            <a:spLocks noChangeArrowheads="1"/>
          </p:cNvSpPr>
          <p:nvPr/>
        </p:nvSpPr>
        <p:spPr bwMode="auto">
          <a:xfrm>
            <a:off x="25466" y="3847724"/>
            <a:ext cx="1439863" cy="579438"/>
          </a:xfrm>
          <a:prstGeom prst="rect">
            <a:avLst/>
          </a:prstGeom>
          <a:noFill/>
          <a:ln w="9525">
            <a:noFill/>
            <a:miter lim="800000"/>
            <a:headEnd/>
            <a:tailEnd/>
          </a:ln>
          <a:effectLst/>
        </p:spPr>
        <p:txBody>
          <a:bodyPr wrap="none" lIns="92075" tIns="46038" rIns="92075" bIns="46038"/>
          <a:lstStyle/>
          <a:p>
            <a:pPr marL="342900" indent="-342900" eaLnBrk="0" hangingPunct="0">
              <a:lnSpc>
                <a:spcPct val="80000"/>
              </a:lnSpc>
              <a:spcBef>
                <a:spcPct val="20000"/>
              </a:spcBef>
              <a:buClr>
                <a:srgbClr val="00C8C3"/>
              </a:buClr>
              <a:buSzPct val="50000"/>
              <a:defRPr/>
            </a:pPr>
            <a:r>
              <a:rPr lang="en-US" sz="2000" b="1" i="1" dirty="0">
                <a:ln>
                  <a:solidFill>
                    <a:srgbClr val="FF9900"/>
                  </a:solidFill>
                </a:ln>
                <a:solidFill>
                  <a:prstClr val="white"/>
                </a:solidFill>
                <a:effectLst>
                  <a:outerShdw blurRad="38100" dist="38100" dir="2700000" algn="tl">
                    <a:srgbClr val="000000"/>
                  </a:outerShdw>
                </a:effectLst>
                <a:cs typeface="AngsanaUPC" pitchFamily="18" charset="-34"/>
              </a:rPr>
              <a:t>Alliance</a:t>
            </a:r>
          </a:p>
        </p:txBody>
      </p:sp>
      <p:sp>
        <p:nvSpPr>
          <p:cNvPr id="131" name="Oval 17"/>
          <p:cNvSpPr>
            <a:spLocks noChangeArrowheads="1"/>
          </p:cNvSpPr>
          <p:nvPr/>
        </p:nvSpPr>
        <p:spPr bwMode="auto">
          <a:xfrm>
            <a:off x="3418895" y="1245175"/>
            <a:ext cx="4538663" cy="4538663"/>
          </a:xfrm>
          <a:prstGeom prst="ellipse">
            <a:avLst/>
          </a:prstGeom>
          <a:solidFill>
            <a:srgbClr val="D4D2D0">
              <a:alpha val="43137"/>
            </a:srgbClr>
          </a:solidFill>
          <a:ln w="31750">
            <a:solidFill>
              <a:srgbClr val="D4D2D0"/>
            </a:solidFill>
            <a:round/>
            <a:headEnd/>
            <a:tailEnd/>
          </a:ln>
        </p:spPr>
        <p:txBody>
          <a:bodyPr wrap="none" anchor="ctr"/>
          <a:lstStyle/>
          <a:p>
            <a:pPr fontAlgn="auto">
              <a:spcBef>
                <a:spcPts val="0"/>
              </a:spcBef>
              <a:spcAft>
                <a:spcPts val="0"/>
              </a:spcAft>
              <a:defRPr/>
            </a:pPr>
            <a:endParaRPr lang="th-TH" sz="1800" kern="0" smtClean="0">
              <a:solidFill>
                <a:prstClr val="white"/>
              </a:solidFill>
            </a:endParaRPr>
          </a:p>
        </p:txBody>
      </p:sp>
      <p:grpSp>
        <p:nvGrpSpPr>
          <p:cNvPr id="132" name="Group 18"/>
          <p:cNvGrpSpPr>
            <a:grpSpLocks/>
          </p:cNvGrpSpPr>
          <p:nvPr/>
        </p:nvGrpSpPr>
        <p:grpSpPr bwMode="auto">
          <a:xfrm>
            <a:off x="3418895" y="1245268"/>
            <a:ext cx="4538663" cy="4538662"/>
            <a:chOff x="2214" y="693"/>
            <a:chExt cx="2859" cy="2859"/>
          </a:xfrm>
          <a:solidFill>
            <a:srgbClr val="CCAF0A">
              <a:lumMod val="75000"/>
            </a:srgbClr>
          </a:solidFill>
          <a:effectLst>
            <a:glow rad="139700">
              <a:srgbClr val="CCAF0A">
                <a:satMod val="175000"/>
                <a:alpha val="40000"/>
              </a:srgbClr>
            </a:glow>
          </a:effectLst>
        </p:grpSpPr>
        <p:sp>
          <p:nvSpPr>
            <p:cNvPr id="133" name="Oval 19"/>
            <p:cNvSpPr>
              <a:spLocks noChangeArrowheads="1"/>
            </p:cNvSpPr>
            <p:nvPr/>
          </p:nvSpPr>
          <p:spPr bwMode="auto">
            <a:xfrm>
              <a:off x="2214" y="693"/>
              <a:ext cx="2859" cy="2859"/>
            </a:xfrm>
            <a:prstGeom prst="ellipse">
              <a:avLst/>
            </a:prstGeom>
            <a:grpFill/>
            <a:ln>
              <a:noFill/>
              <a:headEnd/>
              <a:tailEnd/>
            </a:ln>
            <a:effectLst>
              <a:glow rad="76200">
                <a:srgbClr val="9E9273">
                  <a:tint val="30000"/>
                  <a:shade val="95000"/>
                  <a:satMod val="300000"/>
                  <a:alpha val="50000"/>
                </a:srgbClr>
              </a:glow>
            </a:effectLst>
            <a:scene3d>
              <a:camera prst="orthographicFront" fov="0">
                <a:rot lat="0" lon="0" rev="0"/>
              </a:camera>
              <a:lightRig rig="harsh" dir="t">
                <a:rot lat="6000000" lon="6000000" rev="0"/>
              </a:lightRig>
            </a:scene3d>
            <a:sp3d contourW="10000" prstMaterial="metal">
              <a:bevelT w="20000" h="9000" prst="softRound"/>
              <a:contourClr>
                <a:srgbClr val="9E9273">
                  <a:shade val="30000"/>
                  <a:satMod val="200000"/>
                </a:srgbClr>
              </a:contourClr>
            </a:sp3d>
          </p:spPr>
          <p:txBody>
            <a:bodyPr wrap="none" anchor="ctr"/>
            <a:lstStyle/>
            <a:p>
              <a:pPr fontAlgn="auto">
                <a:spcBef>
                  <a:spcPts val="0"/>
                </a:spcBef>
                <a:spcAft>
                  <a:spcPts val="0"/>
                </a:spcAft>
                <a:defRPr/>
              </a:pPr>
              <a:endParaRPr lang="th-TH" sz="1800" kern="0">
                <a:solidFill>
                  <a:prstClr val="white"/>
                </a:solidFill>
                <a:latin typeface="Arial"/>
                <a:cs typeface="LilyUPC" panose="020B0604020202020204" pitchFamily="34" charset="-34"/>
              </a:endParaRPr>
            </a:p>
          </p:txBody>
        </p:sp>
        <p:sp>
          <p:nvSpPr>
            <p:cNvPr id="134" name="Line 20"/>
            <p:cNvSpPr>
              <a:spLocks noChangeShapeType="1"/>
            </p:cNvSpPr>
            <p:nvPr/>
          </p:nvSpPr>
          <p:spPr bwMode="auto">
            <a:xfrm rot="5400000" flipH="1" flipV="1">
              <a:off x="2496" y="1008"/>
              <a:ext cx="256" cy="256"/>
            </a:xfrm>
            <a:prstGeom prst="line">
              <a:avLst/>
            </a:prstGeom>
            <a:grpFill/>
            <a:ln w="101600">
              <a:solidFill>
                <a:sysClr val="window" lastClr="FFFFFF"/>
              </a:solidFill>
              <a:round/>
              <a:headEnd/>
              <a:tailEnd type="stealth" w="med" len="med"/>
            </a:ln>
            <a:effectLst/>
          </p:spPr>
          <p:txBody>
            <a:bodyPr wrap="none" anchor="ctr"/>
            <a:lstStyle/>
            <a:p>
              <a:pPr fontAlgn="auto">
                <a:spcBef>
                  <a:spcPts val="0"/>
                </a:spcBef>
                <a:spcAft>
                  <a:spcPts val="0"/>
                </a:spcAft>
                <a:defRPr/>
              </a:pPr>
              <a:endParaRPr lang="th-TH" sz="1800" kern="0">
                <a:solidFill>
                  <a:prstClr val="white"/>
                </a:solidFill>
              </a:endParaRPr>
            </a:p>
          </p:txBody>
        </p:sp>
      </p:grpSp>
      <p:sp>
        <p:nvSpPr>
          <p:cNvPr id="135" name="Line 21"/>
          <p:cNvSpPr>
            <a:spLocks noChangeShapeType="1"/>
          </p:cNvSpPr>
          <p:nvPr/>
        </p:nvSpPr>
        <p:spPr bwMode="auto">
          <a:xfrm flipH="1" flipV="1">
            <a:off x="4133270" y="1732630"/>
            <a:ext cx="406400" cy="406400"/>
          </a:xfrm>
          <a:prstGeom prst="line">
            <a:avLst/>
          </a:prstGeom>
          <a:noFill/>
          <a:ln w="101600">
            <a:solidFill>
              <a:srgbClr val="FFFF00"/>
            </a:solidFill>
            <a:round/>
            <a:headEnd/>
            <a:tailEnd type="stealth" w="med" len="med"/>
          </a:ln>
          <a:scene3d>
            <a:camera prst="orthographicFront"/>
            <a:lightRig rig="threePt" dir="t"/>
          </a:scene3d>
          <a:sp3d>
            <a:bevelT/>
          </a:sp3d>
        </p:spPr>
        <p:txBody>
          <a:bodyPr wrap="none" anchor="ctr"/>
          <a:lstStyle/>
          <a:p>
            <a:pPr fontAlgn="auto">
              <a:spcBef>
                <a:spcPts val="0"/>
              </a:spcBef>
              <a:spcAft>
                <a:spcPts val="0"/>
              </a:spcAft>
              <a:defRPr/>
            </a:pPr>
            <a:endParaRPr lang="th-TH" sz="1800" kern="0">
              <a:solidFill>
                <a:prstClr val="white"/>
              </a:solidFill>
            </a:endParaRPr>
          </a:p>
        </p:txBody>
      </p:sp>
      <p:sp>
        <p:nvSpPr>
          <p:cNvPr id="136" name="Oval 27"/>
          <p:cNvSpPr>
            <a:spLocks noChangeArrowheads="1"/>
          </p:cNvSpPr>
          <p:nvPr/>
        </p:nvSpPr>
        <p:spPr bwMode="auto">
          <a:xfrm>
            <a:off x="4426958" y="2227930"/>
            <a:ext cx="2547937" cy="2547938"/>
          </a:xfrm>
          <a:prstGeom prst="ellipse">
            <a:avLst/>
          </a:prstGeom>
          <a:solidFill>
            <a:srgbClr val="CCAF0A"/>
          </a:solidFill>
          <a:ln>
            <a:noFill/>
            <a:headEnd/>
            <a:tailEnd/>
          </a:ln>
          <a:effectLst>
            <a:glow rad="63500">
              <a:srgbClr val="CCAF0A">
                <a:satMod val="175000"/>
                <a:alpha val="40000"/>
              </a:srgbClr>
            </a:glow>
            <a:outerShdw blurRad="65500" dist="38100" dir="5400000" rotWithShape="0">
              <a:srgbClr val="000000">
                <a:alpha val="40000"/>
              </a:srgbClr>
            </a:outerShdw>
          </a:effectLst>
          <a:scene3d>
            <a:camera prst="orthographicFront" fov="0">
              <a:rot lat="0" lon="0" rev="0"/>
            </a:camera>
            <a:lightRig rig="harsh" dir="t">
              <a:rot lat="6000000" lon="6000000" rev="0"/>
            </a:lightRig>
          </a:scene3d>
          <a:sp3d contourW="10000" prstMaterial="metal">
            <a:bevelT w="20000" h="9000" prst="softRound"/>
            <a:contourClr>
              <a:srgbClr val="CCAF0A">
                <a:shade val="30000"/>
                <a:satMod val="200000"/>
              </a:srgbClr>
            </a:contourClr>
          </a:sp3d>
        </p:spPr>
        <p:txBody>
          <a:bodyPr wrap="none" anchor="ctr"/>
          <a:lstStyle/>
          <a:p>
            <a:pPr fontAlgn="auto">
              <a:spcBef>
                <a:spcPts val="0"/>
              </a:spcBef>
              <a:spcAft>
                <a:spcPts val="0"/>
              </a:spcAft>
              <a:defRPr/>
            </a:pPr>
            <a:endParaRPr lang="th-TH" sz="1800" kern="0">
              <a:solidFill>
                <a:prstClr val="white"/>
              </a:solidFill>
              <a:latin typeface="Arial"/>
              <a:cs typeface="LilyUPC" panose="020B0604020202020204" pitchFamily="34" charset="-34"/>
            </a:endParaRPr>
          </a:p>
        </p:txBody>
      </p:sp>
      <p:sp>
        <p:nvSpPr>
          <p:cNvPr id="141" name="Line 32"/>
          <p:cNvSpPr>
            <a:spLocks noChangeShapeType="1"/>
          </p:cNvSpPr>
          <p:nvPr/>
        </p:nvSpPr>
        <p:spPr bwMode="auto">
          <a:xfrm flipH="1" flipV="1">
            <a:off x="7054270" y="1681830"/>
            <a:ext cx="406400" cy="406400"/>
          </a:xfrm>
          <a:prstGeom prst="line">
            <a:avLst/>
          </a:prstGeom>
          <a:noFill/>
          <a:ln w="101600">
            <a:solidFill>
              <a:srgbClr val="FFFF00"/>
            </a:solidFill>
            <a:round/>
            <a:headEnd type="stealth" w="med" len="med"/>
            <a:tailEnd/>
          </a:ln>
          <a:scene3d>
            <a:camera prst="orthographicFront"/>
            <a:lightRig rig="threePt" dir="t"/>
          </a:scene3d>
          <a:sp3d>
            <a:bevelT/>
          </a:sp3d>
        </p:spPr>
        <p:txBody>
          <a:bodyPr wrap="none" anchor="ctr"/>
          <a:lstStyle/>
          <a:p>
            <a:pPr fontAlgn="auto">
              <a:spcBef>
                <a:spcPts val="0"/>
              </a:spcBef>
              <a:spcAft>
                <a:spcPts val="0"/>
              </a:spcAft>
              <a:defRPr/>
            </a:pPr>
            <a:endParaRPr lang="th-TH" sz="1800" kern="0">
              <a:solidFill>
                <a:prstClr val="white"/>
              </a:solidFill>
            </a:endParaRPr>
          </a:p>
        </p:txBody>
      </p:sp>
      <p:sp>
        <p:nvSpPr>
          <p:cNvPr id="142" name="WordArt 33"/>
          <p:cNvSpPr>
            <a:spLocks noChangeArrowheads="1" noChangeShapeType="1" noTextEdit="1"/>
          </p:cNvSpPr>
          <p:nvPr/>
        </p:nvSpPr>
        <p:spPr bwMode="auto">
          <a:xfrm>
            <a:off x="3418895" y="3025304"/>
            <a:ext cx="4599202" cy="3305973"/>
          </a:xfrm>
          <a:prstGeom prst="rect">
            <a:avLst/>
          </a:prstGeom>
        </p:spPr>
        <p:txBody>
          <a:bodyPr spcFirstLastPara="1" wrap="none" fromWordArt="1">
            <a:prstTxWarp prst="textArchDown">
              <a:avLst>
                <a:gd name="adj" fmla="val 1152558"/>
              </a:avLst>
            </a:prstTxWarp>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defRPr/>
            </a:pPr>
            <a:r>
              <a:rPr lang="en-US" sz="3200" b="1" kern="10" spc="50" dirty="0">
                <a:ln w="11430"/>
                <a:solidFill>
                  <a:srgbClr val="FF0000"/>
                </a:solidFill>
                <a:effectLst>
                  <a:outerShdw blurRad="76200" dist="50800" dir="5400000" algn="tl" rotWithShape="0">
                    <a:srgbClr val="000000">
                      <a:alpha val="65000"/>
                    </a:srgbClr>
                  </a:outerShdw>
                </a:effectLst>
                <a:latin typeface="Arial Black"/>
              </a:rPr>
              <a:t>Database &amp; Business Intelligence</a:t>
            </a:r>
            <a:endParaRPr lang="th-TH" sz="3200" b="1" kern="10" spc="50" dirty="0">
              <a:ln w="11430"/>
              <a:solidFill>
                <a:srgbClr val="FF0000"/>
              </a:solidFill>
              <a:effectLst>
                <a:outerShdw blurRad="76200" dist="50800" dir="5400000" algn="tl" rotWithShape="0">
                  <a:srgbClr val="000000">
                    <a:alpha val="65000"/>
                  </a:srgbClr>
                </a:outerShdw>
              </a:effectLst>
              <a:latin typeface="Arial Black"/>
            </a:endParaRPr>
          </a:p>
        </p:txBody>
      </p:sp>
      <p:sp>
        <p:nvSpPr>
          <p:cNvPr id="143" name="WordArt 34"/>
          <p:cNvSpPr>
            <a:spLocks noChangeArrowheads="1" noChangeShapeType="1" noTextEdit="1"/>
          </p:cNvSpPr>
          <p:nvPr/>
        </p:nvSpPr>
        <p:spPr bwMode="auto">
          <a:xfrm rot="748373">
            <a:off x="3269812" y="552994"/>
            <a:ext cx="5144536" cy="4543214"/>
          </a:xfrm>
          <a:prstGeom prst="rect">
            <a:avLst/>
          </a:prstGeom>
        </p:spPr>
        <p:txBody>
          <a:bodyPr spcFirstLastPara="1" wrap="none" fromWordArt="1">
            <a:prstTxWarp prst="textArchUp">
              <a:avLst>
                <a:gd name="adj" fmla="val 12497108"/>
              </a:avLst>
            </a:prstTxWarp>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defRPr/>
            </a:pPr>
            <a:r>
              <a:rPr lang="en-US" sz="3200" b="1" kern="10" spc="50" dirty="0" smtClean="0">
                <a:ln w="11430"/>
                <a:solidFill>
                  <a:srgbClr val="FF0000"/>
                </a:solidFill>
                <a:effectLst>
                  <a:outerShdw blurRad="76200" dist="50800" dir="5400000" algn="tl" rotWithShape="0">
                    <a:srgbClr val="000000">
                      <a:alpha val="65000"/>
                    </a:srgbClr>
                  </a:outerShdw>
                </a:effectLst>
                <a:latin typeface="Arial Black"/>
              </a:rPr>
              <a:t>Strategic Thinking </a:t>
            </a:r>
            <a:r>
              <a:rPr lang="en-US" sz="3200" b="1" kern="10" spc="50" dirty="0">
                <a:ln w="11430"/>
                <a:solidFill>
                  <a:srgbClr val="FF0000"/>
                </a:solidFill>
                <a:effectLst>
                  <a:outerShdw blurRad="76200" dist="50800" dir="5400000" algn="tl" rotWithShape="0">
                    <a:srgbClr val="000000">
                      <a:alpha val="65000"/>
                    </a:srgbClr>
                  </a:outerShdw>
                </a:effectLst>
                <a:latin typeface="Arial Black"/>
              </a:rPr>
              <a:t>&amp; Strategic Management</a:t>
            </a:r>
            <a:endParaRPr lang="th-TH" sz="3200" b="1" kern="10" spc="50" dirty="0">
              <a:ln w="11430"/>
              <a:solidFill>
                <a:srgbClr val="FF0000"/>
              </a:solidFill>
              <a:effectLst>
                <a:outerShdw blurRad="76200" dist="50800" dir="5400000" algn="tl" rotWithShape="0">
                  <a:srgbClr val="000000">
                    <a:alpha val="65000"/>
                  </a:srgbClr>
                </a:outerShdw>
              </a:effectLst>
              <a:latin typeface="Arial Black"/>
            </a:endParaRPr>
          </a:p>
        </p:txBody>
      </p:sp>
      <p:sp>
        <p:nvSpPr>
          <p:cNvPr id="144" name="AutoShape 39"/>
          <p:cNvSpPr>
            <a:spLocks noChangeArrowheads="1"/>
          </p:cNvSpPr>
          <p:nvPr/>
        </p:nvSpPr>
        <p:spPr bwMode="auto">
          <a:xfrm>
            <a:off x="2532671" y="4220095"/>
            <a:ext cx="1762234" cy="342900"/>
          </a:xfrm>
          <a:prstGeom prst="rightArrow">
            <a:avLst>
              <a:gd name="adj1" fmla="val 50000"/>
              <a:gd name="adj2" fmla="val 82407"/>
            </a:avLst>
          </a:prstGeom>
          <a:solidFill>
            <a:srgbClr val="CCAF0A"/>
          </a:solidFill>
          <a:ln w="19050">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fontAlgn="auto">
              <a:spcBef>
                <a:spcPts val="0"/>
              </a:spcBef>
              <a:spcAft>
                <a:spcPts val="0"/>
              </a:spcAft>
              <a:defRPr/>
            </a:pPr>
            <a:endParaRPr lang="th-TH" sz="1100" kern="0">
              <a:solidFill>
                <a:prstClr val="black"/>
              </a:solidFill>
            </a:endParaRPr>
          </a:p>
        </p:txBody>
      </p:sp>
      <p:grpSp>
        <p:nvGrpSpPr>
          <p:cNvPr id="150" name="Group 52"/>
          <p:cNvGrpSpPr>
            <a:grpSpLocks/>
          </p:cNvGrpSpPr>
          <p:nvPr/>
        </p:nvGrpSpPr>
        <p:grpSpPr bwMode="auto">
          <a:xfrm>
            <a:off x="4682089" y="3803190"/>
            <a:ext cx="2044522" cy="981956"/>
            <a:chOff x="506" y="3765"/>
            <a:chExt cx="837" cy="402"/>
          </a:xfrm>
        </p:grpSpPr>
        <p:pic>
          <p:nvPicPr>
            <p:cNvPr id="151" name="Picture 53" descr="รูปคน"/>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772" y="3818"/>
              <a:ext cx="273" cy="333"/>
            </a:xfrm>
            <a:prstGeom prst="rect">
              <a:avLst/>
            </a:prstGeom>
            <a:noFill/>
            <a:ln w="9525">
              <a:noFill/>
              <a:miter lim="800000"/>
              <a:headEnd/>
              <a:tailEnd/>
            </a:ln>
          </p:spPr>
        </p:pic>
        <p:sp>
          <p:nvSpPr>
            <p:cNvPr id="152" name="WordArt 54"/>
            <p:cNvSpPr>
              <a:spLocks noChangeArrowheads="1" noChangeShapeType="1" noTextEdit="1"/>
            </p:cNvSpPr>
            <p:nvPr/>
          </p:nvSpPr>
          <p:spPr bwMode="auto">
            <a:xfrm>
              <a:off x="506" y="3765"/>
              <a:ext cx="837" cy="402"/>
            </a:xfrm>
            <a:prstGeom prst="rect">
              <a:avLst/>
            </a:prstGeom>
          </p:spPr>
          <p:txBody>
            <a:bodyPr spcFirstLastPara="1" wrap="none" fromWordArt="1">
              <a:prstTxWarp prst="textArchDown">
                <a:avLst>
                  <a:gd name="adj" fmla="val 313883"/>
                </a:avLst>
              </a:prstTxWarp>
            </a:bodyPr>
            <a:lstStyle/>
            <a:p>
              <a:r>
                <a:rPr lang="th-TH" b="1" kern="10" dirty="0" smtClean="0">
                  <a:ln w="9525">
                    <a:solidFill>
                      <a:srgbClr val="000000"/>
                    </a:solidFill>
                    <a:round/>
                    <a:headEnd/>
                    <a:tailEnd type="none" w="lg" len="lg"/>
                  </a:ln>
                  <a:gradFill rotWithShape="1">
                    <a:gsLst>
                      <a:gs pos="0">
                        <a:srgbClr val="FC9FCB"/>
                      </a:gs>
                      <a:gs pos="13000">
                        <a:srgbClr val="F8B049"/>
                      </a:gs>
                      <a:gs pos="21001">
                        <a:srgbClr val="F8B049"/>
                      </a:gs>
                      <a:gs pos="63000">
                        <a:srgbClr val="FEE7F2"/>
                      </a:gs>
                      <a:gs pos="67000">
                        <a:srgbClr val="F952A0"/>
                      </a:gs>
                      <a:gs pos="69000">
                        <a:srgbClr val="C50849"/>
                      </a:gs>
                      <a:gs pos="82001">
                        <a:srgbClr val="B43E85"/>
                      </a:gs>
                      <a:gs pos="100000">
                        <a:srgbClr val="F8B049"/>
                      </a:gs>
                    </a:gsLst>
                    <a:lin ang="5400000" scaled="1"/>
                  </a:gradFill>
                  <a:latin typeface="Angsana New"/>
                  <a:cs typeface="Angsana New"/>
                </a:rPr>
                <a:t>มองคนและตนเอง</a:t>
              </a:r>
              <a:endParaRPr lang="th-TH" b="1" kern="10" dirty="0">
                <a:ln w="9525">
                  <a:solidFill>
                    <a:srgbClr val="000000"/>
                  </a:solidFill>
                  <a:round/>
                  <a:headEnd/>
                  <a:tailEnd type="none" w="lg" len="lg"/>
                </a:ln>
                <a:gradFill rotWithShape="1">
                  <a:gsLst>
                    <a:gs pos="0">
                      <a:srgbClr val="FC9FCB"/>
                    </a:gs>
                    <a:gs pos="13000">
                      <a:srgbClr val="F8B049"/>
                    </a:gs>
                    <a:gs pos="21001">
                      <a:srgbClr val="F8B049"/>
                    </a:gs>
                    <a:gs pos="63000">
                      <a:srgbClr val="FEE7F2"/>
                    </a:gs>
                    <a:gs pos="67000">
                      <a:srgbClr val="F952A0"/>
                    </a:gs>
                    <a:gs pos="69000">
                      <a:srgbClr val="C50849"/>
                    </a:gs>
                    <a:gs pos="82001">
                      <a:srgbClr val="B43E85"/>
                    </a:gs>
                    <a:gs pos="100000">
                      <a:srgbClr val="F8B049"/>
                    </a:gs>
                  </a:gsLst>
                  <a:lin ang="5400000" scaled="1"/>
                </a:gradFill>
                <a:latin typeface="Angsana New"/>
                <a:cs typeface="Angsana New"/>
              </a:endParaRPr>
            </a:p>
          </p:txBody>
        </p:sp>
      </p:grpSp>
      <p:pic>
        <p:nvPicPr>
          <p:cNvPr id="154" name="Picture 51"/>
          <p:cNvPicPr>
            <a:picLocks noChangeAspect="1" noChangeArrowheads="1"/>
          </p:cNvPicPr>
          <p:nvPr/>
        </p:nvPicPr>
        <p:blipFill>
          <a:blip r:embed="rId4" cstate="print"/>
          <a:srcRect/>
          <a:stretch>
            <a:fillRect/>
          </a:stretch>
        </p:blipFill>
        <p:spPr bwMode="auto">
          <a:xfrm>
            <a:off x="4555764" y="4005582"/>
            <a:ext cx="2245549" cy="1716361"/>
          </a:xfrm>
          <a:prstGeom prst="rect">
            <a:avLst/>
          </a:prstGeom>
          <a:noFill/>
          <a:ln w="31750">
            <a:noFill/>
            <a:miter lim="800000"/>
            <a:headEnd/>
            <a:tailEnd/>
          </a:ln>
        </p:spPr>
      </p:pic>
      <p:pic>
        <p:nvPicPr>
          <p:cNvPr id="155" name="Picture 53"/>
          <p:cNvPicPr>
            <a:picLocks noChangeAspect="1" noChangeArrowheads="1"/>
          </p:cNvPicPr>
          <p:nvPr/>
        </p:nvPicPr>
        <p:blipFill>
          <a:blip r:embed="rId5" cstate="print"/>
          <a:srcRect l="11028" t="10968" r="12711"/>
          <a:stretch>
            <a:fillRect/>
          </a:stretch>
        </p:blipFill>
        <p:spPr bwMode="auto">
          <a:xfrm>
            <a:off x="6751058" y="3604200"/>
            <a:ext cx="1838325" cy="1393825"/>
          </a:xfrm>
          <a:prstGeom prst="rect">
            <a:avLst/>
          </a:prstGeom>
          <a:noFill/>
          <a:ln w="9525" algn="ctr">
            <a:noFill/>
            <a:miter lim="800000"/>
            <a:headEnd/>
            <a:tailEnd/>
          </a:ln>
        </p:spPr>
      </p:pic>
      <p:pic>
        <p:nvPicPr>
          <p:cNvPr id="156" name="Picture 54"/>
          <p:cNvPicPr>
            <a:picLocks noChangeAspect="1" noChangeArrowheads="1"/>
          </p:cNvPicPr>
          <p:nvPr/>
        </p:nvPicPr>
        <p:blipFill>
          <a:blip r:embed="rId6" cstate="print"/>
          <a:srcRect/>
          <a:stretch>
            <a:fillRect/>
          </a:stretch>
        </p:blipFill>
        <p:spPr bwMode="auto">
          <a:xfrm>
            <a:off x="2494581" y="2135073"/>
            <a:ext cx="1866900" cy="1503362"/>
          </a:xfrm>
          <a:prstGeom prst="rect">
            <a:avLst/>
          </a:prstGeom>
          <a:noFill/>
          <a:ln w="9525" algn="ctr">
            <a:noFill/>
            <a:miter lim="800000"/>
            <a:headEnd/>
            <a:tailEnd/>
          </a:ln>
        </p:spPr>
      </p:pic>
      <p:sp>
        <p:nvSpPr>
          <p:cNvPr id="157" name="WordArt 55"/>
          <p:cNvSpPr>
            <a:spLocks noChangeArrowheads="1" noChangeShapeType="1" noTextEdit="1"/>
          </p:cNvSpPr>
          <p:nvPr/>
        </p:nvSpPr>
        <p:spPr bwMode="auto">
          <a:xfrm>
            <a:off x="2425929" y="3637630"/>
            <a:ext cx="2011362" cy="558800"/>
          </a:xfrm>
          <a:prstGeom prst="rect">
            <a:avLst/>
          </a:prstGeom>
        </p:spPr>
        <p:txBody>
          <a:bodyPr wrap="none" fromWordArt="1">
            <a:prstTxWarp prst="textPlain">
              <a:avLst>
                <a:gd name="adj" fmla="val 50000"/>
              </a:avLst>
            </a:prstTxWarp>
            <a:scene3d>
              <a:camera prst="orthographicFront"/>
              <a:lightRig rig="threePt" dir="t"/>
            </a:scene3d>
            <a:sp3d extrusionH="57150">
              <a:bevelT w="38100" h="38100"/>
            </a:sp3d>
          </a:bodyPr>
          <a:lstStyle/>
          <a:p>
            <a:pPr algn="ctr">
              <a:defRPr/>
            </a:pPr>
            <a:r>
              <a:rPr lang="en-US" kern="1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Black"/>
              </a:rPr>
              <a:t>SWOT</a:t>
            </a:r>
          </a:p>
          <a:p>
            <a:pPr algn="ctr">
              <a:defRPr/>
            </a:pPr>
            <a:r>
              <a:rPr lang="en-US" kern="1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Black"/>
              </a:rPr>
              <a:t>Analysis</a:t>
            </a:r>
            <a:endParaRPr lang="th-TH" kern="1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Black"/>
            </a:endParaRPr>
          </a:p>
        </p:txBody>
      </p:sp>
      <p:sp>
        <p:nvSpPr>
          <p:cNvPr id="158" name="TextBox 157"/>
          <p:cNvSpPr txBox="1"/>
          <p:nvPr/>
        </p:nvSpPr>
        <p:spPr>
          <a:xfrm>
            <a:off x="835993" y="5115120"/>
            <a:ext cx="1452642" cy="1823576"/>
          </a:xfrm>
          <a:prstGeom prst="rect">
            <a:avLst/>
          </a:prstGeom>
          <a:noFill/>
        </p:spPr>
        <p:txBody>
          <a:bodyPr wrap="none">
            <a:spAutoFit/>
          </a:bodyPr>
          <a:lstStyle/>
          <a:p>
            <a:pPr>
              <a:lnSpc>
                <a:spcPts val="2700"/>
              </a:lnSpc>
              <a:defRPr/>
            </a:pPr>
            <a:r>
              <a:rPr lang="th-TH" sz="3200" b="1" kern="10" dirty="0">
                <a:ln/>
                <a:pattFill prst="dkUpDiag">
                  <a:fgClr>
                    <a:prstClr val="white">
                      <a:lumMod val="50000"/>
                    </a:prstClr>
                  </a:fgClr>
                  <a:bgClr>
                    <a:prstClr val="black">
                      <a:lumMod val="75000"/>
                      <a:lumOff val="25000"/>
                    </a:prstClr>
                  </a:bgClr>
                </a:pattFill>
                <a:effectLst>
                  <a:outerShdw blurRad="38100" dist="19050" dir="2700000" algn="tl" rotWithShape="0">
                    <a:prstClr val="black">
                      <a:lumMod val="50000"/>
                      <a:alpha val="40000"/>
                    </a:prstClr>
                  </a:outerShdw>
                </a:effectLst>
                <a:latin typeface="Gungsuh"/>
                <a:ea typeface="Gungsuh"/>
              </a:rPr>
              <a:t>ให้รอบรู้</a:t>
            </a:r>
          </a:p>
          <a:p>
            <a:pPr>
              <a:lnSpc>
                <a:spcPts val="2700"/>
              </a:lnSpc>
              <a:defRPr/>
            </a:pPr>
            <a:r>
              <a:rPr lang="th-TH" sz="3200" b="1" kern="10" dirty="0">
                <a:ln/>
                <a:pattFill prst="dkUpDiag">
                  <a:fgClr>
                    <a:prstClr val="white">
                      <a:lumMod val="50000"/>
                    </a:prstClr>
                  </a:fgClr>
                  <a:bgClr>
                    <a:prstClr val="black">
                      <a:lumMod val="75000"/>
                      <a:lumOff val="25000"/>
                    </a:prstClr>
                  </a:bgClr>
                </a:pattFill>
                <a:effectLst>
                  <a:outerShdw blurRad="38100" dist="19050" dir="2700000" algn="tl" rotWithShape="0">
                    <a:prstClr val="black">
                      <a:lumMod val="50000"/>
                      <a:alpha val="40000"/>
                    </a:prstClr>
                  </a:outerShdw>
                </a:effectLst>
                <a:latin typeface="Gungsuh"/>
                <a:ea typeface="Gungsuh"/>
              </a:rPr>
              <a:t>ให้รอบตัว</a:t>
            </a:r>
          </a:p>
          <a:p>
            <a:pPr>
              <a:lnSpc>
                <a:spcPts val="2700"/>
              </a:lnSpc>
              <a:defRPr/>
            </a:pPr>
            <a:r>
              <a:rPr lang="th-TH" sz="3200" b="1" kern="10" dirty="0">
                <a:ln/>
                <a:pattFill prst="dkUpDiag">
                  <a:fgClr>
                    <a:prstClr val="white">
                      <a:lumMod val="50000"/>
                    </a:prstClr>
                  </a:fgClr>
                  <a:bgClr>
                    <a:prstClr val="black">
                      <a:lumMod val="75000"/>
                      <a:lumOff val="25000"/>
                    </a:prstClr>
                  </a:bgClr>
                </a:pattFill>
                <a:effectLst>
                  <a:outerShdw blurRad="38100" dist="19050" dir="2700000" algn="tl" rotWithShape="0">
                    <a:prstClr val="black">
                      <a:lumMod val="50000"/>
                      <a:alpha val="40000"/>
                    </a:prstClr>
                  </a:outerShdw>
                </a:effectLst>
                <a:latin typeface="Gungsuh"/>
                <a:ea typeface="Gungsuh"/>
              </a:rPr>
              <a:t>ให้รอบทิศ</a:t>
            </a:r>
          </a:p>
          <a:p>
            <a:pPr>
              <a:lnSpc>
                <a:spcPts val="2700"/>
              </a:lnSpc>
              <a:defRPr/>
            </a:pPr>
            <a:r>
              <a:rPr lang="th-TH" sz="3200" b="1" kern="10" dirty="0">
                <a:ln/>
                <a:pattFill prst="dkUpDiag">
                  <a:fgClr>
                    <a:prstClr val="white">
                      <a:lumMod val="50000"/>
                    </a:prstClr>
                  </a:fgClr>
                  <a:bgClr>
                    <a:prstClr val="black">
                      <a:lumMod val="75000"/>
                      <a:lumOff val="25000"/>
                    </a:prstClr>
                  </a:bgClr>
                </a:pattFill>
                <a:effectLst>
                  <a:outerShdw blurRad="38100" dist="19050" dir="2700000" algn="tl" rotWithShape="0">
                    <a:prstClr val="black">
                      <a:lumMod val="50000"/>
                      <a:alpha val="40000"/>
                    </a:prstClr>
                  </a:outerShdw>
                </a:effectLst>
                <a:latin typeface="Gungsuh"/>
                <a:ea typeface="Gungsuh"/>
              </a:rPr>
              <a:t>ให้รอบคอบ</a:t>
            </a:r>
          </a:p>
          <a:p>
            <a:pPr>
              <a:lnSpc>
                <a:spcPts val="2700"/>
              </a:lnSpc>
              <a:defRPr/>
            </a:pPr>
            <a:r>
              <a:rPr lang="th-TH" sz="3200" b="1" kern="10" dirty="0">
                <a:ln/>
                <a:pattFill prst="dkUpDiag">
                  <a:fgClr>
                    <a:prstClr val="white">
                      <a:lumMod val="50000"/>
                    </a:prstClr>
                  </a:fgClr>
                  <a:bgClr>
                    <a:prstClr val="black">
                      <a:lumMod val="75000"/>
                      <a:lumOff val="25000"/>
                    </a:prstClr>
                  </a:bgClr>
                </a:pattFill>
                <a:effectLst>
                  <a:outerShdw blurRad="38100" dist="19050" dir="2700000" algn="tl" rotWithShape="0">
                    <a:prstClr val="black">
                      <a:lumMod val="50000"/>
                      <a:alpha val="40000"/>
                    </a:prstClr>
                  </a:outerShdw>
                </a:effectLst>
                <a:latin typeface="Gungsuh"/>
                <a:ea typeface="Gungsuh"/>
              </a:rPr>
              <a:t>ให้รอบด้าน</a:t>
            </a:r>
          </a:p>
        </p:txBody>
      </p:sp>
      <p:sp>
        <p:nvSpPr>
          <p:cNvPr id="159" name="TextBox 158"/>
          <p:cNvSpPr txBox="1"/>
          <p:nvPr/>
        </p:nvSpPr>
        <p:spPr>
          <a:xfrm>
            <a:off x="50678" y="5115120"/>
            <a:ext cx="694421" cy="1823576"/>
          </a:xfrm>
          <a:prstGeom prst="rect">
            <a:avLst/>
          </a:prstGeom>
          <a:noFill/>
        </p:spPr>
        <p:txBody>
          <a:bodyPr wrap="none">
            <a:spAutoFit/>
          </a:bodyPr>
          <a:lstStyle/>
          <a:p>
            <a:pPr algn="r" fontAlgn="auto">
              <a:lnSpc>
                <a:spcPts val="2700"/>
              </a:lnSpc>
              <a:spcBef>
                <a:spcPts val="0"/>
              </a:spcBef>
              <a:spcAft>
                <a:spcPts val="0"/>
              </a:spcAft>
              <a:defRPr/>
            </a:pPr>
            <a:r>
              <a:rPr lang="th-TH" sz="3200" b="1" kern="0" dirty="0">
                <a:ln w="12700">
                  <a:solidFill>
                    <a:srgbClr val="9BBB59">
                      <a:lumMod val="50000"/>
                    </a:srgbClr>
                  </a:solidFill>
                  <a:prstDash val="solid"/>
                </a:ln>
                <a:pattFill prst="narHorz">
                  <a:fgClr>
                    <a:srgbClr val="9BBB59"/>
                  </a:fgClr>
                  <a:bgClr>
                    <a:srgbClr val="9BBB59">
                      <a:lumMod val="40000"/>
                      <a:lumOff val="60000"/>
                    </a:srgbClr>
                  </a:bgClr>
                </a:pattFill>
                <a:effectLst>
                  <a:innerShdw blurRad="177800">
                    <a:srgbClr val="9BBB59">
                      <a:lumMod val="50000"/>
                    </a:srgbClr>
                  </a:innerShdw>
                </a:effectLst>
              </a:rPr>
              <a:t>รู้</a:t>
            </a:r>
          </a:p>
          <a:p>
            <a:pPr algn="r" fontAlgn="auto">
              <a:lnSpc>
                <a:spcPts val="2700"/>
              </a:lnSpc>
              <a:spcBef>
                <a:spcPts val="0"/>
              </a:spcBef>
              <a:spcAft>
                <a:spcPts val="0"/>
              </a:spcAft>
              <a:defRPr/>
            </a:pPr>
            <a:r>
              <a:rPr lang="th-TH" sz="3200" b="1" kern="0" dirty="0">
                <a:ln w="12700">
                  <a:solidFill>
                    <a:srgbClr val="9BBB59">
                      <a:lumMod val="50000"/>
                    </a:srgbClr>
                  </a:solidFill>
                  <a:prstDash val="solid"/>
                </a:ln>
                <a:pattFill prst="narHorz">
                  <a:fgClr>
                    <a:srgbClr val="9BBB59"/>
                  </a:fgClr>
                  <a:bgClr>
                    <a:srgbClr val="9BBB59">
                      <a:lumMod val="40000"/>
                      <a:lumOff val="60000"/>
                    </a:srgbClr>
                  </a:bgClr>
                </a:pattFill>
                <a:effectLst>
                  <a:innerShdw blurRad="177800">
                    <a:srgbClr val="9BBB59">
                      <a:lumMod val="50000"/>
                    </a:srgbClr>
                  </a:innerShdw>
                </a:effectLst>
              </a:rPr>
              <a:t>มอง</a:t>
            </a:r>
          </a:p>
          <a:p>
            <a:pPr algn="r" fontAlgn="auto">
              <a:lnSpc>
                <a:spcPts val="2700"/>
              </a:lnSpc>
              <a:spcBef>
                <a:spcPts val="0"/>
              </a:spcBef>
              <a:spcAft>
                <a:spcPts val="0"/>
              </a:spcAft>
              <a:defRPr/>
            </a:pPr>
            <a:r>
              <a:rPr lang="th-TH" sz="3200" b="1" kern="0" dirty="0">
                <a:ln w="12700">
                  <a:solidFill>
                    <a:srgbClr val="9BBB59">
                      <a:lumMod val="50000"/>
                    </a:srgbClr>
                  </a:solidFill>
                  <a:prstDash val="solid"/>
                </a:ln>
                <a:pattFill prst="narHorz">
                  <a:fgClr>
                    <a:srgbClr val="9BBB59"/>
                  </a:fgClr>
                  <a:bgClr>
                    <a:srgbClr val="9BBB59">
                      <a:lumMod val="40000"/>
                      <a:lumOff val="60000"/>
                    </a:srgbClr>
                  </a:bgClr>
                </a:pattFill>
                <a:effectLst>
                  <a:innerShdw blurRad="177800">
                    <a:srgbClr val="9BBB59">
                      <a:lumMod val="50000"/>
                    </a:srgbClr>
                  </a:innerShdw>
                </a:effectLst>
              </a:rPr>
              <a:t>ฟัง</a:t>
            </a:r>
          </a:p>
          <a:p>
            <a:pPr algn="r" fontAlgn="auto">
              <a:lnSpc>
                <a:spcPts val="2700"/>
              </a:lnSpc>
              <a:spcBef>
                <a:spcPts val="0"/>
              </a:spcBef>
              <a:spcAft>
                <a:spcPts val="0"/>
              </a:spcAft>
              <a:defRPr/>
            </a:pPr>
            <a:r>
              <a:rPr lang="th-TH" sz="3200" b="1" kern="0" dirty="0">
                <a:ln w="12700">
                  <a:solidFill>
                    <a:srgbClr val="9BBB59">
                      <a:lumMod val="50000"/>
                    </a:srgbClr>
                  </a:solidFill>
                  <a:prstDash val="solid"/>
                </a:ln>
                <a:pattFill prst="narHorz">
                  <a:fgClr>
                    <a:srgbClr val="9BBB59"/>
                  </a:fgClr>
                  <a:bgClr>
                    <a:srgbClr val="9BBB59">
                      <a:lumMod val="40000"/>
                      <a:lumOff val="60000"/>
                    </a:srgbClr>
                  </a:bgClr>
                </a:pattFill>
                <a:effectLst>
                  <a:innerShdw blurRad="177800">
                    <a:srgbClr val="9BBB59">
                      <a:lumMod val="50000"/>
                    </a:srgbClr>
                  </a:innerShdw>
                </a:effectLst>
              </a:rPr>
              <a:t>คิด</a:t>
            </a:r>
          </a:p>
          <a:p>
            <a:pPr algn="r" fontAlgn="auto">
              <a:lnSpc>
                <a:spcPts val="2700"/>
              </a:lnSpc>
              <a:spcBef>
                <a:spcPts val="0"/>
              </a:spcBef>
              <a:spcAft>
                <a:spcPts val="0"/>
              </a:spcAft>
              <a:defRPr/>
            </a:pPr>
            <a:r>
              <a:rPr lang="th-TH" sz="3200" b="1" kern="0" dirty="0">
                <a:ln w="12700">
                  <a:solidFill>
                    <a:srgbClr val="9BBB59">
                      <a:lumMod val="50000"/>
                    </a:srgbClr>
                  </a:solidFill>
                  <a:prstDash val="solid"/>
                </a:ln>
                <a:pattFill prst="narHorz">
                  <a:fgClr>
                    <a:srgbClr val="9BBB59"/>
                  </a:fgClr>
                  <a:bgClr>
                    <a:srgbClr val="9BBB59">
                      <a:lumMod val="40000"/>
                      <a:lumOff val="60000"/>
                    </a:srgbClr>
                  </a:bgClr>
                </a:pattFill>
                <a:effectLst>
                  <a:innerShdw blurRad="177800">
                    <a:srgbClr val="9BBB59">
                      <a:lumMod val="50000"/>
                    </a:srgbClr>
                  </a:innerShdw>
                </a:effectLst>
              </a:rPr>
              <a:t>ตอบ</a:t>
            </a:r>
          </a:p>
        </p:txBody>
      </p:sp>
      <p:sp>
        <p:nvSpPr>
          <p:cNvPr id="160" name="WordArt 55"/>
          <p:cNvSpPr>
            <a:spLocks noChangeArrowheads="1" noChangeShapeType="1" noTextEdit="1"/>
          </p:cNvSpPr>
          <p:nvPr/>
        </p:nvSpPr>
        <p:spPr bwMode="auto">
          <a:xfrm>
            <a:off x="4682089" y="3184610"/>
            <a:ext cx="1979333" cy="691348"/>
          </a:xfrm>
          <a:prstGeom prst="rect">
            <a:avLst/>
          </a:prstGeom>
        </p:spPr>
        <p:txBody>
          <a:bodyPr wrap="none" fromWordArt="1">
            <a:prstTxWarp prst="textPlain">
              <a:avLst>
                <a:gd name="adj" fmla="val 50000"/>
              </a:avLst>
            </a:prstTxWarp>
          </a:bodyPr>
          <a:lstStyle/>
          <a:p>
            <a:pPr algn="ctr"/>
            <a:r>
              <a:rPr lang="en-US" b="1" kern="10" dirty="0">
                <a:ln w="0"/>
                <a:solidFill>
                  <a:srgbClr val="0070C0"/>
                </a:solidFill>
                <a:latin typeface="Gungsuh"/>
                <a:ea typeface="Gungsuh"/>
              </a:rPr>
              <a:t>Good Governance</a:t>
            </a:r>
          </a:p>
          <a:p>
            <a:pPr algn="ctr"/>
            <a:r>
              <a:rPr lang="en-US" b="1" kern="10" dirty="0">
                <a:ln w="0"/>
                <a:solidFill>
                  <a:srgbClr val="0070C0"/>
                </a:solidFill>
                <a:latin typeface="Gungsuh"/>
                <a:ea typeface="Gungsuh"/>
              </a:rPr>
              <a:t>&amp; </a:t>
            </a:r>
            <a:r>
              <a:rPr lang="en-US" b="1" kern="10" dirty="0" smtClean="0">
                <a:ln w="0"/>
                <a:solidFill>
                  <a:srgbClr val="0070C0"/>
                </a:solidFill>
                <a:latin typeface="Gungsuh"/>
                <a:ea typeface="Gungsuh"/>
              </a:rPr>
              <a:t>Change Management</a:t>
            </a:r>
            <a:endParaRPr lang="th-TH" b="1" kern="10" dirty="0">
              <a:ln w="0"/>
              <a:solidFill>
                <a:srgbClr val="0070C0"/>
              </a:solidFill>
              <a:latin typeface="Gungsuh"/>
              <a:ea typeface="Gungsuh"/>
            </a:endParaRPr>
          </a:p>
        </p:txBody>
      </p:sp>
      <p:grpSp>
        <p:nvGrpSpPr>
          <p:cNvPr id="8" name="Group 7"/>
          <p:cNvGrpSpPr/>
          <p:nvPr/>
        </p:nvGrpSpPr>
        <p:grpSpPr>
          <a:xfrm>
            <a:off x="2529879" y="259430"/>
            <a:ext cx="1333457" cy="1409261"/>
            <a:chOff x="8329841" y="280043"/>
            <a:chExt cx="1333457" cy="1409261"/>
          </a:xfrm>
        </p:grpSpPr>
        <p:grpSp>
          <p:nvGrpSpPr>
            <p:cNvPr id="6" name="Group 5"/>
            <p:cNvGrpSpPr/>
            <p:nvPr/>
          </p:nvGrpSpPr>
          <p:grpSpPr>
            <a:xfrm>
              <a:off x="8448419" y="280043"/>
              <a:ext cx="1214879" cy="1289399"/>
              <a:chOff x="-994929" y="5090826"/>
              <a:chExt cx="1746326" cy="1853444"/>
            </a:xfrm>
          </p:grpSpPr>
          <p:pic>
            <p:nvPicPr>
              <p:cNvPr id="4"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11089" y="5090826"/>
                <a:ext cx="1562486" cy="1562486"/>
              </a:xfrm>
              <a:prstGeom prst="rect">
                <a:avLst/>
              </a:prstGeom>
            </p:spPr>
          </p:pic>
          <p:pic>
            <p:nvPicPr>
              <p:cNvPr id="5" name="Picture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6300000">
                <a:off x="-1087232" y="5229942"/>
                <a:ext cx="1806631" cy="1622025"/>
              </a:xfrm>
              <a:prstGeom prst="rect">
                <a:avLst/>
              </a:prstGeom>
            </p:spPr>
          </p:pic>
        </p:grpSp>
        <p:sp>
          <p:nvSpPr>
            <p:cNvPr id="56" name="WordArt 6"/>
            <p:cNvSpPr>
              <a:spLocks noChangeArrowheads="1" noChangeShapeType="1" noTextEdit="1"/>
            </p:cNvSpPr>
            <p:nvPr/>
          </p:nvSpPr>
          <p:spPr bwMode="auto">
            <a:xfrm>
              <a:off x="8329841" y="1385404"/>
              <a:ext cx="1320911" cy="303900"/>
            </a:xfrm>
            <a:prstGeom prst="rect">
              <a:avLst/>
            </a:prstGeom>
          </p:spPr>
          <p:txBody>
            <a:bodyPr wrap="none" fromWordArt="1">
              <a:prstTxWarp prst="textPlain">
                <a:avLst>
                  <a:gd name="adj" fmla="val 50000"/>
                </a:avLst>
              </a:prstTxWarp>
              <a:scene3d>
                <a:camera prst="orthographicFront"/>
                <a:lightRig rig="threePt" dir="t"/>
              </a:scene3d>
              <a:sp3d extrusionH="57150">
                <a:bevelT w="38100" h="38100"/>
              </a:sp3d>
            </a:bodyPr>
            <a:lstStyle/>
            <a:p>
              <a:pPr>
                <a:defRPr/>
              </a:pPr>
              <a:r>
                <a:rPr lang="th-TH" sz="1800" b="1" kern="10" dirty="0">
                  <a:ln w="9525">
                    <a:noFill/>
                    <a:round/>
                    <a:headEnd/>
                    <a:tailEnd type="none" w="lg" len="lg"/>
                  </a:ln>
                  <a:gradFill rotWithShape="1">
                    <a:gsLst>
                      <a:gs pos="0">
                        <a:srgbClr val="FC9FCB"/>
                      </a:gs>
                      <a:gs pos="13000">
                        <a:srgbClr val="F8B049"/>
                      </a:gs>
                      <a:gs pos="21001">
                        <a:srgbClr val="F8B049"/>
                      </a:gs>
                      <a:gs pos="63000">
                        <a:srgbClr val="FEE7F2"/>
                      </a:gs>
                      <a:gs pos="67000">
                        <a:srgbClr val="F952A0"/>
                      </a:gs>
                      <a:gs pos="69000">
                        <a:srgbClr val="C50849"/>
                      </a:gs>
                      <a:gs pos="82001">
                        <a:srgbClr val="B43E85"/>
                      </a:gs>
                      <a:gs pos="100000">
                        <a:srgbClr val="F8B049"/>
                      </a:gs>
                    </a:gsLst>
                    <a:lin ang="5400000" scaled="1"/>
                  </a:gradFill>
                  <a:effectLst>
                    <a:outerShdw blurRad="50800" dist="38100" dir="5400000" algn="t" rotWithShape="0">
                      <a:prstClr val="black">
                        <a:alpha val="40000"/>
                      </a:prstClr>
                    </a:outerShdw>
                  </a:effectLst>
                  <a:latin typeface="Angsana New"/>
                </a:rPr>
                <a:t>มองโลก</a:t>
              </a:r>
            </a:p>
          </p:txBody>
        </p:sp>
      </p:grpSp>
      <p:grpSp>
        <p:nvGrpSpPr>
          <p:cNvPr id="13" name="Group 12"/>
          <p:cNvGrpSpPr/>
          <p:nvPr/>
        </p:nvGrpSpPr>
        <p:grpSpPr>
          <a:xfrm>
            <a:off x="7192893" y="1988694"/>
            <a:ext cx="1433575" cy="1417733"/>
            <a:chOff x="7276023" y="2057969"/>
            <a:chExt cx="1433575" cy="1417733"/>
          </a:xfrm>
        </p:grpSpPr>
        <p:grpSp>
          <p:nvGrpSpPr>
            <p:cNvPr id="12" name="Group 11"/>
            <p:cNvGrpSpPr/>
            <p:nvPr/>
          </p:nvGrpSpPr>
          <p:grpSpPr>
            <a:xfrm>
              <a:off x="7276023" y="2057969"/>
              <a:ext cx="1433575" cy="1417733"/>
              <a:chOff x="8943056" y="2862755"/>
              <a:chExt cx="1433575" cy="1417733"/>
            </a:xfrm>
          </p:grpSpPr>
          <p:grpSp>
            <p:nvGrpSpPr>
              <p:cNvPr id="11" name="Group 10"/>
              <p:cNvGrpSpPr/>
              <p:nvPr/>
            </p:nvGrpSpPr>
            <p:grpSpPr>
              <a:xfrm>
                <a:off x="8943056" y="2862755"/>
                <a:ext cx="1323852" cy="1189928"/>
                <a:chOff x="8902973" y="2862755"/>
                <a:chExt cx="1323852" cy="1189928"/>
              </a:xfrm>
            </p:grpSpPr>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02973" y="2862755"/>
                  <a:ext cx="1138549" cy="1133351"/>
                </a:xfrm>
                <a:prstGeom prst="rect">
                  <a:avLst/>
                </a:prstGeom>
              </p:spPr>
            </p:pic>
            <p:pic>
              <p:nvPicPr>
                <p:cNvPr id="10" name="Picture 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983142" y="2936082"/>
                  <a:ext cx="1243683" cy="1116601"/>
                </a:xfrm>
                <a:prstGeom prst="rect">
                  <a:avLst/>
                </a:prstGeom>
              </p:spPr>
            </p:pic>
          </p:grpSp>
          <p:sp>
            <p:nvSpPr>
              <p:cNvPr id="61" name="WordArt 50"/>
              <p:cNvSpPr>
                <a:spLocks noChangeArrowheads="1" noChangeShapeType="1" noTextEdit="1"/>
              </p:cNvSpPr>
              <p:nvPr/>
            </p:nvSpPr>
            <p:spPr bwMode="auto">
              <a:xfrm>
                <a:off x="8984148" y="3987374"/>
                <a:ext cx="1392483" cy="293114"/>
              </a:xfrm>
              <a:prstGeom prst="rect">
                <a:avLst/>
              </a:prstGeom>
            </p:spPr>
            <p:txBody>
              <a:bodyPr wrap="none" fromWordArt="1">
                <a:prstTxWarp prst="textPlain">
                  <a:avLst>
                    <a:gd name="adj" fmla="val 50000"/>
                  </a:avLst>
                </a:prstTxWarp>
                <a:scene3d>
                  <a:camera prst="orthographicFront"/>
                  <a:lightRig rig="threePt" dir="t"/>
                </a:scene3d>
                <a:sp3d extrusionH="57150">
                  <a:bevelT w="38100" h="38100"/>
                </a:sp3d>
              </a:bodyPr>
              <a:lstStyle/>
              <a:p>
                <a:pPr>
                  <a:defRPr/>
                </a:pPr>
                <a:r>
                  <a:rPr lang="th-TH" b="1" kern="10" dirty="0">
                    <a:ln w="9525">
                      <a:noFill/>
                      <a:round/>
                      <a:headEnd/>
                      <a:tailEnd type="none" w="lg" len="lg"/>
                    </a:ln>
                    <a:gradFill rotWithShape="1">
                      <a:gsLst>
                        <a:gs pos="0">
                          <a:srgbClr val="FC9FCB"/>
                        </a:gs>
                        <a:gs pos="13000">
                          <a:srgbClr val="F8B049"/>
                        </a:gs>
                        <a:gs pos="21001">
                          <a:srgbClr val="F8B049"/>
                        </a:gs>
                        <a:gs pos="63000">
                          <a:srgbClr val="FEE7F2"/>
                        </a:gs>
                        <a:gs pos="67000">
                          <a:srgbClr val="F952A0"/>
                        </a:gs>
                        <a:gs pos="69000">
                          <a:srgbClr val="C50849"/>
                        </a:gs>
                        <a:gs pos="82001">
                          <a:srgbClr val="B43E85"/>
                        </a:gs>
                        <a:gs pos="100000">
                          <a:srgbClr val="F8B049"/>
                        </a:gs>
                      </a:gsLst>
                      <a:lin ang="5400000" scaled="1"/>
                    </a:gradFill>
                    <a:effectLst>
                      <a:outerShdw blurRad="38100" dist="38100" dir="2700000" algn="tl">
                        <a:srgbClr val="000000">
                          <a:alpha val="43137"/>
                        </a:srgbClr>
                      </a:outerShdw>
                    </a:effectLst>
                    <a:latin typeface="LilyUPC" panose="020B0604020202020204" pitchFamily="34" charset="-34"/>
                    <a:ea typeface="+mn-cs"/>
                  </a:rPr>
                  <a:t>มองประเทศ</a:t>
                </a:r>
              </a:p>
            </p:txBody>
          </p:sp>
        </p:grpSp>
        <p:pic>
          <p:nvPicPr>
            <p:cNvPr id="63" name="Picture 47" descr="thaimap1"/>
            <p:cNvPicPr>
              <a:picLocks noChangeAspect="1" noChangeArrowheads="1"/>
            </p:cNvPicPr>
            <p:nvPr/>
          </p:nvPicPr>
          <p:blipFill>
            <a:blip r:embed="rId11" cstate="print">
              <a:clrChange>
                <a:clrFrom>
                  <a:srgbClr val="000000"/>
                </a:clrFrom>
                <a:clrTo>
                  <a:srgbClr val="000000">
                    <a:alpha val="0"/>
                  </a:srgbClr>
                </a:clrTo>
              </a:clrChange>
            </a:blip>
            <a:srcRect/>
            <a:stretch>
              <a:fillRect/>
            </a:stretch>
          </p:blipFill>
          <p:spPr bwMode="auto">
            <a:xfrm rot="20868740">
              <a:off x="7469862" y="2275455"/>
              <a:ext cx="503677" cy="774687"/>
            </a:xfrm>
            <a:prstGeom prst="rect">
              <a:avLst/>
            </a:prstGeom>
            <a:noFill/>
            <a:ln w="9525">
              <a:noFill/>
              <a:miter lim="800000"/>
              <a:headEnd/>
              <a:tailEnd/>
            </a:ln>
            <a:effectLst>
              <a:softEdge rad="12700"/>
            </a:effectLst>
          </p:spPr>
        </p:pic>
      </p:grpSp>
      <p:grpSp>
        <p:nvGrpSpPr>
          <p:cNvPr id="18" name="Group 17"/>
          <p:cNvGrpSpPr/>
          <p:nvPr/>
        </p:nvGrpSpPr>
        <p:grpSpPr>
          <a:xfrm>
            <a:off x="5075405" y="1678851"/>
            <a:ext cx="1382282" cy="1382111"/>
            <a:chOff x="8531650" y="4839546"/>
            <a:chExt cx="1382282" cy="1382111"/>
          </a:xfrm>
        </p:grpSpPr>
        <p:grpSp>
          <p:nvGrpSpPr>
            <p:cNvPr id="16" name="Group 15"/>
            <p:cNvGrpSpPr/>
            <p:nvPr/>
          </p:nvGrpSpPr>
          <p:grpSpPr>
            <a:xfrm>
              <a:off x="8531650" y="4839546"/>
              <a:ext cx="1243750" cy="1308490"/>
              <a:chOff x="3847101" y="2859115"/>
              <a:chExt cx="1243750" cy="1308490"/>
            </a:xfrm>
          </p:grpSpPr>
          <p:pic>
            <p:nvPicPr>
              <p:cNvPr id="14" name="Picture 13"/>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951117" y="2859115"/>
                <a:ext cx="1139734" cy="1139734"/>
              </a:xfrm>
              <a:prstGeom prst="rect">
                <a:avLst/>
              </a:prstGeom>
            </p:spPr>
          </p:pic>
          <p:pic>
            <p:nvPicPr>
              <p:cNvPr id="67" name="Picture 6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6300000">
                <a:off x="3782888" y="2974986"/>
                <a:ext cx="1256832" cy="1128406"/>
              </a:xfrm>
              <a:prstGeom prst="rect">
                <a:avLst/>
              </a:prstGeom>
            </p:spPr>
          </p:pic>
        </p:grpSp>
        <p:sp>
          <p:nvSpPr>
            <p:cNvPr id="70" name="WordArt 31"/>
            <p:cNvSpPr>
              <a:spLocks noChangeArrowheads="1" noChangeShapeType="1" noTextEdit="1"/>
            </p:cNvSpPr>
            <p:nvPr/>
          </p:nvSpPr>
          <p:spPr bwMode="auto">
            <a:xfrm>
              <a:off x="8613426" y="5884134"/>
              <a:ext cx="1300506" cy="337523"/>
            </a:xfrm>
            <a:prstGeom prst="rect">
              <a:avLst/>
            </a:prstGeom>
          </p:spPr>
          <p:txBody>
            <a:bodyPr wrap="none" fromWordArt="1">
              <a:prstTxWarp prst="textPlain">
                <a:avLst>
                  <a:gd name="adj" fmla="val 50000"/>
                </a:avLst>
              </a:prstTxWarp>
            </a:bodyPr>
            <a:lstStyle/>
            <a:p>
              <a:r>
                <a:rPr lang="th-TH" sz="1600" b="1" kern="10" dirty="0">
                  <a:ln w="9525">
                    <a:solidFill>
                      <a:srgbClr val="000000"/>
                    </a:solidFill>
                    <a:round/>
                    <a:headEnd/>
                    <a:tailEnd type="none" w="lg" len="lg"/>
                  </a:ln>
                  <a:gradFill rotWithShape="1">
                    <a:gsLst>
                      <a:gs pos="0">
                        <a:srgbClr val="FC9FCB"/>
                      </a:gs>
                      <a:gs pos="13000">
                        <a:srgbClr val="F8B049"/>
                      </a:gs>
                      <a:gs pos="21001">
                        <a:srgbClr val="F8B049"/>
                      </a:gs>
                      <a:gs pos="63000">
                        <a:srgbClr val="FEE7F2"/>
                      </a:gs>
                      <a:gs pos="67000">
                        <a:srgbClr val="F952A0"/>
                      </a:gs>
                      <a:gs pos="69000">
                        <a:srgbClr val="C50849"/>
                      </a:gs>
                      <a:gs pos="82001">
                        <a:srgbClr val="B43E85"/>
                      </a:gs>
                      <a:gs pos="100000">
                        <a:srgbClr val="F8B049"/>
                      </a:gs>
                    </a:gsLst>
                    <a:lin ang="5400000" scaled="1"/>
                  </a:gradFill>
                  <a:latin typeface="Angsana New"/>
                  <a:cs typeface="Angsana New"/>
                </a:rPr>
                <a:t>มององค์กร</a:t>
              </a:r>
            </a:p>
          </p:txBody>
        </p:sp>
      </p:grpSp>
      <p:pic>
        <p:nvPicPr>
          <p:cNvPr id="153" name="Picture 50"/>
          <p:cNvPicPr>
            <a:picLocks noChangeAspect="1" noChangeArrowheads="1"/>
          </p:cNvPicPr>
          <p:nvPr/>
        </p:nvPicPr>
        <p:blipFill>
          <a:blip r:embed="rId13" cstate="print"/>
          <a:srcRect/>
          <a:stretch>
            <a:fillRect/>
          </a:stretch>
        </p:blipFill>
        <p:spPr bwMode="auto">
          <a:xfrm>
            <a:off x="4419728" y="1281526"/>
            <a:ext cx="2546988" cy="1658473"/>
          </a:xfrm>
          <a:prstGeom prst="rect">
            <a:avLst/>
          </a:prstGeom>
          <a:noFill/>
          <a:ln w="31750">
            <a:noFill/>
            <a:miter lim="800000"/>
            <a:headEnd/>
            <a:tailEnd/>
          </a:ln>
        </p:spPr>
      </p:pic>
      <p:sp>
        <p:nvSpPr>
          <p:cNvPr id="55" name="Rectangle 10"/>
          <p:cNvSpPr>
            <a:spLocks noChangeArrowheads="1"/>
          </p:cNvSpPr>
          <p:nvPr/>
        </p:nvSpPr>
        <p:spPr bwMode="auto">
          <a:xfrm>
            <a:off x="96980" y="2344271"/>
            <a:ext cx="1710106" cy="452074"/>
          </a:xfrm>
          <a:prstGeom prst="rect">
            <a:avLst/>
          </a:prstGeom>
          <a:noFill/>
          <a:ln w="9525">
            <a:noFill/>
            <a:miter lim="800000"/>
            <a:headEnd/>
            <a:tailEnd/>
          </a:ln>
          <a:effectLst/>
        </p:spPr>
        <p:txBody>
          <a:bodyPr wrap="none" lIns="92075" tIns="46038" rIns="92075" bIns="46038"/>
          <a:lstStyle/>
          <a:p>
            <a:pPr marL="342900" indent="-342900" eaLnBrk="0" hangingPunct="0">
              <a:lnSpc>
                <a:spcPct val="80000"/>
              </a:lnSpc>
              <a:spcBef>
                <a:spcPct val="20000"/>
              </a:spcBef>
              <a:buClr>
                <a:srgbClr val="00C8C3"/>
              </a:buClr>
              <a:buSzPct val="50000"/>
              <a:buFont typeface="Monotype Sorts" pitchFamily="2" charset="2"/>
              <a:buNone/>
              <a:defRPr/>
            </a:pPr>
            <a:r>
              <a:rPr lang="en-US" sz="2000" b="1" i="1" dirty="0" smtClean="0">
                <a:ln>
                  <a:solidFill>
                    <a:srgbClr val="FF9900"/>
                  </a:solidFill>
                </a:ln>
                <a:solidFill>
                  <a:prstClr val="white"/>
                </a:solidFill>
                <a:effectLst>
                  <a:outerShdw blurRad="38100" dist="38100" dir="2700000" algn="tl">
                    <a:srgbClr val="000000"/>
                  </a:outerShdw>
                </a:effectLst>
                <a:cs typeface="AngsanaUPC" pitchFamily="18" charset="-34"/>
              </a:rPr>
              <a:t>Environmental</a:t>
            </a:r>
            <a:endParaRPr lang="en-US" sz="2000" b="1" i="1" dirty="0">
              <a:ln>
                <a:solidFill>
                  <a:srgbClr val="FF9900"/>
                </a:solidFill>
              </a:ln>
              <a:solidFill>
                <a:prstClr val="white"/>
              </a:solidFill>
              <a:effectLst>
                <a:outerShdw blurRad="38100" dist="38100" dir="2700000" algn="tl">
                  <a:srgbClr val="000000"/>
                </a:outerShdw>
              </a:effectLst>
              <a:cs typeface="AngsanaUPC" pitchFamily="18" charset="-34"/>
            </a:endParaRPr>
          </a:p>
        </p:txBody>
      </p:sp>
      <p:sp>
        <p:nvSpPr>
          <p:cNvPr id="2" name="TextBox 1"/>
          <p:cNvSpPr txBox="1"/>
          <p:nvPr/>
        </p:nvSpPr>
        <p:spPr>
          <a:xfrm rot="2467365">
            <a:off x="6648777" y="781242"/>
            <a:ext cx="2135521" cy="785086"/>
          </a:xfrm>
          <a:prstGeom prst="rect">
            <a:avLst/>
          </a:prstGeom>
          <a:noFill/>
        </p:spPr>
        <p:txBody>
          <a:bodyPr wrap="none" rtlCol="0">
            <a:prstTxWarp prst="textArchUp">
              <a:avLst/>
            </a:prstTxWarp>
            <a:spAutoFit/>
          </a:bodyPr>
          <a:lstStyle/>
          <a:p>
            <a:pPr algn="ctr" fontAlgn="auto">
              <a:spcBef>
                <a:spcPts val="0"/>
              </a:spcBef>
              <a:spcAft>
                <a:spcPts val="0"/>
              </a:spcAft>
            </a:pPr>
            <a:r>
              <a:rPr lang="th-TH" sz="3200" dirty="0" smtClean="0">
                <a:ln w="0"/>
                <a:solidFill>
                  <a:srgbClr val="4F81BD"/>
                </a:solidFill>
                <a:effectLst>
                  <a:outerShdw blurRad="38100" dist="25400" dir="5400000" algn="ctr" rotWithShape="0">
                    <a:srgbClr val="6E747A">
                      <a:alpha val="43000"/>
                    </a:srgbClr>
                  </a:outerShdw>
                </a:effectLst>
                <a:latin typeface="Calibri"/>
                <a:cs typeface="Cordia New" panose="020B0304020202020204" pitchFamily="34" charset="-34"/>
              </a:rPr>
              <a:t>อะไรที่ต้องเปลี่ยน</a:t>
            </a:r>
            <a:endParaRPr lang="th-TH" sz="3200" dirty="0">
              <a:ln w="0"/>
              <a:solidFill>
                <a:srgbClr val="4F81BD"/>
              </a:solidFill>
              <a:effectLst>
                <a:outerShdw blurRad="38100" dist="25400" dir="5400000" algn="ctr" rotWithShape="0">
                  <a:srgbClr val="6E747A">
                    <a:alpha val="43000"/>
                  </a:srgbClr>
                </a:outerShdw>
              </a:effectLst>
              <a:latin typeface="Calibri"/>
              <a:cs typeface="Cordia New" panose="020B0304020202020204" pitchFamily="34" charset="-34"/>
            </a:endParaRPr>
          </a:p>
        </p:txBody>
      </p:sp>
    </p:spTree>
    <p:extLst>
      <p:ext uri="{BB962C8B-B14F-4D97-AF65-F5344CB8AC3E}">
        <p14:creationId xmlns:p14="http://schemas.microsoft.com/office/powerpoint/2010/main" val="12249364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6"/>
                                        </p:tgtEl>
                                        <p:attrNameLst>
                                          <p:attrName>style.visibility</p:attrName>
                                        </p:attrNameLst>
                                      </p:cBhvr>
                                      <p:to>
                                        <p:strVal val="visible"/>
                                      </p:to>
                                    </p:set>
                                    <p:animEffect transition="in" filter="fade">
                                      <p:cBhvr>
                                        <p:cTn id="7" dur="2000"/>
                                        <p:tgtEl>
                                          <p:spTgt spid="11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nodeType="clickEffect">
                                  <p:stCondLst>
                                    <p:cond delay="0"/>
                                  </p:stCondLst>
                                  <p:childTnLst>
                                    <p:set>
                                      <p:cBhvr>
                                        <p:cTn id="11" dur="1" fill="hold">
                                          <p:stCondLst>
                                            <p:cond delay="0"/>
                                          </p:stCondLst>
                                        </p:cTn>
                                        <p:tgtEl>
                                          <p:spTgt spid="135"/>
                                        </p:tgtEl>
                                        <p:attrNameLst>
                                          <p:attrName>style.visibility</p:attrName>
                                        </p:attrNameLst>
                                      </p:cBhvr>
                                      <p:to>
                                        <p:strVal val="visible"/>
                                      </p:to>
                                    </p:set>
                                    <p:animEffect transition="in" filter="wipe(right)">
                                      <p:cBhvr>
                                        <p:cTn id="12" dur="500"/>
                                        <p:tgtEl>
                                          <p:spTgt spid="135"/>
                                        </p:tgtEl>
                                      </p:cBhvr>
                                    </p:animEffect>
                                  </p:childTnLst>
                                </p:cTn>
                              </p:par>
                            </p:childTnLst>
                          </p:cTn>
                        </p:par>
                      </p:childTnLst>
                    </p:cTn>
                  </p:par>
                  <p:par>
                    <p:cTn id="13" fill="hold">
                      <p:stCondLst>
                        <p:cond delay="indefinite"/>
                      </p:stCondLst>
                      <p:childTnLst>
                        <p:par>
                          <p:cTn id="14" fill="hold">
                            <p:stCondLst>
                              <p:cond delay="0"/>
                            </p:stCondLst>
                            <p:childTnLst>
                              <p:par>
                                <p:cTn id="15" presetID="8" presetClass="emph" presetSubtype="0" fill="hold" nodeType="clickEffect">
                                  <p:stCondLst>
                                    <p:cond delay="0"/>
                                  </p:stCondLst>
                                  <p:childTnLst>
                                    <p:animRot by="5400000">
                                      <p:cBhvr>
                                        <p:cTn id="16" dur="2000" fill="hold"/>
                                        <p:tgtEl>
                                          <p:spTgt spid="135"/>
                                        </p:tgtEl>
                                        <p:attrNameLst>
                                          <p:attrName>r</p:attrName>
                                        </p:attrNameLst>
                                      </p:cBhvr>
                                    </p:animRot>
                                  </p:childTnLst>
                                </p:cTn>
                              </p:par>
                            </p:childTnLst>
                          </p:cTn>
                        </p:par>
                        <p:par>
                          <p:cTn id="17" fill="hold">
                            <p:stCondLst>
                              <p:cond delay="2000"/>
                            </p:stCondLst>
                            <p:childTnLst>
                              <p:par>
                                <p:cTn id="18" presetID="10" presetClass="entr" presetSubtype="0" fill="hold" nodeType="afterEffect">
                                  <p:stCondLst>
                                    <p:cond delay="0"/>
                                  </p:stCondLst>
                                  <p:childTnLst>
                                    <p:set>
                                      <p:cBhvr>
                                        <p:cTn id="19" dur="1" fill="hold">
                                          <p:stCondLst>
                                            <p:cond delay="0"/>
                                          </p:stCondLst>
                                        </p:cTn>
                                        <p:tgtEl>
                                          <p:spTgt spid="132"/>
                                        </p:tgtEl>
                                        <p:attrNameLst>
                                          <p:attrName>style.visibility</p:attrName>
                                        </p:attrNameLst>
                                      </p:cBhvr>
                                      <p:to>
                                        <p:strVal val="visible"/>
                                      </p:to>
                                    </p:set>
                                    <p:animEffect transition="in" filter="fade">
                                      <p:cBhvr>
                                        <p:cTn id="20" dur="2000"/>
                                        <p:tgtEl>
                                          <p:spTgt spid="132"/>
                                        </p:tgtEl>
                                      </p:cBhvr>
                                    </p:animEffect>
                                  </p:childTnLst>
                                </p:cTn>
                              </p:par>
                            </p:childTnLst>
                          </p:cTn>
                        </p:par>
                        <p:par>
                          <p:cTn id="21" fill="hold">
                            <p:stCondLst>
                              <p:cond delay="4000"/>
                            </p:stCondLst>
                            <p:childTnLst>
                              <p:par>
                                <p:cTn id="22" presetID="10" presetClass="entr" presetSubtype="0" fill="hold" nodeType="after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500"/>
                                        <p:tgtEl>
                                          <p:spTgt spid="13"/>
                                        </p:tgtEl>
                                      </p:cBhvr>
                                    </p:animEffect>
                                  </p:childTnLst>
                                </p:cTn>
                              </p:par>
                            </p:childTnLst>
                          </p:cTn>
                        </p:par>
                        <p:par>
                          <p:cTn id="25" fill="hold">
                            <p:stCondLst>
                              <p:cond delay="4500"/>
                            </p:stCondLst>
                            <p:childTnLst>
                              <p:par>
                                <p:cTn id="26" presetID="10" presetClass="exit" presetSubtype="0" fill="hold" nodeType="afterEffect">
                                  <p:stCondLst>
                                    <p:cond delay="0"/>
                                  </p:stCondLst>
                                  <p:childTnLst>
                                    <p:animEffect transition="out" filter="fade">
                                      <p:cBhvr>
                                        <p:cTn id="27" dur="500"/>
                                        <p:tgtEl>
                                          <p:spTgt spid="135"/>
                                        </p:tgtEl>
                                      </p:cBhvr>
                                    </p:animEffect>
                                    <p:set>
                                      <p:cBhvr>
                                        <p:cTn id="28" dur="1" fill="hold">
                                          <p:stCondLst>
                                            <p:cond delay="499"/>
                                          </p:stCondLst>
                                        </p:cTn>
                                        <p:tgtEl>
                                          <p:spTgt spid="135"/>
                                        </p:tgtEl>
                                        <p:attrNameLst>
                                          <p:attrName>style.visibility</p:attrName>
                                        </p:attrNameLst>
                                      </p:cBhvr>
                                      <p:to>
                                        <p:strVal val="hidden"/>
                                      </p:to>
                                    </p:set>
                                  </p:childTnLst>
                                </p:cTn>
                              </p:par>
                              <p:par>
                                <p:cTn id="29" presetID="8" presetClass="emph" presetSubtype="0" fill="hold" nodeType="withEffect">
                                  <p:stCondLst>
                                    <p:cond delay="0"/>
                                  </p:stCondLst>
                                  <p:childTnLst>
                                    <p:animRot by="5400000">
                                      <p:cBhvr>
                                        <p:cTn id="30" dur="2000" fill="hold"/>
                                        <p:tgtEl>
                                          <p:spTgt spid="132"/>
                                        </p:tgtEl>
                                        <p:attrNameLst>
                                          <p:attrName>r</p:attrName>
                                        </p:attrNameLst>
                                      </p:cBhvr>
                                    </p:animRo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31"/>
                                        </p:tgtEl>
                                        <p:attrNameLst>
                                          <p:attrName>style.visibility</p:attrName>
                                        </p:attrNameLst>
                                      </p:cBhvr>
                                      <p:to>
                                        <p:strVal val="visible"/>
                                      </p:to>
                                    </p:set>
                                    <p:animEffect transition="in" filter="fade">
                                      <p:cBhvr>
                                        <p:cTn id="35" dur="500"/>
                                        <p:tgtEl>
                                          <p:spTgt spid="131"/>
                                        </p:tgtEl>
                                      </p:cBhvr>
                                    </p:animEffect>
                                  </p:childTnLst>
                                </p:cTn>
                              </p:par>
                              <p:par>
                                <p:cTn id="36" presetID="10" presetClass="exit" presetSubtype="0" fill="hold" nodeType="withEffect">
                                  <p:stCondLst>
                                    <p:cond delay="0"/>
                                  </p:stCondLst>
                                  <p:childTnLst>
                                    <p:animEffect transition="out" filter="fade">
                                      <p:cBhvr>
                                        <p:cTn id="37" dur="500"/>
                                        <p:tgtEl>
                                          <p:spTgt spid="132"/>
                                        </p:tgtEl>
                                      </p:cBhvr>
                                    </p:animEffect>
                                    <p:set>
                                      <p:cBhvr>
                                        <p:cTn id="38" dur="1" fill="hold">
                                          <p:stCondLst>
                                            <p:cond delay="499"/>
                                          </p:stCondLst>
                                        </p:cTn>
                                        <p:tgtEl>
                                          <p:spTgt spid="132"/>
                                        </p:tgtEl>
                                        <p:attrNameLst>
                                          <p:attrName>style.visibility</p:attrName>
                                        </p:attrNameLst>
                                      </p:cBhvr>
                                      <p:to>
                                        <p:strVal val="hidden"/>
                                      </p:to>
                                    </p:set>
                                  </p:childTnLst>
                                </p:cTn>
                              </p:par>
                              <p:par>
                                <p:cTn id="39" presetID="1" presetClass="entr" presetSubtype="0" fill="hold" nodeType="withEffect">
                                  <p:stCondLst>
                                    <p:cond delay="0"/>
                                  </p:stCondLst>
                                  <p:childTnLst>
                                    <p:set>
                                      <p:cBhvr>
                                        <p:cTn id="40" dur="1" fill="hold">
                                          <p:stCondLst>
                                            <p:cond delay="0"/>
                                          </p:stCondLst>
                                        </p:cTn>
                                        <p:tgtEl>
                                          <p:spTgt spid="141"/>
                                        </p:tgtEl>
                                        <p:attrNameLst>
                                          <p:attrName>style.visibility</p:attrName>
                                        </p:attrNameLst>
                                      </p:cBhvr>
                                      <p:to>
                                        <p:strVal val="visible"/>
                                      </p:to>
                                    </p:set>
                                  </p:childTnLst>
                                </p:cTn>
                              </p:par>
                            </p:childTnLst>
                          </p:cTn>
                        </p:par>
                        <p:par>
                          <p:cTn id="41" fill="hold">
                            <p:stCondLst>
                              <p:cond delay="500"/>
                            </p:stCondLst>
                            <p:childTnLst>
                              <p:par>
                                <p:cTn id="42" presetID="8" presetClass="emph" presetSubtype="0" fill="hold" nodeType="afterEffect">
                                  <p:stCondLst>
                                    <p:cond delay="0"/>
                                  </p:stCondLst>
                                  <p:childTnLst>
                                    <p:animRot by="5400000">
                                      <p:cBhvr>
                                        <p:cTn id="43" dur="2000" fill="hold"/>
                                        <p:tgtEl>
                                          <p:spTgt spid="141"/>
                                        </p:tgtEl>
                                        <p:attrNameLst>
                                          <p:attrName>r</p:attrName>
                                        </p:attrNameLst>
                                      </p:cBhvr>
                                    </p:animRot>
                                  </p:childTnLst>
                                </p:cTn>
                              </p:par>
                            </p:childTnLst>
                          </p:cTn>
                        </p:par>
                        <p:par>
                          <p:cTn id="44" fill="hold">
                            <p:stCondLst>
                              <p:cond delay="2500"/>
                            </p:stCondLst>
                            <p:childTnLst>
                              <p:par>
                                <p:cTn id="45" presetID="0" presetClass="path" presetSubtype="0" accel="50000" decel="50000" fill="hold" nodeType="afterEffect">
                                  <p:stCondLst>
                                    <p:cond delay="0"/>
                                  </p:stCondLst>
                                  <p:childTnLst>
                                    <p:animMotion origin="layout" path="M 0 1.48148E-6 L -0.08229 0.10787 " pathEditMode="relative" rAng="0" ptsTypes="AA">
                                      <p:cBhvr>
                                        <p:cTn id="46" dur="2000" fill="hold"/>
                                        <p:tgtEl>
                                          <p:spTgt spid="141"/>
                                        </p:tgtEl>
                                        <p:attrNameLst>
                                          <p:attrName>ppt_x</p:attrName>
                                          <p:attrName>ppt_y</p:attrName>
                                        </p:attrNameLst>
                                      </p:cBhvr>
                                      <p:rCtr x="-4115" y="5394"/>
                                    </p:animMotion>
                                  </p:childTnLst>
                                </p:cTn>
                              </p:par>
                            </p:childTnLst>
                          </p:cTn>
                        </p:par>
                        <p:par>
                          <p:cTn id="47" fill="hold">
                            <p:stCondLst>
                              <p:cond delay="4500"/>
                            </p:stCondLst>
                            <p:childTnLst>
                              <p:par>
                                <p:cTn id="48" presetID="10" presetClass="entr" presetSubtype="0" fill="hold" nodeType="afterEffect">
                                  <p:stCondLst>
                                    <p:cond delay="0"/>
                                  </p:stCondLst>
                                  <p:childTnLst>
                                    <p:set>
                                      <p:cBhvr>
                                        <p:cTn id="49" dur="1" fill="hold">
                                          <p:stCondLst>
                                            <p:cond delay="0"/>
                                          </p:stCondLst>
                                        </p:cTn>
                                        <p:tgtEl>
                                          <p:spTgt spid="136"/>
                                        </p:tgtEl>
                                        <p:attrNameLst>
                                          <p:attrName>style.visibility</p:attrName>
                                        </p:attrNameLst>
                                      </p:cBhvr>
                                      <p:to>
                                        <p:strVal val="visible"/>
                                      </p:to>
                                    </p:set>
                                    <p:animEffect transition="in" filter="fade">
                                      <p:cBhvr>
                                        <p:cTn id="50" dur="2000"/>
                                        <p:tgtEl>
                                          <p:spTgt spid="136"/>
                                        </p:tgtEl>
                                      </p:cBhvr>
                                    </p:animEffect>
                                  </p:childTnLst>
                                </p:cTn>
                              </p:par>
                            </p:childTnLst>
                          </p:cTn>
                        </p:par>
                        <p:par>
                          <p:cTn id="51" fill="hold">
                            <p:stCondLst>
                              <p:cond delay="6500"/>
                            </p:stCondLst>
                            <p:childTnLst>
                              <p:par>
                                <p:cTn id="52" presetID="10" presetClass="entr" presetSubtype="0" fill="hold" nodeType="after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fade">
                                      <p:cBhvr>
                                        <p:cTn id="54" dur="500"/>
                                        <p:tgtEl>
                                          <p:spTgt spid="18"/>
                                        </p:tgtEl>
                                      </p:cBhvr>
                                    </p:animEffect>
                                  </p:childTnLst>
                                </p:cTn>
                              </p:par>
                            </p:childTnLst>
                          </p:cTn>
                        </p:par>
                        <p:par>
                          <p:cTn id="55" fill="hold">
                            <p:stCondLst>
                              <p:cond delay="7000"/>
                            </p:stCondLst>
                            <p:childTnLst>
                              <p:par>
                                <p:cTn id="56" presetID="10" presetClass="entr" presetSubtype="0" fill="hold" nodeType="afterEffect">
                                  <p:stCondLst>
                                    <p:cond delay="0"/>
                                  </p:stCondLst>
                                  <p:childTnLst>
                                    <p:set>
                                      <p:cBhvr>
                                        <p:cTn id="57" dur="1" fill="hold">
                                          <p:stCondLst>
                                            <p:cond delay="0"/>
                                          </p:stCondLst>
                                        </p:cTn>
                                        <p:tgtEl>
                                          <p:spTgt spid="150"/>
                                        </p:tgtEl>
                                        <p:attrNameLst>
                                          <p:attrName>style.visibility</p:attrName>
                                        </p:attrNameLst>
                                      </p:cBhvr>
                                      <p:to>
                                        <p:strVal val="visible"/>
                                      </p:to>
                                    </p:set>
                                    <p:animEffect transition="in" filter="fade">
                                      <p:cBhvr>
                                        <p:cTn id="58" dur="2000"/>
                                        <p:tgtEl>
                                          <p:spTgt spid="150"/>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143"/>
                                        </p:tgtEl>
                                        <p:attrNameLst>
                                          <p:attrName>style.visibility</p:attrName>
                                        </p:attrNameLst>
                                      </p:cBhvr>
                                      <p:to>
                                        <p:strVal val="visible"/>
                                      </p:to>
                                    </p:set>
                                    <p:animEffect transition="in" filter="wipe(left)">
                                      <p:cBhvr>
                                        <p:cTn id="63" dur="500"/>
                                        <p:tgtEl>
                                          <p:spTgt spid="143"/>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nodeType="clickEffect">
                                  <p:stCondLst>
                                    <p:cond delay="0"/>
                                  </p:stCondLst>
                                  <p:childTnLst>
                                    <p:set>
                                      <p:cBhvr>
                                        <p:cTn id="67" dur="1" fill="hold">
                                          <p:stCondLst>
                                            <p:cond delay="0"/>
                                          </p:stCondLst>
                                        </p:cTn>
                                        <p:tgtEl>
                                          <p:spTgt spid="142"/>
                                        </p:tgtEl>
                                        <p:attrNameLst>
                                          <p:attrName>style.visibility</p:attrName>
                                        </p:attrNameLst>
                                      </p:cBhvr>
                                      <p:to>
                                        <p:strVal val="visible"/>
                                      </p:to>
                                    </p:set>
                                    <p:animEffect transition="in" filter="wipe(left)">
                                      <p:cBhvr>
                                        <p:cTn id="68" dur="500"/>
                                        <p:tgtEl>
                                          <p:spTgt spid="142"/>
                                        </p:tgtEl>
                                      </p:cBhvr>
                                    </p:animEffect>
                                  </p:childTnLst>
                                </p:cTn>
                              </p:par>
                            </p:childTnLst>
                          </p:cTn>
                        </p:par>
                      </p:childTnLst>
                    </p:cTn>
                  </p:par>
                  <p:par>
                    <p:cTn id="69" fill="hold">
                      <p:stCondLst>
                        <p:cond delay="indefinite"/>
                      </p:stCondLst>
                      <p:childTnLst>
                        <p:par>
                          <p:cTn id="70" fill="hold">
                            <p:stCondLst>
                              <p:cond delay="0"/>
                            </p:stCondLst>
                            <p:childTnLst>
                              <p:par>
                                <p:cTn id="71" presetID="22" presetClass="entr" presetSubtype="8" fill="hold" nodeType="clickEffect">
                                  <p:stCondLst>
                                    <p:cond delay="0"/>
                                  </p:stCondLst>
                                  <p:childTnLst>
                                    <p:set>
                                      <p:cBhvr>
                                        <p:cTn id="72" dur="1" fill="hold">
                                          <p:stCondLst>
                                            <p:cond delay="0"/>
                                          </p:stCondLst>
                                        </p:cTn>
                                        <p:tgtEl>
                                          <p:spTgt spid="121"/>
                                        </p:tgtEl>
                                        <p:attrNameLst>
                                          <p:attrName>style.visibility</p:attrName>
                                        </p:attrNameLst>
                                      </p:cBhvr>
                                      <p:to>
                                        <p:strVal val="visible"/>
                                      </p:to>
                                    </p:set>
                                    <p:animEffect transition="in" filter="wipe(left)">
                                      <p:cBhvr>
                                        <p:cTn id="73" dur="500"/>
                                        <p:tgtEl>
                                          <p:spTgt spid="121"/>
                                        </p:tgtEl>
                                      </p:cBhvr>
                                    </p:animEffect>
                                  </p:childTnLst>
                                </p:cTn>
                              </p:par>
                            </p:childTnLst>
                          </p:cTn>
                        </p:par>
                        <p:par>
                          <p:cTn id="74" fill="hold">
                            <p:stCondLst>
                              <p:cond delay="500"/>
                            </p:stCondLst>
                            <p:childTnLst>
                              <p:par>
                                <p:cTn id="75" presetID="22" presetClass="entr" presetSubtype="8" fill="hold" nodeType="afterEffect">
                                  <p:stCondLst>
                                    <p:cond delay="0"/>
                                  </p:stCondLst>
                                  <p:childTnLst>
                                    <p:set>
                                      <p:cBhvr>
                                        <p:cTn id="76" dur="1" fill="hold">
                                          <p:stCondLst>
                                            <p:cond delay="0"/>
                                          </p:stCondLst>
                                        </p:cTn>
                                        <p:tgtEl>
                                          <p:spTgt spid="124"/>
                                        </p:tgtEl>
                                        <p:attrNameLst>
                                          <p:attrName>style.visibility</p:attrName>
                                        </p:attrNameLst>
                                      </p:cBhvr>
                                      <p:to>
                                        <p:strVal val="visible"/>
                                      </p:to>
                                    </p:set>
                                    <p:animEffect transition="in" filter="wipe(left)">
                                      <p:cBhvr>
                                        <p:cTn id="77" dur="500"/>
                                        <p:tgtEl>
                                          <p:spTgt spid="124"/>
                                        </p:tgtEl>
                                      </p:cBhvr>
                                    </p:animEffect>
                                  </p:childTnLst>
                                </p:cTn>
                              </p:par>
                            </p:childTnLst>
                          </p:cTn>
                        </p:par>
                        <p:par>
                          <p:cTn id="78" fill="hold">
                            <p:stCondLst>
                              <p:cond delay="1000"/>
                            </p:stCondLst>
                            <p:childTnLst>
                              <p:par>
                                <p:cTn id="79" presetID="22" presetClass="entr" presetSubtype="8" fill="hold" nodeType="afterEffect">
                                  <p:stCondLst>
                                    <p:cond delay="0"/>
                                  </p:stCondLst>
                                  <p:childTnLst>
                                    <p:set>
                                      <p:cBhvr>
                                        <p:cTn id="80" dur="1" fill="hold">
                                          <p:stCondLst>
                                            <p:cond delay="0"/>
                                          </p:stCondLst>
                                        </p:cTn>
                                        <p:tgtEl>
                                          <p:spTgt spid="122"/>
                                        </p:tgtEl>
                                        <p:attrNameLst>
                                          <p:attrName>style.visibility</p:attrName>
                                        </p:attrNameLst>
                                      </p:cBhvr>
                                      <p:to>
                                        <p:strVal val="visible"/>
                                      </p:to>
                                    </p:set>
                                    <p:animEffect transition="in" filter="wipe(left)">
                                      <p:cBhvr>
                                        <p:cTn id="81" dur="500"/>
                                        <p:tgtEl>
                                          <p:spTgt spid="122"/>
                                        </p:tgtEl>
                                      </p:cBhvr>
                                    </p:animEffect>
                                  </p:childTnLst>
                                </p:cTn>
                              </p:par>
                            </p:childTnLst>
                          </p:cTn>
                        </p:par>
                        <p:par>
                          <p:cTn id="82" fill="hold">
                            <p:stCondLst>
                              <p:cond delay="1500"/>
                            </p:stCondLst>
                            <p:childTnLst>
                              <p:par>
                                <p:cTn id="83" presetID="22" presetClass="entr" presetSubtype="8" fill="hold" nodeType="afterEffect">
                                  <p:stCondLst>
                                    <p:cond delay="0"/>
                                  </p:stCondLst>
                                  <p:childTnLst>
                                    <p:set>
                                      <p:cBhvr>
                                        <p:cTn id="84" dur="1" fill="hold">
                                          <p:stCondLst>
                                            <p:cond delay="0"/>
                                          </p:stCondLst>
                                        </p:cTn>
                                        <p:tgtEl>
                                          <p:spTgt spid="123"/>
                                        </p:tgtEl>
                                        <p:attrNameLst>
                                          <p:attrName>style.visibility</p:attrName>
                                        </p:attrNameLst>
                                      </p:cBhvr>
                                      <p:to>
                                        <p:strVal val="visible"/>
                                      </p:to>
                                    </p:set>
                                    <p:animEffect transition="in" filter="wipe(left)">
                                      <p:cBhvr>
                                        <p:cTn id="85" dur="500"/>
                                        <p:tgtEl>
                                          <p:spTgt spid="123"/>
                                        </p:tgtEl>
                                      </p:cBhvr>
                                    </p:animEffect>
                                  </p:childTnLst>
                                </p:cTn>
                              </p:par>
                            </p:childTnLst>
                          </p:cTn>
                        </p:par>
                        <p:par>
                          <p:cTn id="86" fill="hold">
                            <p:stCondLst>
                              <p:cond delay="2000"/>
                            </p:stCondLst>
                            <p:childTnLst>
                              <p:par>
                                <p:cTn id="87" presetID="22" presetClass="entr" presetSubtype="8" fill="hold" nodeType="afterEffect">
                                  <p:stCondLst>
                                    <p:cond delay="0"/>
                                  </p:stCondLst>
                                  <p:childTnLst>
                                    <p:set>
                                      <p:cBhvr>
                                        <p:cTn id="88" dur="1" fill="hold">
                                          <p:stCondLst>
                                            <p:cond delay="0"/>
                                          </p:stCondLst>
                                        </p:cTn>
                                        <p:tgtEl>
                                          <p:spTgt spid="125"/>
                                        </p:tgtEl>
                                        <p:attrNameLst>
                                          <p:attrName>style.visibility</p:attrName>
                                        </p:attrNameLst>
                                      </p:cBhvr>
                                      <p:to>
                                        <p:strVal val="visible"/>
                                      </p:to>
                                    </p:set>
                                    <p:animEffect transition="in" filter="wipe(left)">
                                      <p:cBhvr>
                                        <p:cTn id="89" dur="500"/>
                                        <p:tgtEl>
                                          <p:spTgt spid="125"/>
                                        </p:tgtEl>
                                      </p:cBhvr>
                                    </p:animEffect>
                                  </p:childTnLst>
                                </p:cTn>
                              </p:par>
                            </p:childTnLst>
                          </p:cTn>
                        </p:par>
                        <p:par>
                          <p:cTn id="90" fill="hold">
                            <p:stCondLst>
                              <p:cond delay="2500"/>
                            </p:stCondLst>
                            <p:childTnLst>
                              <p:par>
                                <p:cTn id="91" presetID="22" presetClass="entr" presetSubtype="8" fill="hold" nodeType="afterEffect">
                                  <p:stCondLst>
                                    <p:cond delay="0"/>
                                  </p:stCondLst>
                                  <p:childTnLst>
                                    <p:set>
                                      <p:cBhvr>
                                        <p:cTn id="92" dur="1" fill="hold">
                                          <p:stCondLst>
                                            <p:cond delay="0"/>
                                          </p:stCondLst>
                                        </p:cTn>
                                        <p:tgtEl>
                                          <p:spTgt spid="55"/>
                                        </p:tgtEl>
                                        <p:attrNameLst>
                                          <p:attrName>style.visibility</p:attrName>
                                        </p:attrNameLst>
                                      </p:cBhvr>
                                      <p:to>
                                        <p:strVal val="visible"/>
                                      </p:to>
                                    </p:set>
                                    <p:animEffect transition="in" filter="wipe(left)">
                                      <p:cBhvr>
                                        <p:cTn id="93" dur="500"/>
                                        <p:tgtEl>
                                          <p:spTgt spid="55"/>
                                        </p:tgtEl>
                                      </p:cBhvr>
                                    </p:animEffect>
                                  </p:childTnLst>
                                </p:cTn>
                              </p:par>
                            </p:childTnLst>
                          </p:cTn>
                        </p:par>
                        <p:par>
                          <p:cTn id="94" fill="hold">
                            <p:stCondLst>
                              <p:cond delay="3000"/>
                            </p:stCondLst>
                            <p:childTnLst>
                              <p:par>
                                <p:cTn id="95" presetID="22" presetClass="entr" presetSubtype="8" fill="hold" nodeType="afterEffect">
                                  <p:stCondLst>
                                    <p:cond delay="0"/>
                                  </p:stCondLst>
                                  <p:childTnLst>
                                    <p:set>
                                      <p:cBhvr>
                                        <p:cTn id="96" dur="1" fill="hold">
                                          <p:stCondLst>
                                            <p:cond delay="0"/>
                                          </p:stCondLst>
                                        </p:cTn>
                                        <p:tgtEl>
                                          <p:spTgt spid="115"/>
                                        </p:tgtEl>
                                        <p:attrNameLst>
                                          <p:attrName>style.visibility</p:attrName>
                                        </p:attrNameLst>
                                      </p:cBhvr>
                                      <p:to>
                                        <p:strVal val="visible"/>
                                      </p:to>
                                    </p:set>
                                    <p:animEffect transition="in" filter="wipe(left)">
                                      <p:cBhvr>
                                        <p:cTn id="97" dur="500"/>
                                        <p:tgtEl>
                                          <p:spTgt spid="115"/>
                                        </p:tgtEl>
                                      </p:cBhvr>
                                    </p:animEffect>
                                  </p:childTnLst>
                                </p:cTn>
                              </p:par>
                            </p:childTnLst>
                          </p:cTn>
                        </p:par>
                      </p:childTnLst>
                    </p:cTn>
                  </p:par>
                  <p:par>
                    <p:cTn id="98" fill="hold">
                      <p:stCondLst>
                        <p:cond delay="indefinite"/>
                      </p:stCondLst>
                      <p:childTnLst>
                        <p:par>
                          <p:cTn id="99" fill="hold">
                            <p:stCondLst>
                              <p:cond delay="0"/>
                            </p:stCondLst>
                            <p:childTnLst>
                              <p:par>
                                <p:cTn id="100" presetID="22" presetClass="entr" presetSubtype="8" fill="hold" nodeType="clickEffect">
                                  <p:stCondLst>
                                    <p:cond delay="0"/>
                                  </p:stCondLst>
                                  <p:childTnLst>
                                    <p:set>
                                      <p:cBhvr>
                                        <p:cTn id="101" dur="1" fill="hold">
                                          <p:stCondLst>
                                            <p:cond delay="0"/>
                                          </p:stCondLst>
                                        </p:cTn>
                                        <p:tgtEl>
                                          <p:spTgt spid="126"/>
                                        </p:tgtEl>
                                        <p:attrNameLst>
                                          <p:attrName>style.visibility</p:attrName>
                                        </p:attrNameLst>
                                      </p:cBhvr>
                                      <p:to>
                                        <p:strVal val="visible"/>
                                      </p:to>
                                    </p:set>
                                    <p:animEffect transition="in" filter="wipe(left)">
                                      <p:cBhvr>
                                        <p:cTn id="102" dur="500"/>
                                        <p:tgtEl>
                                          <p:spTgt spid="126"/>
                                        </p:tgtEl>
                                      </p:cBhvr>
                                    </p:animEffect>
                                  </p:childTnLst>
                                </p:cTn>
                              </p:par>
                            </p:childTnLst>
                          </p:cTn>
                        </p:par>
                        <p:par>
                          <p:cTn id="103" fill="hold">
                            <p:stCondLst>
                              <p:cond delay="500"/>
                            </p:stCondLst>
                            <p:childTnLst>
                              <p:par>
                                <p:cTn id="104" presetID="22" presetClass="entr" presetSubtype="8" fill="hold" nodeType="afterEffect">
                                  <p:stCondLst>
                                    <p:cond delay="0"/>
                                  </p:stCondLst>
                                  <p:childTnLst>
                                    <p:set>
                                      <p:cBhvr>
                                        <p:cTn id="105" dur="1" fill="hold">
                                          <p:stCondLst>
                                            <p:cond delay="0"/>
                                          </p:stCondLst>
                                        </p:cTn>
                                        <p:tgtEl>
                                          <p:spTgt spid="127"/>
                                        </p:tgtEl>
                                        <p:attrNameLst>
                                          <p:attrName>style.visibility</p:attrName>
                                        </p:attrNameLst>
                                      </p:cBhvr>
                                      <p:to>
                                        <p:strVal val="visible"/>
                                      </p:to>
                                    </p:set>
                                    <p:animEffect transition="in" filter="wipe(left)">
                                      <p:cBhvr>
                                        <p:cTn id="106" dur="500"/>
                                        <p:tgtEl>
                                          <p:spTgt spid="127"/>
                                        </p:tgtEl>
                                      </p:cBhvr>
                                    </p:animEffect>
                                  </p:childTnLst>
                                </p:cTn>
                              </p:par>
                            </p:childTnLst>
                          </p:cTn>
                        </p:par>
                        <p:par>
                          <p:cTn id="107" fill="hold">
                            <p:stCondLst>
                              <p:cond delay="1000"/>
                            </p:stCondLst>
                            <p:childTnLst>
                              <p:par>
                                <p:cTn id="108" presetID="22" presetClass="entr" presetSubtype="8" fill="hold" nodeType="afterEffect">
                                  <p:stCondLst>
                                    <p:cond delay="0"/>
                                  </p:stCondLst>
                                  <p:childTnLst>
                                    <p:set>
                                      <p:cBhvr>
                                        <p:cTn id="109" dur="1" fill="hold">
                                          <p:stCondLst>
                                            <p:cond delay="0"/>
                                          </p:stCondLst>
                                        </p:cTn>
                                        <p:tgtEl>
                                          <p:spTgt spid="130"/>
                                        </p:tgtEl>
                                        <p:attrNameLst>
                                          <p:attrName>style.visibility</p:attrName>
                                        </p:attrNameLst>
                                      </p:cBhvr>
                                      <p:to>
                                        <p:strVal val="visible"/>
                                      </p:to>
                                    </p:set>
                                    <p:animEffect transition="in" filter="wipe(left)">
                                      <p:cBhvr>
                                        <p:cTn id="110" dur="500"/>
                                        <p:tgtEl>
                                          <p:spTgt spid="130"/>
                                        </p:tgtEl>
                                      </p:cBhvr>
                                    </p:animEffect>
                                  </p:childTnLst>
                                </p:cTn>
                              </p:par>
                            </p:childTnLst>
                          </p:cTn>
                        </p:par>
                        <p:par>
                          <p:cTn id="111" fill="hold">
                            <p:stCondLst>
                              <p:cond delay="1500"/>
                            </p:stCondLst>
                            <p:childTnLst>
                              <p:par>
                                <p:cTn id="112" presetID="22" presetClass="entr" presetSubtype="8" fill="hold" nodeType="afterEffect">
                                  <p:stCondLst>
                                    <p:cond delay="0"/>
                                  </p:stCondLst>
                                  <p:childTnLst>
                                    <p:set>
                                      <p:cBhvr>
                                        <p:cTn id="113" dur="1" fill="hold">
                                          <p:stCondLst>
                                            <p:cond delay="0"/>
                                          </p:stCondLst>
                                        </p:cTn>
                                        <p:tgtEl>
                                          <p:spTgt spid="129"/>
                                        </p:tgtEl>
                                        <p:attrNameLst>
                                          <p:attrName>style.visibility</p:attrName>
                                        </p:attrNameLst>
                                      </p:cBhvr>
                                      <p:to>
                                        <p:strVal val="visible"/>
                                      </p:to>
                                    </p:set>
                                    <p:animEffect transition="in" filter="wipe(left)">
                                      <p:cBhvr>
                                        <p:cTn id="114" dur="500"/>
                                        <p:tgtEl>
                                          <p:spTgt spid="129"/>
                                        </p:tgtEl>
                                      </p:cBhvr>
                                    </p:animEffect>
                                  </p:childTnLst>
                                </p:cTn>
                              </p:par>
                            </p:childTnLst>
                          </p:cTn>
                        </p:par>
                        <p:par>
                          <p:cTn id="115" fill="hold">
                            <p:stCondLst>
                              <p:cond delay="2000"/>
                            </p:stCondLst>
                            <p:childTnLst>
                              <p:par>
                                <p:cTn id="116" presetID="22" presetClass="entr" presetSubtype="8" fill="hold" nodeType="afterEffect">
                                  <p:stCondLst>
                                    <p:cond delay="0"/>
                                  </p:stCondLst>
                                  <p:childTnLst>
                                    <p:set>
                                      <p:cBhvr>
                                        <p:cTn id="117" dur="1" fill="hold">
                                          <p:stCondLst>
                                            <p:cond delay="0"/>
                                          </p:stCondLst>
                                        </p:cTn>
                                        <p:tgtEl>
                                          <p:spTgt spid="128"/>
                                        </p:tgtEl>
                                        <p:attrNameLst>
                                          <p:attrName>style.visibility</p:attrName>
                                        </p:attrNameLst>
                                      </p:cBhvr>
                                      <p:to>
                                        <p:strVal val="visible"/>
                                      </p:to>
                                    </p:set>
                                    <p:animEffect transition="in" filter="wipe(left)">
                                      <p:cBhvr>
                                        <p:cTn id="118" dur="500"/>
                                        <p:tgtEl>
                                          <p:spTgt spid="128"/>
                                        </p:tgtEl>
                                      </p:cBhvr>
                                    </p:animEffect>
                                  </p:childTnLst>
                                </p:cTn>
                              </p:par>
                              <p:par>
                                <p:cTn id="119" presetID="22" presetClass="entr" presetSubtype="8" fill="hold" nodeType="withEffect">
                                  <p:stCondLst>
                                    <p:cond delay="0"/>
                                  </p:stCondLst>
                                  <p:childTnLst>
                                    <p:set>
                                      <p:cBhvr>
                                        <p:cTn id="120" dur="1" fill="hold">
                                          <p:stCondLst>
                                            <p:cond delay="0"/>
                                          </p:stCondLst>
                                        </p:cTn>
                                        <p:tgtEl>
                                          <p:spTgt spid="114"/>
                                        </p:tgtEl>
                                        <p:attrNameLst>
                                          <p:attrName>style.visibility</p:attrName>
                                        </p:attrNameLst>
                                      </p:cBhvr>
                                      <p:to>
                                        <p:strVal val="visible"/>
                                      </p:to>
                                    </p:set>
                                    <p:animEffect transition="in" filter="wipe(left)">
                                      <p:cBhvr>
                                        <p:cTn id="121" dur="500"/>
                                        <p:tgtEl>
                                          <p:spTgt spid="114"/>
                                        </p:tgtEl>
                                      </p:cBhvr>
                                    </p:animEffect>
                                  </p:childTnLst>
                                </p:cTn>
                              </p:par>
                            </p:childTnLst>
                          </p:cTn>
                        </p:par>
                      </p:childTnLst>
                    </p:cTn>
                  </p:par>
                  <p:par>
                    <p:cTn id="122" fill="hold">
                      <p:stCondLst>
                        <p:cond delay="indefinite"/>
                      </p:stCondLst>
                      <p:childTnLst>
                        <p:par>
                          <p:cTn id="123" fill="hold">
                            <p:stCondLst>
                              <p:cond delay="0"/>
                            </p:stCondLst>
                            <p:childTnLst>
                              <p:par>
                                <p:cTn id="124" presetID="22" presetClass="entr" presetSubtype="8" fill="hold" nodeType="clickEffect">
                                  <p:stCondLst>
                                    <p:cond delay="0"/>
                                  </p:stCondLst>
                                  <p:childTnLst>
                                    <p:set>
                                      <p:cBhvr>
                                        <p:cTn id="125" dur="1" fill="hold">
                                          <p:stCondLst>
                                            <p:cond delay="0"/>
                                          </p:stCondLst>
                                        </p:cTn>
                                        <p:tgtEl>
                                          <p:spTgt spid="144"/>
                                        </p:tgtEl>
                                        <p:attrNameLst>
                                          <p:attrName>style.visibility</p:attrName>
                                        </p:attrNameLst>
                                      </p:cBhvr>
                                      <p:to>
                                        <p:strVal val="visible"/>
                                      </p:to>
                                    </p:set>
                                    <p:animEffect transition="in" filter="wipe(left)">
                                      <p:cBhvr>
                                        <p:cTn id="126" dur="500"/>
                                        <p:tgtEl>
                                          <p:spTgt spid="144"/>
                                        </p:tgtEl>
                                      </p:cBhvr>
                                    </p:animEffect>
                                  </p:childTnLst>
                                </p:cTn>
                              </p:par>
                              <p:par>
                                <p:cTn id="127" presetID="22" presetClass="entr" presetSubtype="8" fill="hold" nodeType="withEffect">
                                  <p:stCondLst>
                                    <p:cond delay="0"/>
                                  </p:stCondLst>
                                  <p:childTnLst>
                                    <p:set>
                                      <p:cBhvr>
                                        <p:cTn id="128" dur="1" fill="hold">
                                          <p:stCondLst>
                                            <p:cond delay="0"/>
                                          </p:stCondLst>
                                        </p:cTn>
                                        <p:tgtEl>
                                          <p:spTgt spid="157"/>
                                        </p:tgtEl>
                                        <p:attrNameLst>
                                          <p:attrName>style.visibility</p:attrName>
                                        </p:attrNameLst>
                                      </p:cBhvr>
                                      <p:to>
                                        <p:strVal val="visible"/>
                                      </p:to>
                                    </p:set>
                                    <p:animEffect transition="in" filter="wipe(left)">
                                      <p:cBhvr>
                                        <p:cTn id="129" dur="500"/>
                                        <p:tgtEl>
                                          <p:spTgt spid="157"/>
                                        </p:tgtEl>
                                      </p:cBhvr>
                                    </p:animEffect>
                                  </p:childTnLst>
                                </p:cTn>
                              </p:par>
                            </p:childTnLst>
                          </p:cTn>
                        </p:par>
                      </p:childTnLst>
                    </p:cTn>
                  </p:par>
                  <p:par>
                    <p:cTn id="130" fill="hold">
                      <p:stCondLst>
                        <p:cond delay="indefinite"/>
                      </p:stCondLst>
                      <p:childTnLst>
                        <p:par>
                          <p:cTn id="131" fill="hold">
                            <p:stCondLst>
                              <p:cond delay="0"/>
                            </p:stCondLst>
                            <p:childTnLst>
                              <p:par>
                                <p:cTn id="132" presetID="10" presetClass="entr" presetSubtype="0" fill="hold" nodeType="clickEffect">
                                  <p:stCondLst>
                                    <p:cond delay="0"/>
                                  </p:stCondLst>
                                  <p:childTnLst>
                                    <p:set>
                                      <p:cBhvr>
                                        <p:cTn id="133" dur="1" fill="hold">
                                          <p:stCondLst>
                                            <p:cond delay="0"/>
                                          </p:stCondLst>
                                        </p:cTn>
                                        <p:tgtEl>
                                          <p:spTgt spid="153"/>
                                        </p:tgtEl>
                                        <p:attrNameLst>
                                          <p:attrName>style.visibility</p:attrName>
                                        </p:attrNameLst>
                                      </p:cBhvr>
                                      <p:to>
                                        <p:strVal val="visible"/>
                                      </p:to>
                                    </p:set>
                                    <p:animEffect transition="in" filter="fade">
                                      <p:cBhvr>
                                        <p:cTn id="134" dur="2000"/>
                                        <p:tgtEl>
                                          <p:spTgt spid="153"/>
                                        </p:tgtEl>
                                      </p:cBhvr>
                                    </p:animEffect>
                                  </p:childTnLst>
                                </p:cTn>
                              </p:par>
                            </p:childTnLst>
                          </p:cTn>
                        </p:par>
                        <p:par>
                          <p:cTn id="135" fill="hold">
                            <p:stCondLst>
                              <p:cond delay="2000"/>
                            </p:stCondLst>
                            <p:childTnLst>
                              <p:par>
                                <p:cTn id="136" presetID="10" presetClass="entr" presetSubtype="0" fill="hold" nodeType="afterEffect">
                                  <p:stCondLst>
                                    <p:cond delay="0"/>
                                  </p:stCondLst>
                                  <p:childTnLst>
                                    <p:set>
                                      <p:cBhvr>
                                        <p:cTn id="137" dur="1" fill="hold">
                                          <p:stCondLst>
                                            <p:cond delay="0"/>
                                          </p:stCondLst>
                                        </p:cTn>
                                        <p:tgtEl>
                                          <p:spTgt spid="154"/>
                                        </p:tgtEl>
                                        <p:attrNameLst>
                                          <p:attrName>style.visibility</p:attrName>
                                        </p:attrNameLst>
                                      </p:cBhvr>
                                      <p:to>
                                        <p:strVal val="visible"/>
                                      </p:to>
                                    </p:set>
                                    <p:animEffect transition="in" filter="fade">
                                      <p:cBhvr>
                                        <p:cTn id="138" dur="2000"/>
                                        <p:tgtEl>
                                          <p:spTgt spid="154"/>
                                        </p:tgtEl>
                                      </p:cBhvr>
                                    </p:animEffect>
                                  </p:childTnLst>
                                </p:cTn>
                              </p:par>
                            </p:childTnLst>
                          </p:cTn>
                        </p:par>
                      </p:childTnLst>
                    </p:cTn>
                  </p:par>
                  <p:par>
                    <p:cTn id="139" fill="hold">
                      <p:stCondLst>
                        <p:cond delay="indefinite"/>
                      </p:stCondLst>
                      <p:childTnLst>
                        <p:par>
                          <p:cTn id="140" fill="hold">
                            <p:stCondLst>
                              <p:cond delay="0"/>
                            </p:stCondLst>
                            <p:childTnLst>
                              <p:par>
                                <p:cTn id="141" presetID="22" presetClass="entr" presetSubtype="8" fill="hold" nodeType="clickEffect">
                                  <p:stCondLst>
                                    <p:cond delay="0"/>
                                  </p:stCondLst>
                                  <p:childTnLst>
                                    <p:set>
                                      <p:cBhvr>
                                        <p:cTn id="142" dur="1" fill="hold">
                                          <p:stCondLst>
                                            <p:cond delay="0"/>
                                          </p:stCondLst>
                                        </p:cTn>
                                        <p:tgtEl>
                                          <p:spTgt spid="156"/>
                                        </p:tgtEl>
                                        <p:attrNameLst>
                                          <p:attrName>style.visibility</p:attrName>
                                        </p:attrNameLst>
                                      </p:cBhvr>
                                      <p:to>
                                        <p:strVal val="visible"/>
                                      </p:to>
                                    </p:set>
                                    <p:animEffect transition="in" filter="wipe(left)">
                                      <p:cBhvr>
                                        <p:cTn id="143" dur="500"/>
                                        <p:tgtEl>
                                          <p:spTgt spid="156"/>
                                        </p:tgtEl>
                                      </p:cBhvr>
                                    </p:animEffect>
                                  </p:childTnLst>
                                </p:cTn>
                              </p:par>
                            </p:childTnLst>
                          </p:cTn>
                        </p:par>
                      </p:childTnLst>
                    </p:cTn>
                  </p:par>
                  <p:par>
                    <p:cTn id="144" fill="hold">
                      <p:stCondLst>
                        <p:cond delay="indefinite"/>
                      </p:stCondLst>
                      <p:childTnLst>
                        <p:par>
                          <p:cTn id="145" fill="hold">
                            <p:stCondLst>
                              <p:cond delay="0"/>
                            </p:stCondLst>
                            <p:childTnLst>
                              <p:par>
                                <p:cTn id="146" presetID="22" presetClass="entr" presetSubtype="8" fill="hold" nodeType="clickEffect">
                                  <p:stCondLst>
                                    <p:cond delay="0"/>
                                  </p:stCondLst>
                                  <p:childTnLst>
                                    <p:set>
                                      <p:cBhvr>
                                        <p:cTn id="147" dur="1" fill="hold">
                                          <p:stCondLst>
                                            <p:cond delay="0"/>
                                          </p:stCondLst>
                                        </p:cTn>
                                        <p:tgtEl>
                                          <p:spTgt spid="155"/>
                                        </p:tgtEl>
                                        <p:attrNameLst>
                                          <p:attrName>style.visibility</p:attrName>
                                        </p:attrNameLst>
                                      </p:cBhvr>
                                      <p:to>
                                        <p:strVal val="visible"/>
                                      </p:to>
                                    </p:set>
                                    <p:animEffect transition="in" filter="wipe(left)">
                                      <p:cBhvr>
                                        <p:cTn id="148" dur="500"/>
                                        <p:tgtEl>
                                          <p:spTgt spid="155"/>
                                        </p:tgtEl>
                                      </p:cBhvr>
                                    </p:animEffect>
                                  </p:childTnLst>
                                </p:cTn>
                              </p:par>
                            </p:childTnLst>
                          </p:cTn>
                        </p:par>
                        <p:par>
                          <p:cTn id="149" fill="hold">
                            <p:stCondLst>
                              <p:cond delay="500"/>
                            </p:stCondLst>
                            <p:childTnLst>
                              <p:par>
                                <p:cTn id="150" presetID="53" presetClass="entr" presetSubtype="0" fill="hold" grpId="0" nodeType="afterEffect">
                                  <p:stCondLst>
                                    <p:cond delay="0"/>
                                  </p:stCondLst>
                                  <p:childTnLst>
                                    <p:set>
                                      <p:cBhvr>
                                        <p:cTn id="151" dur="1" fill="hold">
                                          <p:stCondLst>
                                            <p:cond delay="0"/>
                                          </p:stCondLst>
                                        </p:cTn>
                                        <p:tgtEl>
                                          <p:spTgt spid="160"/>
                                        </p:tgtEl>
                                        <p:attrNameLst>
                                          <p:attrName>style.visibility</p:attrName>
                                        </p:attrNameLst>
                                      </p:cBhvr>
                                      <p:to>
                                        <p:strVal val="visible"/>
                                      </p:to>
                                    </p:set>
                                    <p:anim calcmode="lin" valueType="num">
                                      <p:cBhvr>
                                        <p:cTn id="152" dur="2000" fill="hold"/>
                                        <p:tgtEl>
                                          <p:spTgt spid="160"/>
                                        </p:tgtEl>
                                        <p:attrNameLst>
                                          <p:attrName>ppt_w</p:attrName>
                                        </p:attrNameLst>
                                      </p:cBhvr>
                                      <p:tavLst>
                                        <p:tav tm="0">
                                          <p:val>
                                            <p:fltVal val="0"/>
                                          </p:val>
                                        </p:tav>
                                        <p:tav tm="100000">
                                          <p:val>
                                            <p:strVal val="#ppt_w"/>
                                          </p:val>
                                        </p:tav>
                                      </p:tavLst>
                                    </p:anim>
                                    <p:anim calcmode="lin" valueType="num">
                                      <p:cBhvr>
                                        <p:cTn id="153" dur="2000" fill="hold"/>
                                        <p:tgtEl>
                                          <p:spTgt spid="160"/>
                                        </p:tgtEl>
                                        <p:attrNameLst>
                                          <p:attrName>ppt_h</p:attrName>
                                        </p:attrNameLst>
                                      </p:cBhvr>
                                      <p:tavLst>
                                        <p:tav tm="0">
                                          <p:val>
                                            <p:fltVal val="0"/>
                                          </p:val>
                                        </p:tav>
                                        <p:tav tm="100000">
                                          <p:val>
                                            <p:strVal val="#ppt_h"/>
                                          </p:val>
                                        </p:tav>
                                      </p:tavLst>
                                    </p:anim>
                                    <p:animEffect transition="in" filter="fade">
                                      <p:cBhvr>
                                        <p:cTn id="154" dur="2000"/>
                                        <p:tgtEl>
                                          <p:spTgt spid="160"/>
                                        </p:tgtEl>
                                      </p:cBhvr>
                                    </p:animEffect>
                                  </p:childTnLst>
                                </p:cTn>
                              </p:par>
                            </p:childTnLst>
                          </p:cTn>
                        </p:par>
                      </p:childTnLst>
                    </p:cTn>
                  </p:par>
                  <p:par>
                    <p:cTn id="155" fill="hold">
                      <p:stCondLst>
                        <p:cond delay="indefinite"/>
                      </p:stCondLst>
                      <p:childTnLst>
                        <p:par>
                          <p:cTn id="156" fill="hold">
                            <p:stCondLst>
                              <p:cond delay="0"/>
                            </p:stCondLst>
                            <p:childTnLst>
                              <p:par>
                                <p:cTn id="157" presetID="22" presetClass="entr" presetSubtype="1" fill="hold" grpId="0" nodeType="clickEffect">
                                  <p:stCondLst>
                                    <p:cond delay="0"/>
                                  </p:stCondLst>
                                  <p:childTnLst>
                                    <p:set>
                                      <p:cBhvr>
                                        <p:cTn id="158" dur="1" fill="hold">
                                          <p:stCondLst>
                                            <p:cond delay="0"/>
                                          </p:stCondLst>
                                        </p:cTn>
                                        <p:tgtEl>
                                          <p:spTgt spid="2"/>
                                        </p:tgtEl>
                                        <p:attrNameLst>
                                          <p:attrName>style.visibility</p:attrName>
                                        </p:attrNameLst>
                                      </p:cBhvr>
                                      <p:to>
                                        <p:strVal val="visible"/>
                                      </p:to>
                                    </p:set>
                                    <p:animEffect transition="in" filter="wipe(up)">
                                      <p:cBhvr>
                                        <p:cTn id="159" dur="500"/>
                                        <p:tgtEl>
                                          <p:spTgt spid="2"/>
                                        </p:tgtEl>
                                      </p:cBhvr>
                                    </p:animEffect>
                                  </p:childTnLst>
                                </p:cTn>
                              </p:par>
                            </p:childTnLst>
                          </p:cTn>
                        </p:par>
                      </p:childTnLst>
                    </p:cTn>
                  </p:par>
                  <p:par>
                    <p:cTn id="160" fill="hold">
                      <p:stCondLst>
                        <p:cond delay="indefinite"/>
                      </p:stCondLst>
                      <p:childTnLst>
                        <p:par>
                          <p:cTn id="161" fill="hold">
                            <p:stCondLst>
                              <p:cond delay="0"/>
                            </p:stCondLst>
                            <p:childTnLst>
                              <p:par>
                                <p:cTn id="162" presetID="10" presetClass="entr" presetSubtype="0" fill="hold" nodeType="clickEffect">
                                  <p:stCondLst>
                                    <p:cond delay="0"/>
                                  </p:stCondLst>
                                  <p:childTnLst>
                                    <p:set>
                                      <p:cBhvr>
                                        <p:cTn id="163" dur="1" fill="hold">
                                          <p:stCondLst>
                                            <p:cond delay="0"/>
                                          </p:stCondLst>
                                        </p:cTn>
                                        <p:tgtEl>
                                          <p:spTgt spid="158"/>
                                        </p:tgtEl>
                                        <p:attrNameLst>
                                          <p:attrName>style.visibility</p:attrName>
                                        </p:attrNameLst>
                                      </p:cBhvr>
                                      <p:to>
                                        <p:strVal val="visible"/>
                                      </p:to>
                                    </p:set>
                                    <p:animEffect transition="in" filter="fade">
                                      <p:cBhvr>
                                        <p:cTn id="164" dur="2000"/>
                                        <p:tgtEl>
                                          <p:spTgt spid="158"/>
                                        </p:tgtEl>
                                      </p:cBhvr>
                                    </p:animEffect>
                                  </p:childTnLst>
                                </p:cTn>
                              </p:par>
                              <p:par>
                                <p:cTn id="165" presetID="10" presetClass="entr" presetSubtype="0" fill="hold" nodeType="withEffect">
                                  <p:stCondLst>
                                    <p:cond delay="0"/>
                                  </p:stCondLst>
                                  <p:childTnLst>
                                    <p:set>
                                      <p:cBhvr>
                                        <p:cTn id="166" dur="1" fill="hold">
                                          <p:stCondLst>
                                            <p:cond delay="0"/>
                                          </p:stCondLst>
                                        </p:cTn>
                                        <p:tgtEl>
                                          <p:spTgt spid="159"/>
                                        </p:tgtEl>
                                        <p:attrNameLst>
                                          <p:attrName>style.visibility</p:attrName>
                                        </p:attrNameLst>
                                      </p:cBhvr>
                                      <p:to>
                                        <p:strVal val="visible"/>
                                      </p:to>
                                    </p:set>
                                    <p:animEffect transition="in" filter="fade">
                                      <p:cBhvr>
                                        <p:cTn id="167" dur="2000"/>
                                        <p:tgtEl>
                                          <p:spTgt spid="1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 grpId="0" animBg="1"/>
      <p:bldP spid="160" grpId="0"/>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9105930" y="-87527"/>
            <a:ext cx="18249930" cy="4752699"/>
            <a:chOff x="-9105930" y="-87527"/>
            <a:chExt cx="18249930" cy="4752699"/>
          </a:xfrm>
        </p:grpSpPr>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7527"/>
              <a:ext cx="9144000" cy="4752698"/>
            </a:xfrm>
            <a:prstGeom prst="rect">
              <a:avLst/>
            </a:prstGeom>
          </p:spPr>
        </p:pic>
        <p:pic>
          <p:nvPicPr>
            <p:cNvPr id="91" name="Picture 9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05930" y="-87526"/>
              <a:ext cx="9144000" cy="4752698"/>
            </a:xfrm>
            <a:prstGeom prst="rect">
              <a:avLst/>
            </a:prstGeom>
          </p:spPr>
        </p:pic>
      </p:grpSp>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5400000">
            <a:off x="7025799" y="1451669"/>
            <a:ext cx="593911" cy="657109"/>
          </a:xfrm>
          <a:prstGeom prst="rect">
            <a:avLst/>
          </a:prstGeom>
        </p:spPr>
      </p:pic>
      <p:sp>
        <p:nvSpPr>
          <p:cNvPr id="106" name="TextBox 105"/>
          <p:cNvSpPr txBox="1"/>
          <p:nvPr/>
        </p:nvSpPr>
        <p:spPr>
          <a:xfrm>
            <a:off x="5745084" y="1809631"/>
            <a:ext cx="1885453" cy="646331"/>
          </a:xfrm>
          <a:prstGeom prst="rect">
            <a:avLst/>
          </a:prstGeom>
          <a:noFill/>
        </p:spPr>
        <p:txBody>
          <a:bodyPr wrap="non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defRPr/>
            </a:pPr>
            <a:r>
              <a:rPr lang="en-US" sz="3600" b="1" dirty="0">
                <a:ln w="11430"/>
                <a:gradFill>
                  <a:gsLst>
                    <a:gs pos="0">
                      <a:srgbClr val="00FFFF">
                        <a:tint val="70000"/>
                        <a:satMod val="245000"/>
                      </a:srgbClr>
                    </a:gs>
                    <a:gs pos="75000">
                      <a:srgbClr val="00FFFF">
                        <a:tint val="90000"/>
                        <a:shade val="60000"/>
                        <a:satMod val="240000"/>
                      </a:srgbClr>
                    </a:gs>
                    <a:gs pos="100000">
                      <a:srgbClr val="00FFFF">
                        <a:tint val="100000"/>
                        <a:shade val="50000"/>
                        <a:satMod val="240000"/>
                      </a:srgbClr>
                    </a:gs>
                  </a:gsLst>
                  <a:lin ang="5400000"/>
                </a:gradFill>
                <a:effectLst>
                  <a:outerShdw blurRad="50800" dist="39000" dir="5460000" algn="tl">
                    <a:srgbClr val="000000">
                      <a:alpha val="38000"/>
                    </a:srgbClr>
                  </a:outerShdw>
                </a:effectLst>
                <a:latin typeface="Harlow Solid Italic" pitchFamily="82" charset="0"/>
                <a:cs typeface="Arial" charset="0"/>
              </a:rPr>
              <a:t>3</a:t>
            </a:r>
            <a:r>
              <a:rPr lang="en-US" sz="3600" b="1" baseline="30000" dirty="0">
                <a:ln w="11430"/>
                <a:gradFill>
                  <a:gsLst>
                    <a:gs pos="0">
                      <a:srgbClr val="00FFFF">
                        <a:tint val="70000"/>
                        <a:satMod val="245000"/>
                      </a:srgbClr>
                    </a:gs>
                    <a:gs pos="75000">
                      <a:srgbClr val="00FFFF">
                        <a:tint val="90000"/>
                        <a:shade val="60000"/>
                        <a:satMod val="240000"/>
                      </a:srgbClr>
                    </a:gs>
                    <a:gs pos="100000">
                      <a:srgbClr val="00FFFF">
                        <a:tint val="100000"/>
                        <a:shade val="50000"/>
                        <a:satMod val="240000"/>
                      </a:srgbClr>
                    </a:gs>
                  </a:gsLst>
                  <a:lin ang="5400000"/>
                </a:gradFill>
                <a:effectLst>
                  <a:outerShdw blurRad="50800" dist="39000" dir="5460000" algn="tl">
                    <a:srgbClr val="000000">
                      <a:alpha val="38000"/>
                    </a:srgbClr>
                  </a:outerShdw>
                </a:effectLst>
                <a:latin typeface="Harlow Solid Italic" pitchFamily="82" charset="0"/>
                <a:cs typeface="Arial" charset="0"/>
              </a:rPr>
              <a:t>rd</a:t>
            </a:r>
            <a:r>
              <a:rPr lang="en-US" sz="3600" b="1" dirty="0">
                <a:ln w="11430"/>
                <a:gradFill>
                  <a:gsLst>
                    <a:gs pos="0">
                      <a:srgbClr val="00FFFF">
                        <a:tint val="70000"/>
                        <a:satMod val="245000"/>
                      </a:srgbClr>
                    </a:gs>
                    <a:gs pos="75000">
                      <a:srgbClr val="00FFFF">
                        <a:tint val="90000"/>
                        <a:shade val="60000"/>
                        <a:satMod val="240000"/>
                      </a:srgbClr>
                    </a:gs>
                    <a:gs pos="100000">
                      <a:srgbClr val="00FFFF">
                        <a:tint val="100000"/>
                        <a:shade val="50000"/>
                        <a:satMod val="240000"/>
                      </a:srgbClr>
                    </a:gs>
                  </a:gsLst>
                  <a:lin ang="5400000"/>
                </a:gradFill>
                <a:effectLst>
                  <a:outerShdw blurRad="50800" dist="39000" dir="5460000" algn="tl">
                    <a:srgbClr val="000000">
                      <a:alpha val="38000"/>
                    </a:srgbClr>
                  </a:outerShdw>
                </a:effectLst>
                <a:latin typeface="Harlow Solid Italic" pitchFamily="82" charset="0"/>
                <a:cs typeface="Arial" charset="0"/>
              </a:rPr>
              <a:t> Wave</a:t>
            </a:r>
            <a:endParaRPr lang="th-TH" sz="3600" b="1" dirty="0">
              <a:ln w="11430"/>
              <a:gradFill>
                <a:gsLst>
                  <a:gs pos="0">
                    <a:srgbClr val="00FFFF">
                      <a:tint val="70000"/>
                      <a:satMod val="245000"/>
                    </a:srgbClr>
                  </a:gs>
                  <a:gs pos="75000">
                    <a:srgbClr val="00FFFF">
                      <a:tint val="90000"/>
                      <a:shade val="60000"/>
                      <a:satMod val="240000"/>
                    </a:srgbClr>
                  </a:gs>
                  <a:gs pos="100000">
                    <a:srgbClr val="00FFFF">
                      <a:tint val="100000"/>
                      <a:shade val="50000"/>
                      <a:satMod val="240000"/>
                    </a:srgbClr>
                  </a:gs>
                </a:gsLst>
                <a:lin ang="5400000"/>
              </a:gradFill>
              <a:effectLst>
                <a:outerShdw blurRad="50800" dist="39000" dir="5460000" algn="tl">
                  <a:srgbClr val="000000">
                    <a:alpha val="38000"/>
                  </a:srgbClr>
                </a:outerShdw>
              </a:effectLst>
              <a:latin typeface="Harlow Solid Italic" pitchFamily="82" charset="0"/>
              <a:cs typeface="Browallia New"/>
            </a:endParaRPr>
          </a:p>
        </p:txBody>
      </p:sp>
      <p:sp>
        <p:nvSpPr>
          <p:cNvPr id="105" name="TextBox 104"/>
          <p:cNvSpPr txBox="1"/>
          <p:nvPr/>
        </p:nvSpPr>
        <p:spPr>
          <a:xfrm>
            <a:off x="5707688" y="1812735"/>
            <a:ext cx="2029723" cy="646331"/>
          </a:xfrm>
          <a:prstGeom prst="rect">
            <a:avLst/>
          </a:prstGeom>
          <a:noFill/>
        </p:spPr>
        <p:txBody>
          <a:bodyPr wrap="none">
            <a:spAutoFit/>
            <a:scene3d>
              <a:camera prst="orthographicFront"/>
              <a:lightRig rig="flat" dir="tl">
                <a:rot lat="0" lon="0" rev="6600000"/>
              </a:lightRig>
            </a:scene3d>
            <a:sp3d extrusionH="25400" contourW="8890">
              <a:bevelT w="38100" h="31750"/>
              <a:contourClr>
                <a:srgbClr val="C00000"/>
              </a:contourClr>
            </a:sp3d>
          </a:bodyPr>
          <a:lstStyle/>
          <a:p>
            <a:pPr>
              <a:defRPr/>
            </a:pPr>
            <a:r>
              <a:rPr lang="en-US" sz="3600" b="1" dirty="0">
                <a:ln w="11430"/>
                <a:gradFill>
                  <a:gsLst>
                    <a:gs pos="0">
                      <a:srgbClr val="FF3399"/>
                    </a:gs>
                    <a:gs pos="75000">
                      <a:srgbClr val="FF3300"/>
                    </a:gs>
                    <a:gs pos="100000">
                      <a:srgbClr val="FF0000"/>
                    </a:gs>
                  </a:gsLst>
                  <a:lin ang="5400000"/>
                </a:gradFill>
                <a:effectLst>
                  <a:outerShdw blurRad="50800" dist="39000" dir="5460000" algn="tl">
                    <a:srgbClr val="000000">
                      <a:alpha val="38000"/>
                    </a:srgbClr>
                  </a:outerShdw>
                </a:effectLst>
                <a:latin typeface="Harlow Solid Italic" pitchFamily="82" charset="0"/>
                <a:cs typeface="Arial" charset="0"/>
              </a:rPr>
              <a:t>2</a:t>
            </a:r>
            <a:r>
              <a:rPr lang="en-US" sz="3600" b="1" baseline="30000" dirty="0">
                <a:ln w="11430"/>
                <a:gradFill>
                  <a:gsLst>
                    <a:gs pos="0">
                      <a:srgbClr val="FF3399"/>
                    </a:gs>
                    <a:gs pos="75000">
                      <a:srgbClr val="FF3300"/>
                    </a:gs>
                    <a:gs pos="100000">
                      <a:srgbClr val="FF0000"/>
                    </a:gs>
                  </a:gsLst>
                  <a:lin ang="5400000"/>
                </a:gradFill>
                <a:effectLst>
                  <a:outerShdw blurRad="50800" dist="39000" dir="5460000" algn="tl">
                    <a:srgbClr val="000000">
                      <a:alpha val="38000"/>
                    </a:srgbClr>
                  </a:outerShdw>
                </a:effectLst>
                <a:latin typeface="Harlow Solid Italic" pitchFamily="82" charset="0"/>
                <a:cs typeface="Arial" charset="0"/>
              </a:rPr>
              <a:t>nd</a:t>
            </a:r>
            <a:r>
              <a:rPr lang="en-US" sz="3600" b="1" dirty="0">
                <a:ln w="11430"/>
                <a:gradFill>
                  <a:gsLst>
                    <a:gs pos="0">
                      <a:srgbClr val="FF3399"/>
                    </a:gs>
                    <a:gs pos="75000">
                      <a:srgbClr val="FF3300"/>
                    </a:gs>
                    <a:gs pos="100000">
                      <a:srgbClr val="FF0000"/>
                    </a:gs>
                  </a:gsLst>
                  <a:lin ang="5400000"/>
                </a:gradFill>
                <a:effectLst>
                  <a:outerShdw blurRad="50800" dist="39000" dir="5460000" algn="tl">
                    <a:srgbClr val="000000">
                      <a:alpha val="38000"/>
                    </a:srgbClr>
                  </a:outerShdw>
                </a:effectLst>
                <a:latin typeface="Harlow Solid Italic" pitchFamily="82" charset="0"/>
                <a:cs typeface="Arial" charset="0"/>
              </a:rPr>
              <a:t> Wave </a:t>
            </a:r>
            <a:endParaRPr lang="th-TH" sz="3600" b="1" dirty="0">
              <a:ln w="11430"/>
              <a:gradFill>
                <a:gsLst>
                  <a:gs pos="0">
                    <a:srgbClr val="FF3399"/>
                  </a:gs>
                  <a:gs pos="75000">
                    <a:srgbClr val="FF3300"/>
                  </a:gs>
                  <a:gs pos="100000">
                    <a:srgbClr val="FF0000"/>
                  </a:gs>
                </a:gsLst>
                <a:lin ang="5400000"/>
              </a:gradFill>
              <a:effectLst>
                <a:outerShdw blurRad="50800" dist="39000" dir="5460000" algn="tl">
                  <a:srgbClr val="000000">
                    <a:alpha val="38000"/>
                  </a:srgbClr>
                </a:outerShdw>
              </a:effectLst>
              <a:latin typeface="Harlow Solid Italic" pitchFamily="82" charset="0"/>
              <a:cs typeface="Browallia New"/>
            </a:endParaRPr>
          </a:p>
        </p:txBody>
      </p:sp>
      <p:sp>
        <p:nvSpPr>
          <p:cNvPr id="104" name="TextBox 103"/>
          <p:cNvSpPr txBox="1"/>
          <p:nvPr/>
        </p:nvSpPr>
        <p:spPr>
          <a:xfrm>
            <a:off x="5808641" y="1804558"/>
            <a:ext cx="1814920" cy="646331"/>
          </a:xfrm>
          <a:prstGeom prst="rect">
            <a:avLst/>
          </a:prstGeom>
          <a:noFill/>
        </p:spPr>
        <p:txBody>
          <a:bodyPr wrap="non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defRPr/>
            </a:pPr>
            <a:r>
              <a:rPr lang="en-US" sz="3600" b="1" dirty="0">
                <a:ln w="11430"/>
                <a:gradFill>
                  <a:gsLst>
                    <a:gs pos="0">
                      <a:srgbClr val="92D050"/>
                    </a:gs>
                    <a:gs pos="75000">
                      <a:srgbClr val="00CC00"/>
                    </a:gs>
                    <a:gs pos="100000">
                      <a:srgbClr val="00B050"/>
                    </a:gs>
                  </a:gsLst>
                  <a:lin ang="5400000"/>
                </a:gradFill>
                <a:effectLst>
                  <a:outerShdw blurRad="50800" dist="39000" dir="5460000" algn="tl">
                    <a:srgbClr val="000000">
                      <a:alpha val="38000"/>
                    </a:srgbClr>
                  </a:outerShdw>
                </a:effectLst>
                <a:latin typeface="Harlow Solid Italic" pitchFamily="82" charset="0"/>
                <a:cs typeface="Arial" charset="0"/>
              </a:rPr>
              <a:t>1</a:t>
            </a:r>
            <a:r>
              <a:rPr lang="en-US" sz="3600" b="1" baseline="30000" dirty="0">
                <a:ln w="11430"/>
                <a:gradFill>
                  <a:gsLst>
                    <a:gs pos="0">
                      <a:srgbClr val="92D050"/>
                    </a:gs>
                    <a:gs pos="75000">
                      <a:srgbClr val="00CC00"/>
                    </a:gs>
                    <a:gs pos="100000">
                      <a:srgbClr val="00B050"/>
                    </a:gs>
                  </a:gsLst>
                  <a:lin ang="5400000"/>
                </a:gradFill>
                <a:effectLst>
                  <a:outerShdw blurRad="50800" dist="39000" dir="5460000" algn="tl">
                    <a:srgbClr val="000000">
                      <a:alpha val="38000"/>
                    </a:srgbClr>
                  </a:outerShdw>
                </a:effectLst>
                <a:latin typeface="Harlow Solid Italic" pitchFamily="82" charset="0"/>
                <a:cs typeface="Arial" charset="0"/>
              </a:rPr>
              <a:t>st</a:t>
            </a:r>
            <a:r>
              <a:rPr lang="en-US" sz="3600" b="1" dirty="0">
                <a:ln w="11430"/>
                <a:gradFill>
                  <a:gsLst>
                    <a:gs pos="0">
                      <a:srgbClr val="92D050"/>
                    </a:gs>
                    <a:gs pos="75000">
                      <a:srgbClr val="00CC00"/>
                    </a:gs>
                    <a:gs pos="100000">
                      <a:srgbClr val="00B050"/>
                    </a:gs>
                  </a:gsLst>
                  <a:lin ang="5400000"/>
                </a:gradFill>
                <a:effectLst>
                  <a:outerShdw blurRad="50800" dist="39000" dir="5460000" algn="tl">
                    <a:srgbClr val="000000">
                      <a:alpha val="38000"/>
                    </a:srgbClr>
                  </a:outerShdw>
                </a:effectLst>
                <a:latin typeface="Harlow Solid Italic" pitchFamily="82" charset="0"/>
                <a:cs typeface="Arial" charset="0"/>
              </a:rPr>
              <a:t> Wave</a:t>
            </a:r>
            <a:endParaRPr lang="th-TH" sz="3600" b="1" dirty="0">
              <a:ln w="11430"/>
              <a:gradFill>
                <a:gsLst>
                  <a:gs pos="0">
                    <a:srgbClr val="92D050"/>
                  </a:gs>
                  <a:gs pos="75000">
                    <a:srgbClr val="00CC00"/>
                  </a:gs>
                  <a:gs pos="100000">
                    <a:srgbClr val="00B050"/>
                  </a:gs>
                </a:gsLst>
                <a:lin ang="5400000"/>
              </a:gradFill>
              <a:effectLst>
                <a:outerShdw blurRad="50800" dist="39000" dir="5460000" algn="tl">
                  <a:srgbClr val="000000">
                    <a:alpha val="38000"/>
                  </a:srgbClr>
                </a:outerShdw>
              </a:effectLst>
              <a:latin typeface="Harlow Solid Italic" pitchFamily="82" charset="0"/>
              <a:cs typeface="Browallia New"/>
            </a:endParaRPr>
          </a:p>
        </p:txBody>
      </p:sp>
      <p:grpSp>
        <p:nvGrpSpPr>
          <p:cNvPr id="110" name="Group 85"/>
          <p:cNvGrpSpPr>
            <a:grpSpLocks/>
          </p:cNvGrpSpPr>
          <p:nvPr/>
        </p:nvGrpSpPr>
        <p:grpSpPr bwMode="auto">
          <a:xfrm>
            <a:off x="7581900" y="896938"/>
            <a:ext cx="1366838" cy="3344862"/>
            <a:chOff x="7659211" y="807299"/>
            <a:chExt cx="1367331" cy="3343575"/>
          </a:xfrm>
        </p:grpSpPr>
        <p:pic>
          <p:nvPicPr>
            <p:cNvPr id="111" name="Picture 4" descr="Bio Alvin Toffler"/>
            <p:cNvPicPr>
              <a:picLocks noChangeAspect="1" noChangeArrowheads="1"/>
            </p:cNvPicPr>
            <p:nvPr/>
          </p:nvPicPr>
          <p:blipFill>
            <a:blip r:embed="rId5" cstate="print"/>
            <a:srcRect l="62515" t="13211" r="3911" b="34056"/>
            <a:stretch>
              <a:fillRect/>
            </a:stretch>
          </p:blipFill>
          <p:spPr bwMode="auto">
            <a:xfrm>
              <a:off x="7693459" y="807299"/>
              <a:ext cx="1298835" cy="1960862"/>
            </a:xfrm>
            <a:prstGeom prst="rect">
              <a:avLst/>
            </a:prstGeom>
            <a:ln>
              <a:noFill/>
            </a:ln>
            <a:effectLst>
              <a:softEdge rad="112500"/>
            </a:effectLst>
          </p:spPr>
        </p:pic>
        <p:pic>
          <p:nvPicPr>
            <p:cNvPr id="112" name="Picture 13"/>
            <p:cNvPicPr>
              <a:picLocks noChangeAspect="1" noChangeArrowheads="1"/>
            </p:cNvPicPr>
            <p:nvPr/>
          </p:nvPicPr>
          <p:blipFill>
            <a:blip r:embed="rId6" cstate="print"/>
            <a:srcRect/>
            <a:stretch>
              <a:fillRect/>
            </a:stretch>
          </p:blipFill>
          <p:spPr bwMode="auto">
            <a:xfrm>
              <a:off x="7659211" y="2712048"/>
              <a:ext cx="1367331" cy="1438826"/>
            </a:xfrm>
            <a:prstGeom prst="rect">
              <a:avLst/>
            </a:prstGeom>
            <a:noFill/>
            <a:ln w="31750">
              <a:noFill/>
              <a:miter lim="800000"/>
              <a:headEnd/>
              <a:tailEnd/>
            </a:ln>
          </p:spPr>
        </p:pic>
      </p:grpSp>
      <p:sp>
        <p:nvSpPr>
          <p:cNvPr id="113" name="Text Box 8"/>
          <p:cNvSpPr txBox="1">
            <a:spLocks noChangeArrowheads="1"/>
          </p:cNvSpPr>
          <p:nvPr/>
        </p:nvSpPr>
        <p:spPr bwMode="auto">
          <a:xfrm>
            <a:off x="112851" y="5310808"/>
            <a:ext cx="7848600" cy="461665"/>
          </a:xfrm>
          <a:prstGeom prst="rect">
            <a:avLst/>
          </a:prstGeom>
          <a:noFill/>
          <a:ln w="28575">
            <a:noFill/>
            <a:miter lim="800000"/>
            <a:headEnd/>
            <a:tailEnd type="none" w="lg" len="lg"/>
          </a:ln>
          <a:effectLst/>
        </p:spPr>
        <p:txBody>
          <a:bodyPr>
            <a:spAutoFit/>
          </a:bodyPr>
          <a:lstStyle/>
          <a:p>
            <a:pPr>
              <a:defRPr/>
            </a:pPr>
            <a:r>
              <a:rPr kumimoji="1" lang="th-TH" sz="2400" b="1" dirty="0">
                <a:solidFill>
                  <a:srgbClr val="0070C0"/>
                </a:solidFill>
                <a:latin typeface="Browallia New" pitchFamily="34" charset="-34"/>
                <a:cs typeface="Browallia New" pitchFamily="34" charset="-34"/>
              </a:rPr>
              <a:t>ค.ศ. 1300 </a:t>
            </a:r>
            <a:r>
              <a:rPr lang="th-TH" sz="2400" b="1" dirty="0">
                <a:solidFill>
                  <a:srgbClr val="0070C0"/>
                </a:solidFill>
                <a:latin typeface="Browallia New" pitchFamily="34" charset="-34"/>
                <a:cs typeface="Browallia New" pitchFamily="34" charset="-34"/>
              </a:rPr>
              <a:t>คลื่นลูกที่หนึ่ง “ปฏิวัติเกษตรกรรม” </a:t>
            </a:r>
            <a:r>
              <a:rPr lang="th-TH" sz="2400" b="1" dirty="0" smtClean="0">
                <a:solidFill>
                  <a:srgbClr val="0070C0"/>
                </a:solidFill>
                <a:latin typeface="Browallia New" pitchFamily="34" charset="-34"/>
                <a:cs typeface="Browallia New" pitchFamily="34" charset="-34"/>
              </a:rPr>
              <a:t>เกษตรกรรม สร้าง</a:t>
            </a:r>
            <a:r>
              <a:rPr lang="th-TH" sz="2400" b="1" dirty="0">
                <a:solidFill>
                  <a:srgbClr val="0070C0"/>
                </a:solidFill>
                <a:latin typeface="Browallia New" pitchFamily="34" charset="-34"/>
                <a:cs typeface="Browallia New" pitchFamily="34" charset="-34"/>
              </a:rPr>
              <a:t>ความมั่งคั่ง</a:t>
            </a:r>
          </a:p>
        </p:txBody>
      </p:sp>
      <p:sp>
        <p:nvSpPr>
          <p:cNvPr id="114" name="Text Box 9"/>
          <p:cNvSpPr txBox="1">
            <a:spLocks noChangeArrowheads="1"/>
          </p:cNvSpPr>
          <p:nvPr/>
        </p:nvSpPr>
        <p:spPr bwMode="auto">
          <a:xfrm>
            <a:off x="112853" y="5610022"/>
            <a:ext cx="7993063" cy="461665"/>
          </a:xfrm>
          <a:prstGeom prst="rect">
            <a:avLst/>
          </a:prstGeom>
          <a:noFill/>
          <a:ln w="28575">
            <a:noFill/>
            <a:miter lim="800000"/>
            <a:headEnd/>
            <a:tailEnd type="none" w="lg" len="lg"/>
          </a:ln>
          <a:effectLst/>
        </p:spPr>
        <p:txBody>
          <a:bodyPr>
            <a:spAutoFit/>
          </a:bodyPr>
          <a:lstStyle/>
          <a:p>
            <a:pPr>
              <a:defRPr/>
            </a:pPr>
            <a:r>
              <a:rPr kumimoji="1" lang="th-TH" sz="2400" b="1" dirty="0">
                <a:solidFill>
                  <a:srgbClr val="0070C0"/>
                </a:solidFill>
                <a:latin typeface="Browallia New" pitchFamily="34" charset="-34"/>
                <a:cs typeface="Browallia New" pitchFamily="34" charset="-34"/>
              </a:rPr>
              <a:t>ค.ศ. 1</a:t>
            </a:r>
            <a:r>
              <a:rPr kumimoji="1" lang="en-US" sz="2400" b="1" dirty="0">
                <a:solidFill>
                  <a:srgbClr val="0070C0"/>
                </a:solidFill>
                <a:latin typeface="Browallia New" pitchFamily="34" charset="-34"/>
                <a:cs typeface="Browallia New" pitchFamily="34" charset="-34"/>
              </a:rPr>
              <a:t>80</a:t>
            </a:r>
            <a:r>
              <a:rPr kumimoji="1" lang="th-TH" sz="2400" b="1" dirty="0">
                <a:solidFill>
                  <a:srgbClr val="0070C0"/>
                </a:solidFill>
                <a:latin typeface="Browallia New" pitchFamily="34" charset="-34"/>
                <a:cs typeface="Browallia New" pitchFamily="34" charset="-34"/>
              </a:rPr>
              <a:t>0 </a:t>
            </a:r>
            <a:r>
              <a:rPr lang="th-TH" sz="2400" b="1" dirty="0">
                <a:solidFill>
                  <a:srgbClr val="0070C0"/>
                </a:solidFill>
                <a:latin typeface="Browallia New" pitchFamily="34" charset="-34"/>
                <a:cs typeface="Browallia New" pitchFamily="34" charset="-34"/>
              </a:rPr>
              <a:t>คลื่นลูกที่สอง “ปฏิวัติอุตสาหกรรม” </a:t>
            </a:r>
            <a:r>
              <a:rPr lang="th-TH" sz="2400" b="1" dirty="0" smtClean="0">
                <a:solidFill>
                  <a:srgbClr val="0070C0"/>
                </a:solidFill>
                <a:latin typeface="Browallia New" pitchFamily="34" charset="-34"/>
                <a:cs typeface="Browallia New" pitchFamily="34" charset="-34"/>
              </a:rPr>
              <a:t>อุตสาหกรรม สร้าง</a:t>
            </a:r>
            <a:r>
              <a:rPr lang="th-TH" sz="2400" b="1" dirty="0">
                <a:solidFill>
                  <a:srgbClr val="0070C0"/>
                </a:solidFill>
                <a:latin typeface="Browallia New" pitchFamily="34" charset="-34"/>
                <a:cs typeface="Browallia New" pitchFamily="34" charset="-34"/>
              </a:rPr>
              <a:t>ความมั่งคั่ง</a:t>
            </a:r>
          </a:p>
        </p:txBody>
      </p:sp>
      <p:sp>
        <p:nvSpPr>
          <p:cNvPr id="115" name="Text Box 10"/>
          <p:cNvSpPr txBox="1">
            <a:spLocks noChangeArrowheads="1"/>
          </p:cNvSpPr>
          <p:nvPr/>
        </p:nvSpPr>
        <p:spPr bwMode="auto">
          <a:xfrm>
            <a:off x="112857" y="5899520"/>
            <a:ext cx="8424863" cy="461665"/>
          </a:xfrm>
          <a:prstGeom prst="rect">
            <a:avLst/>
          </a:prstGeom>
          <a:noFill/>
          <a:ln w="28575">
            <a:noFill/>
            <a:miter lim="800000"/>
            <a:headEnd/>
            <a:tailEnd type="none" w="lg" len="lg"/>
          </a:ln>
          <a:effectLst/>
        </p:spPr>
        <p:txBody>
          <a:bodyPr>
            <a:spAutoFit/>
          </a:bodyPr>
          <a:lstStyle/>
          <a:p>
            <a:pPr>
              <a:defRPr/>
            </a:pPr>
            <a:r>
              <a:rPr kumimoji="1" lang="th-TH" sz="2400" b="1" dirty="0">
                <a:solidFill>
                  <a:srgbClr val="0070C0"/>
                </a:solidFill>
                <a:latin typeface="Browallia New" pitchFamily="34" charset="-34"/>
                <a:cs typeface="Browallia New" pitchFamily="34" charset="-34"/>
              </a:rPr>
              <a:t>ค.ศ. 1</a:t>
            </a:r>
            <a:r>
              <a:rPr kumimoji="1" lang="en-US" sz="2400" b="1" dirty="0">
                <a:solidFill>
                  <a:srgbClr val="0070C0"/>
                </a:solidFill>
                <a:latin typeface="Browallia New" pitchFamily="34" charset="-34"/>
                <a:cs typeface="Browallia New" pitchFamily="34" charset="-34"/>
              </a:rPr>
              <a:t>965</a:t>
            </a:r>
            <a:r>
              <a:rPr kumimoji="1" lang="th-TH" sz="2400" b="1" dirty="0">
                <a:solidFill>
                  <a:srgbClr val="0070C0"/>
                </a:solidFill>
                <a:latin typeface="Browallia New" pitchFamily="34" charset="-34"/>
                <a:cs typeface="Browallia New" pitchFamily="34" charset="-34"/>
              </a:rPr>
              <a:t> </a:t>
            </a:r>
            <a:r>
              <a:rPr lang="th-TH" sz="2400" b="1" dirty="0">
                <a:solidFill>
                  <a:srgbClr val="0070C0"/>
                </a:solidFill>
                <a:latin typeface="Browallia New" pitchFamily="34" charset="-34"/>
                <a:cs typeface="Browallia New" pitchFamily="34" charset="-34"/>
              </a:rPr>
              <a:t>คลื่นลูกที่สาม “ปฏิวัติสารสนเทศ” </a:t>
            </a:r>
            <a:r>
              <a:rPr lang="th-TH" sz="2400" b="1" u="sng" dirty="0">
                <a:solidFill>
                  <a:srgbClr val="0070C0"/>
                </a:solidFill>
                <a:latin typeface="Browallia New" pitchFamily="34" charset="-34"/>
                <a:cs typeface="Browallia New" pitchFamily="34" charset="-34"/>
              </a:rPr>
              <a:t>องค์ความรู้ สร้างความมั่งคั่ง</a:t>
            </a:r>
          </a:p>
        </p:txBody>
      </p:sp>
      <p:sp>
        <p:nvSpPr>
          <p:cNvPr id="116" name="Text Box 11"/>
          <p:cNvSpPr txBox="1">
            <a:spLocks noChangeArrowheads="1"/>
          </p:cNvSpPr>
          <p:nvPr/>
        </p:nvSpPr>
        <p:spPr bwMode="auto">
          <a:xfrm>
            <a:off x="112857" y="6190729"/>
            <a:ext cx="8673341" cy="461665"/>
          </a:xfrm>
          <a:prstGeom prst="rect">
            <a:avLst/>
          </a:prstGeom>
          <a:noFill/>
          <a:ln w="28575">
            <a:noFill/>
            <a:miter lim="800000"/>
            <a:headEnd/>
            <a:tailEnd type="none" w="lg" len="lg"/>
          </a:ln>
          <a:effectLst/>
        </p:spPr>
        <p:txBody>
          <a:bodyPr wrap="square">
            <a:spAutoFit/>
          </a:bodyPr>
          <a:lstStyle/>
          <a:p>
            <a:pPr>
              <a:defRPr/>
            </a:pPr>
            <a:r>
              <a:rPr kumimoji="1" lang="th-TH" sz="2400" b="1" dirty="0">
                <a:solidFill>
                  <a:srgbClr val="0070C0"/>
                </a:solidFill>
                <a:latin typeface="Browallia New" pitchFamily="34" charset="-34"/>
                <a:cs typeface="Browallia New" pitchFamily="34" charset="-34"/>
              </a:rPr>
              <a:t>ค.ศ. </a:t>
            </a:r>
            <a:r>
              <a:rPr kumimoji="1" lang="en-US" sz="2400" b="1" dirty="0" smtClean="0">
                <a:solidFill>
                  <a:srgbClr val="0070C0"/>
                </a:solidFill>
                <a:latin typeface="Browallia New" pitchFamily="34" charset="-34"/>
                <a:cs typeface="Browallia New" pitchFamily="34" charset="-34"/>
              </a:rPr>
              <a:t>2000 </a:t>
            </a:r>
            <a:r>
              <a:rPr lang="th-TH" sz="2400" b="1" dirty="0">
                <a:solidFill>
                  <a:srgbClr val="0070C0"/>
                </a:solidFill>
                <a:latin typeface="Browallia New" pitchFamily="34" charset="-34"/>
                <a:cs typeface="Browallia New" pitchFamily="34" charset="-34"/>
              </a:rPr>
              <a:t>คลื่นลูก</a:t>
            </a:r>
            <a:r>
              <a:rPr lang="th-TH" sz="2400" b="1" dirty="0" smtClean="0">
                <a:solidFill>
                  <a:srgbClr val="0070C0"/>
                </a:solidFill>
                <a:latin typeface="Browallia New" pitchFamily="34" charset="-34"/>
                <a:cs typeface="Browallia New" pitchFamily="34" charset="-34"/>
              </a:rPr>
              <a:t>ที่สี่ </a:t>
            </a:r>
            <a:r>
              <a:rPr lang="th-TH" sz="2400" b="1" dirty="0">
                <a:solidFill>
                  <a:srgbClr val="0070C0"/>
                </a:solidFill>
                <a:latin typeface="Browallia New" pitchFamily="34" charset="-34"/>
                <a:cs typeface="Browallia New" pitchFamily="34" charset="-34"/>
              </a:rPr>
              <a:t>“</a:t>
            </a:r>
            <a:r>
              <a:rPr lang="th-TH" sz="2400" b="1" dirty="0" smtClean="0">
                <a:solidFill>
                  <a:srgbClr val="0070C0"/>
                </a:solidFill>
                <a:latin typeface="Browallia New" pitchFamily="34" charset="-34"/>
                <a:cs typeface="Browallia New" pitchFamily="34" charset="-34"/>
              </a:rPr>
              <a:t>ปฏิวัติ อะไร” </a:t>
            </a:r>
            <a:endParaRPr lang="th-TH" sz="2400" b="1" dirty="0">
              <a:solidFill>
                <a:srgbClr val="0070C0"/>
              </a:solidFill>
              <a:latin typeface="Browallia New" pitchFamily="34" charset="-34"/>
              <a:cs typeface="Browallia New" pitchFamily="34" charset="-34"/>
            </a:endParaRPr>
          </a:p>
        </p:txBody>
      </p:sp>
      <p:pic>
        <p:nvPicPr>
          <p:cNvPr id="117" name="Picture 47" descr="thaimap1"/>
          <p:cNvPicPr>
            <a:picLocks noChangeAspect="1" noChangeArrowheads="1"/>
          </p:cNvPicPr>
          <p:nvPr/>
        </p:nvPicPr>
        <p:blipFill>
          <a:blip r:embed="rId7" cstate="print">
            <a:clrChange>
              <a:clrFrom>
                <a:srgbClr val="000000"/>
              </a:clrFrom>
              <a:clrTo>
                <a:srgbClr val="000000">
                  <a:alpha val="0"/>
                </a:srgbClr>
              </a:clrTo>
            </a:clrChange>
          </a:blip>
          <a:srcRect/>
          <a:stretch>
            <a:fillRect/>
          </a:stretch>
        </p:blipFill>
        <p:spPr bwMode="auto">
          <a:xfrm rot="19800000">
            <a:off x="6652277" y="2438250"/>
            <a:ext cx="311778" cy="528679"/>
          </a:xfrm>
          <a:prstGeom prst="rect">
            <a:avLst/>
          </a:prstGeom>
          <a:noFill/>
          <a:ln w="9525">
            <a:noFill/>
            <a:miter lim="800000"/>
            <a:headEnd/>
            <a:tailEnd/>
          </a:ln>
          <a:effectLst>
            <a:softEdge rad="12700"/>
          </a:effectLst>
        </p:spPr>
      </p:pic>
      <p:grpSp>
        <p:nvGrpSpPr>
          <p:cNvPr id="107" name="Group 83"/>
          <p:cNvGrpSpPr>
            <a:grpSpLocks/>
          </p:cNvGrpSpPr>
          <p:nvPr/>
        </p:nvGrpSpPr>
        <p:grpSpPr bwMode="auto">
          <a:xfrm>
            <a:off x="5778527" y="2684698"/>
            <a:ext cx="1861407" cy="1089025"/>
            <a:chOff x="3447893" y="3925803"/>
            <a:chExt cx="1859948" cy="1089110"/>
          </a:xfrm>
        </p:grpSpPr>
        <p:pic>
          <p:nvPicPr>
            <p:cNvPr id="108" name="Picture 6" descr="QuestionMark"/>
            <p:cNvPicPr>
              <a:picLocks noChangeAspect="1" noChangeArrowheads="1"/>
            </p:cNvPicPr>
            <p:nvPr/>
          </p:nvPicPr>
          <p:blipFill>
            <a:blip r:embed="rId8" cstate="print"/>
            <a:srcRect/>
            <a:stretch>
              <a:fillRect/>
            </a:stretch>
          </p:blipFill>
          <p:spPr bwMode="auto">
            <a:xfrm>
              <a:off x="3943350" y="3925803"/>
              <a:ext cx="1030287" cy="1089110"/>
            </a:xfrm>
            <a:prstGeom prst="rect">
              <a:avLst/>
            </a:prstGeom>
            <a:noFill/>
            <a:ln w="9525">
              <a:noFill/>
              <a:miter lim="800000"/>
              <a:headEnd/>
              <a:tailEnd/>
            </a:ln>
          </p:spPr>
        </p:pic>
        <p:sp>
          <p:nvSpPr>
            <p:cNvPr id="109" name="TextBox 108"/>
            <p:cNvSpPr txBox="1"/>
            <p:nvPr/>
          </p:nvSpPr>
          <p:spPr>
            <a:xfrm>
              <a:off x="3447893" y="4234950"/>
              <a:ext cx="1859948" cy="646381"/>
            </a:xfrm>
            <a:prstGeom prst="rect">
              <a:avLst/>
            </a:prstGeom>
            <a:noFill/>
          </p:spPr>
          <p:txBody>
            <a:bodyPr wrap="non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defRPr/>
              </a:pPr>
              <a:r>
                <a:rPr lang="en-US" sz="3600" b="1" dirty="0">
                  <a:ln w="11430"/>
                  <a:gradFill>
                    <a:gsLst>
                      <a:gs pos="0">
                        <a:srgbClr val="CCAF0A">
                          <a:tint val="70000"/>
                          <a:satMod val="245000"/>
                        </a:srgbClr>
                      </a:gs>
                      <a:gs pos="75000">
                        <a:srgbClr val="CCAF0A">
                          <a:tint val="90000"/>
                          <a:shade val="60000"/>
                          <a:satMod val="240000"/>
                        </a:srgbClr>
                      </a:gs>
                      <a:gs pos="100000">
                        <a:srgbClr val="CCAF0A">
                          <a:tint val="100000"/>
                          <a:shade val="50000"/>
                          <a:satMod val="240000"/>
                        </a:srgbClr>
                      </a:gs>
                    </a:gsLst>
                    <a:lin ang="5400000"/>
                  </a:gradFill>
                  <a:effectLst>
                    <a:outerShdw blurRad="50800" dist="39000" dir="5460000" algn="tl">
                      <a:srgbClr val="000000">
                        <a:alpha val="38000"/>
                      </a:srgbClr>
                    </a:outerShdw>
                  </a:effectLst>
                  <a:latin typeface="Harlow Solid Italic" pitchFamily="82" charset="0"/>
                  <a:cs typeface="Arial" charset="0"/>
                </a:rPr>
                <a:t>4</a:t>
              </a:r>
              <a:r>
                <a:rPr lang="en-US" sz="3600" b="1" baseline="30000" dirty="0">
                  <a:ln w="11430"/>
                  <a:gradFill>
                    <a:gsLst>
                      <a:gs pos="0">
                        <a:srgbClr val="CCAF0A">
                          <a:tint val="70000"/>
                          <a:satMod val="245000"/>
                        </a:srgbClr>
                      </a:gs>
                      <a:gs pos="75000">
                        <a:srgbClr val="CCAF0A">
                          <a:tint val="90000"/>
                          <a:shade val="60000"/>
                          <a:satMod val="240000"/>
                        </a:srgbClr>
                      </a:gs>
                      <a:gs pos="100000">
                        <a:srgbClr val="CCAF0A">
                          <a:tint val="100000"/>
                          <a:shade val="50000"/>
                          <a:satMod val="240000"/>
                        </a:srgbClr>
                      </a:gs>
                    </a:gsLst>
                    <a:lin ang="5400000"/>
                  </a:gradFill>
                  <a:effectLst>
                    <a:outerShdw blurRad="50800" dist="39000" dir="5460000" algn="tl">
                      <a:srgbClr val="000000">
                        <a:alpha val="38000"/>
                      </a:srgbClr>
                    </a:outerShdw>
                  </a:effectLst>
                  <a:latin typeface="Harlow Solid Italic" pitchFamily="82" charset="0"/>
                  <a:cs typeface="Arial" charset="0"/>
                </a:rPr>
                <a:t>th</a:t>
              </a:r>
              <a:r>
                <a:rPr lang="en-US" sz="3600" b="1" dirty="0">
                  <a:ln w="11430"/>
                  <a:gradFill>
                    <a:gsLst>
                      <a:gs pos="0">
                        <a:srgbClr val="CCAF0A">
                          <a:tint val="70000"/>
                          <a:satMod val="245000"/>
                        </a:srgbClr>
                      </a:gs>
                      <a:gs pos="75000">
                        <a:srgbClr val="CCAF0A">
                          <a:tint val="90000"/>
                          <a:shade val="60000"/>
                          <a:satMod val="240000"/>
                        </a:srgbClr>
                      </a:gs>
                      <a:gs pos="100000">
                        <a:srgbClr val="CCAF0A">
                          <a:tint val="100000"/>
                          <a:shade val="50000"/>
                          <a:satMod val="240000"/>
                        </a:srgbClr>
                      </a:gs>
                    </a:gsLst>
                    <a:lin ang="5400000"/>
                  </a:gradFill>
                  <a:effectLst>
                    <a:outerShdw blurRad="50800" dist="39000" dir="5460000" algn="tl">
                      <a:srgbClr val="000000">
                        <a:alpha val="38000"/>
                      </a:srgbClr>
                    </a:outerShdw>
                  </a:effectLst>
                  <a:latin typeface="Harlow Solid Italic" pitchFamily="82" charset="0"/>
                  <a:cs typeface="Arial" charset="0"/>
                </a:rPr>
                <a:t> Wave</a:t>
              </a:r>
              <a:endParaRPr lang="th-TH" sz="3600" b="1" dirty="0">
                <a:ln w="11430"/>
                <a:gradFill>
                  <a:gsLst>
                    <a:gs pos="0">
                      <a:srgbClr val="CCAF0A">
                        <a:tint val="70000"/>
                        <a:satMod val="245000"/>
                      </a:srgbClr>
                    </a:gs>
                    <a:gs pos="75000">
                      <a:srgbClr val="CCAF0A">
                        <a:tint val="90000"/>
                        <a:shade val="60000"/>
                        <a:satMod val="240000"/>
                      </a:srgbClr>
                    </a:gs>
                    <a:gs pos="100000">
                      <a:srgbClr val="CCAF0A">
                        <a:tint val="100000"/>
                        <a:shade val="50000"/>
                        <a:satMod val="240000"/>
                      </a:srgbClr>
                    </a:gs>
                  </a:gsLst>
                  <a:lin ang="5400000"/>
                </a:gradFill>
                <a:effectLst>
                  <a:outerShdw blurRad="50800" dist="39000" dir="5460000" algn="tl">
                    <a:srgbClr val="000000">
                      <a:alpha val="38000"/>
                    </a:srgbClr>
                  </a:outerShdw>
                </a:effectLst>
                <a:latin typeface="Harlow Solid Italic" pitchFamily="82" charset="0"/>
                <a:cs typeface="Browallia New"/>
              </a:endParaRPr>
            </a:p>
          </p:txBody>
        </p:sp>
      </p:grpSp>
      <p:grpSp>
        <p:nvGrpSpPr>
          <p:cNvPr id="23" name="Group 29"/>
          <p:cNvGrpSpPr>
            <a:grpSpLocks/>
          </p:cNvGrpSpPr>
          <p:nvPr/>
        </p:nvGrpSpPr>
        <p:grpSpPr bwMode="auto">
          <a:xfrm>
            <a:off x="-249238" y="308003"/>
            <a:ext cx="9120188" cy="5438775"/>
            <a:chOff x="-256" y="622"/>
            <a:chExt cx="5745" cy="3426"/>
          </a:xfrm>
        </p:grpSpPr>
        <p:pic>
          <p:nvPicPr>
            <p:cNvPr id="24" name="Picture 30" descr="HJ 9 Era Map"/>
            <p:cNvPicPr>
              <a:picLocks noChangeAspect="1" noChangeArrowheads="1"/>
            </p:cNvPicPr>
            <p:nvPr/>
          </p:nvPicPr>
          <p:blipFill>
            <a:blip r:embed="rId9" cstate="print">
              <a:clrChange>
                <a:clrFrom>
                  <a:srgbClr val="FFFFFF"/>
                </a:clrFrom>
                <a:clrTo>
                  <a:srgbClr val="FFFFFF">
                    <a:alpha val="0"/>
                  </a:srgbClr>
                </a:clrTo>
              </a:clrChange>
              <a:lum bright="-30000"/>
            </a:blip>
            <a:srcRect/>
            <a:stretch>
              <a:fillRect/>
            </a:stretch>
          </p:blipFill>
          <p:spPr bwMode="auto">
            <a:xfrm>
              <a:off x="-256" y="622"/>
              <a:ext cx="5745" cy="3426"/>
            </a:xfrm>
            <a:prstGeom prst="rect">
              <a:avLst/>
            </a:prstGeom>
            <a:solidFill>
              <a:srgbClr val="FFFF99">
                <a:alpha val="50000"/>
              </a:srgbClr>
            </a:solidFill>
            <a:ln w="9525">
              <a:noFill/>
              <a:miter lim="800000"/>
              <a:headEnd/>
              <a:tailEnd/>
            </a:ln>
            <a:effectLst>
              <a:softEdge rad="317500"/>
            </a:effectLst>
          </p:spPr>
        </p:pic>
        <p:pic>
          <p:nvPicPr>
            <p:cNvPr id="25" name="Picture 31" descr="Fengsui logo"/>
            <p:cNvPicPr>
              <a:picLocks noChangeAspect="1" noChangeArrowheads="1"/>
            </p:cNvPicPr>
            <p:nvPr/>
          </p:nvPicPr>
          <p:blipFill>
            <a:blip r:embed="rId10" cstate="print">
              <a:clrChange>
                <a:clrFrom>
                  <a:srgbClr val="F9F9F9"/>
                </a:clrFrom>
                <a:clrTo>
                  <a:srgbClr val="F9F9F9">
                    <a:alpha val="0"/>
                  </a:srgbClr>
                </a:clrTo>
              </a:clrChange>
              <a:lum contrast="40000"/>
            </a:blip>
            <a:srcRect/>
            <a:stretch>
              <a:fillRect/>
            </a:stretch>
          </p:blipFill>
          <p:spPr bwMode="auto">
            <a:xfrm>
              <a:off x="-158" y="753"/>
              <a:ext cx="816" cy="624"/>
            </a:xfrm>
            <a:prstGeom prst="rect">
              <a:avLst/>
            </a:prstGeom>
            <a:noFill/>
            <a:ln w="9525">
              <a:noFill/>
              <a:miter lim="800000"/>
              <a:headEnd/>
              <a:tailEnd/>
            </a:ln>
          </p:spPr>
        </p:pic>
      </p:grpSp>
      <p:sp>
        <p:nvSpPr>
          <p:cNvPr id="26" name="Freeform 32"/>
          <p:cNvSpPr>
            <a:spLocks/>
          </p:cNvSpPr>
          <p:nvPr/>
        </p:nvSpPr>
        <p:spPr bwMode="auto">
          <a:xfrm>
            <a:off x="5575306" y="984250"/>
            <a:ext cx="2413000" cy="3924300"/>
          </a:xfrm>
          <a:custGeom>
            <a:avLst/>
            <a:gdLst>
              <a:gd name="T0" fmla="*/ 2147483647 w 1520"/>
              <a:gd name="T1" fmla="*/ 0 h 2472"/>
              <a:gd name="T2" fmla="*/ 2147483647 w 1520"/>
              <a:gd name="T3" fmla="*/ 2147483647 h 2472"/>
              <a:gd name="T4" fmla="*/ 2147483647 w 1520"/>
              <a:gd name="T5" fmla="*/ 2147483647 h 2472"/>
              <a:gd name="T6" fmla="*/ 2147483647 w 1520"/>
              <a:gd name="T7" fmla="*/ 2147483647 h 2472"/>
              <a:gd name="T8" fmla="*/ 2147483647 w 1520"/>
              <a:gd name="T9" fmla="*/ 2147483647 h 2472"/>
              <a:gd name="T10" fmla="*/ 2147483647 w 1520"/>
              <a:gd name="T11" fmla="*/ 2147483647 h 2472"/>
              <a:gd name="T12" fmla="*/ 2147483647 w 1520"/>
              <a:gd name="T13" fmla="*/ 2147483647 h 2472"/>
              <a:gd name="T14" fmla="*/ 2147483647 w 1520"/>
              <a:gd name="T15" fmla="*/ 2147483647 h 2472"/>
              <a:gd name="T16" fmla="*/ 2147483647 w 1520"/>
              <a:gd name="T17" fmla="*/ 2147483647 h 2472"/>
              <a:gd name="T18" fmla="*/ 2147483647 w 1520"/>
              <a:gd name="T19" fmla="*/ 2147483647 h 2472"/>
              <a:gd name="T20" fmla="*/ 2147483647 w 1520"/>
              <a:gd name="T21" fmla="*/ 2147483647 h 2472"/>
              <a:gd name="T22" fmla="*/ 2147483647 w 1520"/>
              <a:gd name="T23" fmla="*/ 2147483647 h 2472"/>
              <a:gd name="T24" fmla="*/ 2147483647 w 1520"/>
              <a:gd name="T25" fmla="*/ 2147483647 h 2472"/>
              <a:gd name="T26" fmla="*/ 2147483647 w 1520"/>
              <a:gd name="T27" fmla="*/ 2147483647 h 2472"/>
              <a:gd name="T28" fmla="*/ 2147483647 w 1520"/>
              <a:gd name="T29" fmla="*/ 2147483647 h 2472"/>
              <a:gd name="T30" fmla="*/ 2147483647 w 1520"/>
              <a:gd name="T31" fmla="*/ 2147483647 h 2472"/>
              <a:gd name="T32" fmla="*/ 2147483647 w 1520"/>
              <a:gd name="T33" fmla="*/ 2147483647 h 2472"/>
              <a:gd name="T34" fmla="*/ 2147483647 w 1520"/>
              <a:gd name="T35" fmla="*/ 2147483647 h 2472"/>
              <a:gd name="T36" fmla="*/ 2147483647 w 1520"/>
              <a:gd name="T37" fmla="*/ 2147483647 h 2472"/>
              <a:gd name="T38" fmla="*/ 2147483647 w 1520"/>
              <a:gd name="T39" fmla="*/ 2147483647 h 2472"/>
              <a:gd name="T40" fmla="*/ 2147483647 w 1520"/>
              <a:gd name="T41" fmla="*/ 2147483647 h 2472"/>
              <a:gd name="T42" fmla="*/ 2147483647 w 1520"/>
              <a:gd name="T43" fmla="*/ 0 h 24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20"/>
              <a:gd name="T67" fmla="*/ 0 h 2472"/>
              <a:gd name="T68" fmla="*/ 1520 w 1520"/>
              <a:gd name="T69" fmla="*/ 2472 h 247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20" h="2472">
                <a:moveTo>
                  <a:pt x="343" y="0"/>
                </a:moveTo>
                <a:cubicBezTo>
                  <a:pt x="430" y="10"/>
                  <a:pt x="539" y="63"/>
                  <a:pt x="631" y="108"/>
                </a:cubicBezTo>
                <a:cubicBezTo>
                  <a:pt x="723" y="153"/>
                  <a:pt x="798" y="200"/>
                  <a:pt x="895" y="270"/>
                </a:cubicBezTo>
                <a:cubicBezTo>
                  <a:pt x="992" y="340"/>
                  <a:pt x="1135" y="451"/>
                  <a:pt x="1213" y="528"/>
                </a:cubicBezTo>
                <a:cubicBezTo>
                  <a:pt x="1291" y="605"/>
                  <a:pt x="1322" y="665"/>
                  <a:pt x="1363" y="732"/>
                </a:cubicBezTo>
                <a:cubicBezTo>
                  <a:pt x="1404" y="799"/>
                  <a:pt x="1434" y="856"/>
                  <a:pt x="1459" y="930"/>
                </a:cubicBezTo>
                <a:cubicBezTo>
                  <a:pt x="1484" y="1004"/>
                  <a:pt x="1510" y="1087"/>
                  <a:pt x="1513" y="1176"/>
                </a:cubicBezTo>
                <a:cubicBezTo>
                  <a:pt x="1516" y="1265"/>
                  <a:pt x="1520" y="1346"/>
                  <a:pt x="1477" y="1464"/>
                </a:cubicBezTo>
                <a:cubicBezTo>
                  <a:pt x="1434" y="1582"/>
                  <a:pt x="1370" y="1751"/>
                  <a:pt x="1255" y="1884"/>
                </a:cubicBezTo>
                <a:cubicBezTo>
                  <a:pt x="1140" y="2017"/>
                  <a:pt x="952" y="2164"/>
                  <a:pt x="787" y="2262"/>
                </a:cubicBezTo>
                <a:cubicBezTo>
                  <a:pt x="622" y="2360"/>
                  <a:pt x="393" y="2439"/>
                  <a:pt x="265" y="2472"/>
                </a:cubicBezTo>
                <a:lnTo>
                  <a:pt x="19" y="2460"/>
                </a:lnTo>
                <a:cubicBezTo>
                  <a:pt x="0" y="2448"/>
                  <a:pt x="74" y="2457"/>
                  <a:pt x="151" y="2400"/>
                </a:cubicBezTo>
                <a:cubicBezTo>
                  <a:pt x="228" y="2343"/>
                  <a:pt x="384" y="2225"/>
                  <a:pt x="481" y="2118"/>
                </a:cubicBezTo>
                <a:cubicBezTo>
                  <a:pt x="578" y="2011"/>
                  <a:pt x="673" y="1910"/>
                  <a:pt x="733" y="1758"/>
                </a:cubicBezTo>
                <a:cubicBezTo>
                  <a:pt x="793" y="1606"/>
                  <a:pt x="832" y="1359"/>
                  <a:pt x="841" y="1206"/>
                </a:cubicBezTo>
                <a:cubicBezTo>
                  <a:pt x="850" y="1053"/>
                  <a:pt x="825" y="955"/>
                  <a:pt x="787" y="840"/>
                </a:cubicBezTo>
                <a:cubicBezTo>
                  <a:pt x="749" y="725"/>
                  <a:pt x="676" y="611"/>
                  <a:pt x="613" y="516"/>
                </a:cubicBezTo>
                <a:cubicBezTo>
                  <a:pt x="550" y="421"/>
                  <a:pt x="482" y="341"/>
                  <a:pt x="409" y="270"/>
                </a:cubicBezTo>
                <a:cubicBezTo>
                  <a:pt x="336" y="199"/>
                  <a:pt x="225" y="127"/>
                  <a:pt x="175" y="90"/>
                </a:cubicBezTo>
                <a:cubicBezTo>
                  <a:pt x="125" y="53"/>
                  <a:pt x="81" y="63"/>
                  <a:pt x="109" y="48"/>
                </a:cubicBezTo>
                <a:lnTo>
                  <a:pt x="343" y="0"/>
                </a:lnTo>
                <a:close/>
              </a:path>
            </a:pathLst>
          </a:custGeom>
          <a:solidFill>
            <a:srgbClr val="00B050">
              <a:alpha val="39999"/>
            </a:srgbClr>
          </a:solidFill>
          <a:ln w="12700" cap="rnd">
            <a:solidFill>
              <a:srgbClr val="00354E"/>
            </a:solidFill>
            <a:prstDash val="sysDot"/>
            <a:round/>
            <a:headEnd/>
            <a:tailEnd type="none" w="lg" len="lg"/>
          </a:ln>
        </p:spPr>
        <p:txBody>
          <a:bodyPr/>
          <a:lstStyle/>
          <a:p>
            <a:endParaRPr lang="th-TH">
              <a:solidFill>
                <a:srgbClr val="FFFFFF"/>
              </a:solidFill>
              <a:latin typeface="Arial"/>
              <a:cs typeface="LilyUPC" panose="020B0604020202020204" pitchFamily="34" charset="-34"/>
            </a:endParaRPr>
          </a:p>
        </p:txBody>
      </p:sp>
      <p:sp>
        <p:nvSpPr>
          <p:cNvPr id="27" name="Freeform 33"/>
          <p:cNvSpPr>
            <a:spLocks/>
          </p:cNvSpPr>
          <p:nvPr/>
        </p:nvSpPr>
        <p:spPr bwMode="auto">
          <a:xfrm>
            <a:off x="3500438" y="1165225"/>
            <a:ext cx="1257300" cy="3695700"/>
          </a:xfrm>
          <a:custGeom>
            <a:avLst/>
            <a:gdLst>
              <a:gd name="T0" fmla="*/ 2147483647 w 792"/>
              <a:gd name="T1" fmla="*/ 2147483647 h 2328"/>
              <a:gd name="T2" fmla="*/ 2147483647 w 792"/>
              <a:gd name="T3" fmla="*/ 2147483647 h 2328"/>
              <a:gd name="T4" fmla="*/ 2147483647 w 792"/>
              <a:gd name="T5" fmla="*/ 2147483647 h 2328"/>
              <a:gd name="T6" fmla="*/ 2147483647 w 792"/>
              <a:gd name="T7" fmla="*/ 2147483647 h 2328"/>
              <a:gd name="T8" fmla="*/ 2147483647 w 792"/>
              <a:gd name="T9" fmla="*/ 2147483647 h 2328"/>
              <a:gd name="T10" fmla="*/ 2147483647 w 792"/>
              <a:gd name="T11" fmla="*/ 2147483647 h 2328"/>
              <a:gd name="T12" fmla="*/ 2147483647 w 792"/>
              <a:gd name="T13" fmla="*/ 2147483647 h 2328"/>
              <a:gd name="T14" fmla="*/ 2147483647 w 792"/>
              <a:gd name="T15" fmla="*/ 2147483647 h 2328"/>
              <a:gd name="T16" fmla="*/ 2147483647 w 792"/>
              <a:gd name="T17" fmla="*/ 2147483647 h 2328"/>
              <a:gd name="T18" fmla="*/ 2147483647 w 792"/>
              <a:gd name="T19" fmla="*/ 2147483647 h 2328"/>
              <a:gd name="T20" fmla="*/ 2147483647 w 792"/>
              <a:gd name="T21" fmla="*/ 2147483647 h 2328"/>
              <a:gd name="T22" fmla="*/ 2147483647 w 792"/>
              <a:gd name="T23" fmla="*/ 2147483647 h 2328"/>
              <a:gd name="T24" fmla="*/ 2147483647 w 792"/>
              <a:gd name="T25" fmla="*/ 2147483647 h 2328"/>
              <a:gd name="T26" fmla="*/ 0 w 792"/>
              <a:gd name="T27" fmla="*/ 2147483647 h 2328"/>
              <a:gd name="T28" fmla="*/ 2147483647 w 792"/>
              <a:gd name="T29" fmla="*/ 2147483647 h 2328"/>
              <a:gd name="T30" fmla="*/ 2147483647 w 792"/>
              <a:gd name="T31" fmla="*/ 2147483647 h 2328"/>
              <a:gd name="T32" fmla="*/ 2147483647 w 792"/>
              <a:gd name="T33" fmla="*/ 2147483647 h 2328"/>
              <a:gd name="T34" fmla="*/ 2147483647 w 792"/>
              <a:gd name="T35" fmla="*/ 0 h 2328"/>
              <a:gd name="T36" fmla="*/ 2147483647 w 792"/>
              <a:gd name="T37" fmla="*/ 2147483647 h 2328"/>
              <a:gd name="T38" fmla="*/ 2147483647 w 792"/>
              <a:gd name="T39" fmla="*/ 2147483647 h 23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92"/>
              <a:gd name="T61" fmla="*/ 0 h 2328"/>
              <a:gd name="T62" fmla="*/ 792 w 792"/>
              <a:gd name="T63" fmla="*/ 2328 h 232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92" h="2328">
                <a:moveTo>
                  <a:pt x="677" y="4"/>
                </a:moveTo>
                <a:lnTo>
                  <a:pt x="723" y="186"/>
                </a:lnTo>
                <a:lnTo>
                  <a:pt x="768" y="458"/>
                </a:lnTo>
                <a:lnTo>
                  <a:pt x="792" y="762"/>
                </a:lnTo>
                <a:lnTo>
                  <a:pt x="792" y="1080"/>
                </a:lnTo>
                <a:lnTo>
                  <a:pt x="786" y="1428"/>
                </a:lnTo>
                <a:lnTo>
                  <a:pt x="750" y="1842"/>
                </a:lnTo>
                <a:lnTo>
                  <a:pt x="726" y="2070"/>
                </a:lnTo>
                <a:lnTo>
                  <a:pt x="642" y="2328"/>
                </a:lnTo>
                <a:lnTo>
                  <a:pt x="240" y="2328"/>
                </a:lnTo>
                <a:lnTo>
                  <a:pt x="138" y="2088"/>
                </a:lnTo>
                <a:lnTo>
                  <a:pt x="66" y="1842"/>
                </a:lnTo>
                <a:lnTo>
                  <a:pt x="12" y="1452"/>
                </a:lnTo>
                <a:lnTo>
                  <a:pt x="0" y="1170"/>
                </a:lnTo>
                <a:lnTo>
                  <a:pt x="12" y="846"/>
                </a:lnTo>
                <a:lnTo>
                  <a:pt x="48" y="504"/>
                </a:lnTo>
                <a:lnTo>
                  <a:pt x="120" y="192"/>
                </a:lnTo>
                <a:lnTo>
                  <a:pt x="198" y="0"/>
                </a:lnTo>
                <a:lnTo>
                  <a:pt x="510" y="6"/>
                </a:lnTo>
                <a:lnTo>
                  <a:pt x="677" y="4"/>
                </a:lnTo>
                <a:close/>
              </a:path>
            </a:pathLst>
          </a:custGeom>
          <a:solidFill>
            <a:srgbClr val="FF6600">
              <a:alpha val="39999"/>
            </a:srgbClr>
          </a:solidFill>
          <a:ln w="12700">
            <a:solidFill>
              <a:srgbClr val="FF6600"/>
            </a:solidFill>
            <a:round/>
            <a:headEnd/>
            <a:tailEnd type="none" w="lg" len="lg"/>
          </a:ln>
        </p:spPr>
        <p:txBody>
          <a:bodyPr wrap="none" anchor="ctr"/>
          <a:lstStyle/>
          <a:p>
            <a:endParaRPr lang="th-TH">
              <a:solidFill>
                <a:srgbClr val="FFFFFF"/>
              </a:solidFill>
              <a:latin typeface="Arial"/>
              <a:cs typeface="LilyUPC" panose="020B0604020202020204" pitchFamily="34" charset="-34"/>
            </a:endParaRPr>
          </a:p>
        </p:txBody>
      </p:sp>
      <p:sp>
        <p:nvSpPr>
          <p:cNvPr id="28" name="Freeform 44"/>
          <p:cNvSpPr>
            <a:spLocks/>
          </p:cNvSpPr>
          <p:nvPr/>
        </p:nvSpPr>
        <p:spPr bwMode="auto">
          <a:xfrm>
            <a:off x="550863" y="965200"/>
            <a:ext cx="2336800" cy="3930650"/>
          </a:xfrm>
          <a:custGeom>
            <a:avLst/>
            <a:gdLst>
              <a:gd name="T0" fmla="*/ 2147483647 w 1472"/>
              <a:gd name="T1" fmla="*/ 0 h 2476"/>
              <a:gd name="T2" fmla="*/ 2147483647 w 1472"/>
              <a:gd name="T3" fmla="*/ 2147483647 h 2476"/>
              <a:gd name="T4" fmla="*/ 2147483647 w 1472"/>
              <a:gd name="T5" fmla="*/ 2147483647 h 2476"/>
              <a:gd name="T6" fmla="*/ 2147483647 w 1472"/>
              <a:gd name="T7" fmla="*/ 2147483647 h 2476"/>
              <a:gd name="T8" fmla="*/ 2147483647 w 1472"/>
              <a:gd name="T9" fmla="*/ 2147483647 h 2476"/>
              <a:gd name="T10" fmla="*/ 2147483647 w 1472"/>
              <a:gd name="T11" fmla="*/ 2147483647 h 2476"/>
              <a:gd name="T12" fmla="*/ 0 w 1472"/>
              <a:gd name="T13" fmla="*/ 2147483647 h 2476"/>
              <a:gd name="T14" fmla="*/ 2147483647 w 1472"/>
              <a:gd name="T15" fmla="*/ 2147483647 h 2476"/>
              <a:gd name="T16" fmla="*/ 2147483647 w 1472"/>
              <a:gd name="T17" fmla="*/ 2147483647 h 2476"/>
              <a:gd name="T18" fmla="*/ 2147483647 w 1472"/>
              <a:gd name="T19" fmla="*/ 2147483647 h 2476"/>
              <a:gd name="T20" fmla="*/ 2147483647 w 1472"/>
              <a:gd name="T21" fmla="*/ 2147483647 h 2476"/>
              <a:gd name="T22" fmla="*/ 2147483647 w 1472"/>
              <a:gd name="T23" fmla="*/ 2147483647 h 2476"/>
              <a:gd name="T24" fmla="*/ 2147483647 w 1472"/>
              <a:gd name="T25" fmla="*/ 2147483647 h 2476"/>
              <a:gd name="T26" fmla="*/ 2147483647 w 1472"/>
              <a:gd name="T27" fmla="*/ 2147483647 h 2476"/>
              <a:gd name="T28" fmla="*/ 2147483647 w 1472"/>
              <a:gd name="T29" fmla="*/ 2147483647 h 2476"/>
              <a:gd name="T30" fmla="*/ 2147483647 w 1472"/>
              <a:gd name="T31" fmla="*/ 2147483647 h 2476"/>
              <a:gd name="T32" fmla="*/ 2147483647 w 1472"/>
              <a:gd name="T33" fmla="*/ 2147483647 h 2476"/>
              <a:gd name="T34" fmla="*/ 2147483647 w 1472"/>
              <a:gd name="T35" fmla="*/ 2147483647 h 2476"/>
              <a:gd name="T36" fmla="*/ 2147483647 w 1472"/>
              <a:gd name="T37" fmla="*/ 2147483647 h 2476"/>
              <a:gd name="T38" fmla="*/ 2147483647 w 1472"/>
              <a:gd name="T39" fmla="*/ 2147483647 h 2476"/>
              <a:gd name="T40" fmla="*/ 2147483647 w 1472"/>
              <a:gd name="T41" fmla="*/ 2147483647 h 2476"/>
              <a:gd name="T42" fmla="*/ 2147483647 w 1472"/>
              <a:gd name="T43" fmla="*/ 2147483647 h 2476"/>
              <a:gd name="T44" fmla="*/ 2147483647 w 1472"/>
              <a:gd name="T45" fmla="*/ 0 h 247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72"/>
              <a:gd name="T70" fmla="*/ 0 h 2476"/>
              <a:gd name="T71" fmla="*/ 1472 w 1472"/>
              <a:gd name="T72" fmla="*/ 2476 h 247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72" h="2476">
                <a:moveTo>
                  <a:pt x="1198" y="0"/>
                </a:moveTo>
                <a:cubicBezTo>
                  <a:pt x="1113" y="18"/>
                  <a:pt x="953" y="93"/>
                  <a:pt x="856" y="138"/>
                </a:cubicBezTo>
                <a:cubicBezTo>
                  <a:pt x="759" y="183"/>
                  <a:pt x="706" y="208"/>
                  <a:pt x="616" y="270"/>
                </a:cubicBezTo>
                <a:cubicBezTo>
                  <a:pt x="526" y="332"/>
                  <a:pt x="394" y="435"/>
                  <a:pt x="316" y="510"/>
                </a:cubicBezTo>
                <a:cubicBezTo>
                  <a:pt x="238" y="585"/>
                  <a:pt x="190" y="651"/>
                  <a:pt x="146" y="719"/>
                </a:cubicBezTo>
                <a:cubicBezTo>
                  <a:pt x="102" y="787"/>
                  <a:pt x="77" y="844"/>
                  <a:pt x="52" y="919"/>
                </a:cubicBezTo>
                <a:cubicBezTo>
                  <a:pt x="28" y="994"/>
                  <a:pt x="0" y="1063"/>
                  <a:pt x="0" y="1167"/>
                </a:cubicBezTo>
                <a:cubicBezTo>
                  <a:pt x="0" y="1271"/>
                  <a:pt x="9" y="1424"/>
                  <a:pt x="52" y="1542"/>
                </a:cubicBezTo>
                <a:cubicBezTo>
                  <a:pt x="95" y="1660"/>
                  <a:pt x="148" y="1761"/>
                  <a:pt x="256" y="1878"/>
                </a:cubicBezTo>
                <a:cubicBezTo>
                  <a:pt x="364" y="1995"/>
                  <a:pt x="540" y="2144"/>
                  <a:pt x="700" y="2244"/>
                </a:cubicBezTo>
                <a:cubicBezTo>
                  <a:pt x="860" y="2344"/>
                  <a:pt x="1088" y="2439"/>
                  <a:pt x="1214" y="2476"/>
                </a:cubicBezTo>
                <a:lnTo>
                  <a:pt x="1454" y="2464"/>
                </a:lnTo>
                <a:cubicBezTo>
                  <a:pt x="1472" y="2452"/>
                  <a:pt x="1410" y="2462"/>
                  <a:pt x="1325" y="2403"/>
                </a:cubicBezTo>
                <a:cubicBezTo>
                  <a:pt x="1240" y="2344"/>
                  <a:pt x="1051" y="2214"/>
                  <a:pt x="946" y="2112"/>
                </a:cubicBezTo>
                <a:cubicBezTo>
                  <a:pt x="841" y="2010"/>
                  <a:pt x="757" y="1891"/>
                  <a:pt x="694" y="1788"/>
                </a:cubicBezTo>
                <a:cubicBezTo>
                  <a:pt x="631" y="1685"/>
                  <a:pt x="595" y="1592"/>
                  <a:pt x="568" y="1494"/>
                </a:cubicBezTo>
                <a:cubicBezTo>
                  <a:pt x="541" y="1396"/>
                  <a:pt x="522" y="1315"/>
                  <a:pt x="532" y="1200"/>
                </a:cubicBezTo>
                <a:cubicBezTo>
                  <a:pt x="542" y="1085"/>
                  <a:pt x="581" y="924"/>
                  <a:pt x="628" y="804"/>
                </a:cubicBezTo>
                <a:cubicBezTo>
                  <a:pt x="675" y="684"/>
                  <a:pt x="741" y="573"/>
                  <a:pt x="814" y="480"/>
                </a:cubicBezTo>
                <a:cubicBezTo>
                  <a:pt x="887" y="387"/>
                  <a:pt x="983" y="314"/>
                  <a:pt x="1066" y="246"/>
                </a:cubicBezTo>
                <a:cubicBezTo>
                  <a:pt x="1149" y="178"/>
                  <a:pt x="1258" y="109"/>
                  <a:pt x="1312" y="72"/>
                </a:cubicBezTo>
                <a:cubicBezTo>
                  <a:pt x="1366" y="35"/>
                  <a:pt x="1409" y="36"/>
                  <a:pt x="1390" y="24"/>
                </a:cubicBezTo>
                <a:lnTo>
                  <a:pt x="1198" y="0"/>
                </a:lnTo>
                <a:close/>
              </a:path>
            </a:pathLst>
          </a:custGeom>
          <a:solidFill>
            <a:srgbClr val="FFCC99">
              <a:alpha val="59999"/>
            </a:srgbClr>
          </a:solidFill>
          <a:ln w="12700" cap="rnd">
            <a:solidFill>
              <a:srgbClr val="00354E"/>
            </a:solidFill>
            <a:prstDash val="sysDot"/>
            <a:round/>
            <a:headEnd/>
            <a:tailEnd type="none" w="lg" len="lg"/>
          </a:ln>
        </p:spPr>
        <p:txBody>
          <a:bodyPr/>
          <a:lstStyle/>
          <a:p>
            <a:endParaRPr lang="th-TH">
              <a:solidFill>
                <a:srgbClr val="FFFFFF"/>
              </a:solidFill>
              <a:latin typeface="Arial"/>
              <a:cs typeface="LilyUPC" panose="020B0604020202020204" pitchFamily="34" charset="-34"/>
            </a:endParaRPr>
          </a:p>
        </p:txBody>
      </p:sp>
      <p:sp>
        <p:nvSpPr>
          <p:cNvPr id="29" name="Freeform 45"/>
          <p:cNvSpPr>
            <a:spLocks/>
          </p:cNvSpPr>
          <p:nvPr/>
        </p:nvSpPr>
        <p:spPr bwMode="auto">
          <a:xfrm>
            <a:off x="1398588" y="1022378"/>
            <a:ext cx="1949450" cy="3857625"/>
          </a:xfrm>
          <a:custGeom>
            <a:avLst/>
            <a:gdLst>
              <a:gd name="T0" fmla="*/ 2147483647 w 1228"/>
              <a:gd name="T1" fmla="*/ 0 h 2430"/>
              <a:gd name="T2" fmla="*/ 2147483647 w 1228"/>
              <a:gd name="T3" fmla="*/ 2147483647 h 2430"/>
              <a:gd name="T4" fmla="*/ 2147483647 w 1228"/>
              <a:gd name="T5" fmla="*/ 2147483647 h 2430"/>
              <a:gd name="T6" fmla="*/ 2147483647 w 1228"/>
              <a:gd name="T7" fmla="*/ 2147483647 h 2430"/>
              <a:gd name="T8" fmla="*/ 2147483647 w 1228"/>
              <a:gd name="T9" fmla="*/ 2147483647 h 2430"/>
              <a:gd name="T10" fmla="*/ 2147483647 w 1228"/>
              <a:gd name="T11" fmla="*/ 2147483647 h 2430"/>
              <a:gd name="T12" fmla="*/ 0 w 1228"/>
              <a:gd name="T13" fmla="*/ 2147483647 h 2430"/>
              <a:gd name="T14" fmla="*/ 2147483647 w 1228"/>
              <a:gd name="T15" fmla="*/ 2147483647 h 2430"/>
              <a:gd name="T16" fmla="*/ 2147483647 w 1228"/>
              <a:gd name="T17" fmla="*/ 2147483647 h 2430"/>
              <a:gd name="T18" fmla="*/ 2147483647 w 1228"/>
              <a:gd name="T19" fmla="*/ 2147483647 h 2430"/>
              <a:gd name="T20" fmla="*/ 2147483647 w 1228"/>
              <a:gd name="T21" fmla="*/ 2147483647 h 2430"/>
              <a:gd name="T22" fmla="*/ 2147483647 w 1228"/>
              <a:gd name="T23" fmla="*/ 2147483647 h 2430"/>
              <a:gd name="T24" fmla="*/ 2147483647 w 1228"/>
              <a:gd name="T25" fmla="*/ 2147483647 h 2430"/>
              <a:gd name="T26" fmla="*/ 2147483647 w 1228"/>
              <a:gd name="T27" fmla="*/ 2147483647 h 2430"/>
              <a:gd name="T28" fmla="*/ 2147483647 w 1228"/>
              <a:gd name="T29" fmla="*/ 2147483647 h 2430"/>
              <a:gd name="T30" fmla="*/ 2147483647 w 1228"/>
              <a:gd name="T31" fmla="*/ 2147483647 h 2430"/>
              <a:gd name="T32" fmla="*/ 2147483647 w 1228"/>
              <a:gd name="T33" fmla="*/ 2147483647 h 2430"/>
              <a:gd name="T34" fmla="*/ 2147483647 w 1228"/>
              <a:gd name="T35" fmla="*/ 2147483647 h 2430"/>
              <a:gd name="T36" fmla="*/ 2147483647 w 1228"/>
              <a:gd name="T37" fmla="*/ 2147483647 h 2430"/>
              <a:gd name="T38" fmla="*/ 2147483647 w 1228"/>
              <a:gd name="T39" fmla="*/ 2147483647 h 2430"/>
              <a:gd name="T40" fmla="*/ 2147483647 w 1228"/>
              <a:gd name="T41" fmla="*/ 2147483647 h 2430"/>
              <a:gd name="T42" fmla="*/ 2147483647 w 1228"/>
              <a:gd name="T43" fmla="*/ 2147483647 h 2430"/>
              <a:gd name="T44" fmla="*/ 2147483647 w 1228"/>
              <a:gd name="T45" fmla="*/ 2147483647 h 2430"/>
              <a:gd name="T46" fmla="*/ 2147483647 w 1228"/>
              <a:gd name="T47" fmla="*/ 0 h 243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28"/>
              <a:gd name="T73" fmla="*/ 0 h 2430"/>
              <a:gd name="T74" fmla="*/ 1228 w 1228"/>
              <a:gd name="T75" fmla="*/ 2430 h 243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28" h="2430">
                <a:moveTo>
                  <a:pt x="868" y="0"/>
                </a:moveTo>
                <a:cubicBezTo>
                  <a:pt x="785" y="15"/>
                  <a:pt x="701" y="88"/>
                  <a:pt x="640" y="126"/>
                </a:cubicBezTo>
                <a:cubicBezTo>
                  <a:pt x="579" y="164"/>
                  <a:pt x="556" y="180"/>
                  <a:pt x="502" y="228"/>
                </a:cubicBezTo>
                <a:cubicBezTo>
                  <a:pt x="448" y="276"/>
                  <a:pt x="378" y="338"/>
                  <a:pt x="316" y="414"/>
                </a:cubicBezTo>
                <a:cubicBezTo>
                  <a:pt x="254" y="490"/>
                  <a:pt x="174" y="604"/>
                  <a:pt x="130" y="684"/>
                </a:cubicBezTo>
                <a:cubicBezTo>
                  <a:pt x="86" y="764"/>
                  <a:pt x="74" y="814"/>
                  <a:pt x="52" y="894"/>
                </a:cubicBezTo>
                <a:cubicBezTo>
                  <a:pt x="30" y="974"/>
                  <a:pt x="0" y="1054"/>
                  <a:pt x="0" y="1161"/>
                </a:cubicBezTo>
                <a:cubicBezTo>
                  <a:pt x="0" y="1268"/>
                  <a:pt x="11" y="1417"/>
                  <a:pt x="52" y="1536"/>
                </a:cubicBezTo>
                <a:cubicBezTo>
                  <a:pt x="93" y="1655"/>
                  <a:pt x="177" y="1783"/>
                  <a:pt x="244" y="1878"/>
                </a:cubicBezTo>
                <a:cubicBezTo>
                  <a:pt x="311" y="1973"/>
                  <a:pt x="378" y="2035"/>
                  <a:pt x="454" y="2106"/>
                </a:cubicBezTo>
                <a:cubicBezTo>
                  <a:pt x="530" y="2177"/>
                  <a:pt x="620" y="2250"/>
                  <a:pt x="700" y="2304"/>
                </a:cubicBezTo>
                <a:cubicBezTo>
                  <a:pt x="780" y="2358"/>
                  <a:pt x="848" y="2410"/>
                  <a:pt x="934" y="2430"/>
                </a:cubicBezTo>
                <a:lnTo>
                  <a:pt x="1216" y="2424"/>
                </a:lnTo>
                <a:cubicBezTo>
                  <a:pt x="1228" y="2390"/>
                  <a:pt x="1060" y="2288"/>
                  <a:pt x="1006" y="2226"/>
                </a:cubicBezTo>
                <a:cubicBezTo>
                  <a:pt x="952" y="2164"/>
                  <a:pt x="936" y="2125"/>
                  <a:pt x="892" y="2052"/>
                </a:cubicBezTo>
                <a:cubicBezTo>
                  <a:pt x="848" y="1979"/>
                  <a:pt x="778" y="1875"/>
                  <a:pt x="742" y="1788"/>
                </a:cubicBezTo>
                <a:cubicBezTo>
                  <a:pt x="706" y="1701"/>
                  <a:pt x="692" y="1615"/>
                  <a:pt x="676" y="1530"/>
                </a:cubicBezTo>
                <a:cubicBezTo>
                  <a:pt x="660" y="1445"/>
                  <a:pt x="645" y="1399"/>
                  <a:pt x="646" y="1278"/>
                </a:cubicBezTo>
                <a:cubicBezTo>
                  <a:pt x="647" y="1157"/>
                  <a:pt x="654" y="938"/>
                  <a:pt x="682" y="804"/>
                </a:cubicBezTo>
                <a:cubicBezTo>
                  <a:pt x="710" y="670"/>
                  <a:pt x="775" y="558"/>
                  <a:pt x="814" y="474"/>
                </a:cubicBezTo>
                <a:cubicBezTo>
                  <a:pt x="853" y="390"/>
                  <a:pt x="873" y="360"/>
                  <a:pt x="916" y="300"/>
                </a:cubicBezTo>
                <a:cubicBezTo>
                  <a:pt x="959" y="240"/>
                  <a:pt x="1035" y="158"/>
                  <a:pt x="1072" y="114"/>
                </a:cubicBezTo>
                <a:cubicBezTo>
                  <a:pt x="1109" y="70"/>
                  <a:pt x="1172" y="55"/>
                  <a:pt x="1138" y="36"/>
                </a:cubicBezTo>
                <a:lnTo>
                  <a:pt x="868" y="0"/>
                </a:lnTo>
                <a:close/>
              </a:path>
            </a:pathLst>
          </a:custGeom>
          <a:solidFill>
            <a:srgbClr val="FFFFFF">
              <a:alpha val="70195"/>
            </a:srgbClr>
          </a:solidFill>
          <a:ln w="12700" cap="rnd">
            <a:solidFill>
              <a:srgbClr val="00354E"/>
            </a:solidFill>
            <a:prstDash val="sysDot"/>
            <a:round/>
            <a:headEnd/>
            <a:tailEnd type="none" w="lg" len="lg"/>
          </a:ln>
        </p:spPr>
        <p:txBody>
          <a:bodyPr/>
          <a:lstStyle/>
          <a:p>
            <a:endParaRPr lang="th-TH">
              <a:solidFill>
                <a:srgbClr val="FFFFFF"/>
              </a:solidFill>
              <a:latin typeface="Arial"/>
              <a:cs typeface="LilyUPC" panose="020B0604020202020204" pitchFamily="34" charset="-34"/>
            </a:endParaRPr>
          </a:p>
        </p:txBody>
      </p:sp>
      <p:sp>
        <p:nvSpPr>
          <p:cNvPr id="30" name="Freeform 29"/>
          <p:cNvSpPr>
            <a:spLocks noChangeArrowheads="1"/>
          </p:cNvSpPr>
          <p:nvPr/>
        </p:nvSpPr>
        <p:spPr bwMode="auto">
          <a:xfrm>
            <a:off x="5062543" y="1046191"/>
            <a:ext cx="1855787" cy="3830637"/>
          </a:xfrm>
          <a:custGeom>
            <a:avLst/>
            <a:gdLst>
              <a:gd name="T0" fmla="*/ 159150 w 1855305"/>
              <a:gd name="T1" fmla="*/ 66300 h 3829878"/>
              <a:gd name="T2" fmla="*/ 676389 w 1855305"/>
              <a:gd name="T3" fmla="*/ 0 h 3829878"/>
              <a:gd name="T4" fmla="*/ 848800 w 1855305"/>
              <a:gd name="T5" fmla="*/ 132599 h 3829878"/>
              <a:gd name="T6" fmla="*/ 1180365 w 1855305"/>
              <a:gd name="T7" fmla="*/ 384541 h 3829878"/>
              <a:gd name="T8" fmla="*/ 1472138 w 1855305"/>
              <a:gd name="T9" fmla="*/ 716043 h 3829878"/>
              <a:gd name="T10" fmla="*/ 1724127 w 1855305"/>
              <a:gd name="T11" fmla="*/ 1127105 h 3829878"/>
              <a:gd name="T12" fmla="*/ 1856751 w 1855305"/>
              <a:gd name="T13" fmla="*/ 1591206 h 3829878"/>
              <a:gd name="T14" fmla="*/ 1830225 w 1855305"/>
              <a:gd name="T15" fmla="*/ 2095088 h 3829878"/>
              <a:gd name="T16" fmla="*/ 1763914 w 1855305"/>
              <a:gd name="T17" fmla="*/ 2492890 h 3829878"/>
              <a:gd name="T18" fmla="*/ 1591500 w 1855305"/>
              <a:gd name="T19" fmla="*/ 2930471 h 3829878"/>
              <a:gd name="T20" fmla="*/ 1273202 w 1855305"/>
              <a:gd name="T21" fmla="*/ 3328270 h 3829878"/>
              <a:gd name="T22" fmla="*/ 795752 w 1855305"/>
              <a:gd name="T23" fmla="*/ 3739333 h 3829878"/>
              <a:gd name="T24" fmla="*/ 623339 w 1855305"/>
              <a:gd name="T25" fmla="*/ 3832153 h 3829878"/>
              <a:gd name="T26" fmla="*/ 0 w 1855305"/>
              <a:gd name="T27" fmla="*/ 3818895 h 3829878"/>
              <a:gd name="T28" fmla="*/ 159150 w 1855305"/>
              <a:gd name="T29" fmla="*/ 3646515 h 3829878"/>
              <a:gd name="T30" fmla="*/ 344827 w 1855305"/>
              <a:gd name="T31" fmla="*/ 3394573 h 3829878"/>
              <a:gd name="T32" fmla="*/ 477451 w 1855305"/>
              <a:gd name="T33" fmla="*/ 3142631 h 3829878"/>
              <a:gd name="T34" fmla="*/ 636600 w 1855305"/>
              <a:gd name="T35" fmla="*/ 2731570 h 3829878"/>
              <a:gd name="T36" fmla="*/ 702915 w 1855305"/>
              <a:gd name="T37" fmla="*/ 2293989 h 3829878"/>
              <a:gd name="T38" fmla="*/ 729438 w 1855305"/>
              <a:gd name="T39" fmla="*/ 1935968 h 3829878"/>
              <a:gd name="T40" fmla="*/ 702915 w 1855305"/>
              <a:gd name="T41" fmla="*/ 1577947 h 3829878"/>
              <a:gd name="T42" fmla="*/ 596813 w 1855305"/>
              <a:gd name="T43" fmla="*/ 1021023 h 3829878"/>
              <a:gd name="T44" fmla="*/ 397875 w 1855305"/>
              <a:gd name="T45" fmla="*/ 490621 h 3829878"/>
              <a:gd name="T46" fmla="*/ 225464 w 1855305"/>
              <a:gd name="T47" fmla="*/ 212161 h 3829878"/>
              <a:gd name="T48" fmla="*/ 159150 w 1855305"/>
              <a:gd name="T49" fmla="*/ 66300 h 38298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855305"/>
              <a:gd name="T76" fmla="*/ 0 h 3829878"/>
              <a:gd name="T77" fmla="*/ 1855305 w 1855305"/>
              <a:gd name="T78" fmla="*/ 3829878 h 382987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855305" h="3829878">
                <a:moveTo>
                  <a:pt x="159027" y="66261"/>
                </a:moveTo>
                <a:lnTo>
                  <a:pt x="675861" y="0"/>
                </a:lnTo>
                <a:lnTo>
                  <a:pt x="848140" y="132521"/>
                </a:lnTo>
                <a:lnTo>
                  <a:pt x="1179444" y="384313"/>
                </a:lnTo>
                <a:lnTo>
                  <a:pt x="1470992" y="715617"/>
                </a:lnTo>
                <a:lnTo>
                  <a:pt x="1722783" y="1126435"/>
                </a:lnTo>
                <a:lnTo>
                  <a:pt x="1855305" y="1590261"/>
                </a:lnTo>
                <a:lnTo>
                  <a:pt x="1828800" y="2093843"/>
                </a:lnTo>
                <a:lnTo>
                  <a:pt x="1762540" y="2491408"/>
                </a:lnTo>
                <a:lnTo>
                  <a:pt x="1590261" y="2928730"/>
                </a:lnTo>
                <a:lnTo>
                  <a:pt x="1272209" y="3326295"/>
                </a:lnTo>
                <a:lnTo>
                  <a:pt x="795131" y="3737113"/>
                </a:lnTo>
                <a:lnTo>
                  <a:pt x="622853" y="3829878"/>
                </a:lnTo>
                <a:lnTo>
                  <a:pt x="0" y="3816626"/>
                </a:lnTo>
                <a:lnTo>
                  <a:pt x="159027" y="3644348"/>
                </a:lnTo>
                <a:lnTo>
                  <a:pt x="344557" y="3392556"/>
                </a:lnTo>
                <a:lnTo>
                  <a:pt x="477079" y="3140765"/>
                </a:lnTo>
                <a:lnTo>
                  <a:pt x="636105" y="2729948"/>
                </a:lnTo>
                <a:lnTo>
                  <a:pt x="702366" y="2292626"/>
                </a:lnTo>
                <a:lnTo>
                  <a:pt x="728870" y="1934817"/>
                </a:lnTo>
                <a:lnTo>
                  <a:pt x="702366" y="1577008"/>
                </a:lnTo>
                <a:lnTo>
                  <a:pt x="596348" y="1020417"/>
                </a:lnTo>
                <a:lnTo>
                  <a:pt x="397566" y="490330"/>
                </a:lnTo>
                <a:lnTo>
                  <a:pt x="225287" y="212035"/>
                </a:lnTo>
                <a:lnTo>
                  <a:pt x="159027" y="66261"/>
                </a:lnTo>
                <a:close/>
              </a:path>
            </a:pathLst>
          </a:custGeom>
          <a:solidFill>
            <a:srgbClr val="0070C0">
              <a:alpha val="39999"/>
            </a:srgbClr>
          </a:solidFill>
          <a:ln w="12700" algn="ctr">
            <a:noFill/>
            <a:round/>
            <a:headEnd/>
            <a:tailEnd type="none" w="lg" len="lg"/>
          </a:ln>
        </p:spPr>
        <p:txBody>
          <a:bodyPr wrap="none" anchor="ctr"/>
          <a:lstStyle/>
          <a:p>
            <a:pPr algn="ctr"/>
            <a:endParaRPr lang="th-TH">
              <a:solidFill>
                <a:srgbClr val="FFFFFF"/>
              </a:solidFill>
              <a:latin typeface="Arial"/>
              <a:cs typeface="LilyUPC" panose="020B0604020202020204" pitchFamily="34" charset="-34"/>
            </a:endParaRPr>
          </a:p>
        </p:txBody>
      </p:sp>
      <p:sp>
        <p:nvSpPr>
          <p:cNvPr id="100" name="Rectangle 99"/>
          <p:cNvSpPr/>
          <p:nvPr/>
        </p:nvSpPr>
        <p:spPr>
          <a:xfrm>
            <a:off x="112899" y="4150874"/>
            <a:ext cx="2973388" cy="707886"/>
          </a:xfrm>
          <a:prstGeom prst="rect">
            <a:avLst/>
          </a:prstGeom>
          <a:gradFill rotWithShape="1">
            <a:gsLst>
              <a:gs pos="0">
                <a:srgbClr val="AAB8CA">
                  <a:shade val="51000"/>
                  <a:satMod val="130000"/>
                </a:srgbClr>
              </a:gs>
              <a:gs pos="80000">
                <a:srgbClr val="AAB8CA">
                  <a:shade val="93000"/>
                  <a:satMod val="130000"/>
                </a:srgbClr>
              </a:gs>
              <a:gs pos="100000">
                <a:srgbClr val="AAB8CA">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lstStyle/>
          <a:p>
            <a:pPr algn="ctr">
              <a:defRPr/>
            </a:pPr>
            <a:r>
              <a:rPr lang="en-US" sz="4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ngsana New" pitchFamily="18" charset="-34"/>
                <a:cs typeface="Browallia New"/>
              </a:rPr>
              <a:t>U.S.A.</a:t>
            </a:r>
            <a:endParaRPr lang="th-TH" sz="4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ngsana New" pitchFamily="18" charset="-34"/>
              <a:cs typeface="Browallia New"/>
            </a:endParaRPr>
          </a:p>
        </p:txBody>
      </p:sp>
      <p:sp>
        <p:nvSpPr>
          <p:cNvPr id="102" name="Rectangle 101"/>
          <p:cNvSpPr/>
          <p:nvPr/>
        </p:nvSpPr>
        <p:spPr>
          <a:xfrm>
            <a:off x="5823136" y="4150874"/>
            <a:ext cx="3244663" cy="707886"/>
          </a:xfrm>
          <a:prstGeom prst="rect">
            <a:avLst/>
          </a:prstGeom>
          <a:gradFill rotWithShape="1">
            <a:gsLst>
              <a:gs pos="0">
                <a:srgbClr val="AAB8CA">
                  <a:shade val="51000"/>
                  <a:satMod val="130000"/>
                </a:srgbClr>
              </a:gs>
              <a:gs pos="80000">
                <a:srgbClr val="AAB8CA">
                  <a:shade val="93000"/>
                  <a:satMod val="130000"/>
                </a:srgbClr>
              </a:gs>
              <a:gs pos="100000">
                <a:srgbClr val="AAB8CA">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lstStyle/>
          <a:p>
            <a:pPr marL="742950" indent="-742950" algn="ctr">
              <a:defRPr/>
            </a:pPr>
            <a:r>
              <a:rPr lang="en-US" sz="4000" dirty="0" err="1"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Angsana New" pitchFamily="18" charset="-34"/>
                <a:cs typeface="Browallia New"/>
              </a:rPr>
              <a:t>Chindia</a:t>
            </a:r>
            <a:r>
              <a:rPr lang="en-US" sz="4000"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Angsana New" pitchFamily="18" charset="-34"/>
                <a:cs typeface="Browallia New"/>
              </a:rPr>
              <a:t>/New U.S.A.</a:t>
            </a:r>
            <a:endParaRPr lang="th-TH" sz="4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ngsana New" pitchFamily="18" charset="-34"/>
              <a:cs typeface="Browallia New"/>
            </a:endParaRPr>
          </a:p>
        </p:txBody>
      </p:sp>
      <p:sp>
        <p:nvSpPr>
          <p:cNvPr id="103" name="Rectangle 102"/>
          <p:cNvSpPr/>
          <p:nvPr/>
        </p:nvSpPr>
        <p:spPr>
          <a:xfrm>
            <a:off x="3114423" y="4150874"/>
            <a:ext cx="2673350" cy="707886"/>
          </a:xfrm>
          <a:prstGeom prst="rect">
            <a:avLst/>
          </a:prstGeom>
          <a:gradFill rotWithShape="1">
            <a:gsLst>
              <a:gs pos="0">
                <a:srgbClr val="AAB8CA">
                  <a:shade val="51000"/>
                  <a:satMod val="130000"/>
                </a:srgbClr>
              </a:gs>
              <a:gs pos="80000">
                <a:srgbClr val="AAB8CA">
                  <a:shade val="93000"/>
                  <a:satMod val="130000"/>
                </a:srgbClr>
              </a:gs>
              <a:gs pos="100000">
                <a:srgbClr val="AAB8CA">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lstStyle/>
          <a:p>
            <a:pPr algn="ctr">
              <a:defRPr/>
            </a:pPr>
            <a:r>
              <a:rPr lang="en-US" sz="4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ngsana New" pitchFamily="18" charset="-34"/>
                <a:cs typeface="Browallia New"/>
              </a:rPr>
              <a:t>U.S.E.</a:t>
            </a:r>
            <a:endParaRPr lang="th-TH" sz="4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ngsana New" pitchFamily="18" charset="-34"/>
              <a:cs typeface="Browallia New"/>
            </a:endParaRPr>
          </a:p>
        </p:txBody>
      </p:sp>
      <p:sp>
        <p:nvSpPr>
          <p:cNvPr id="31" name="Text Box 11"/>
          <p:cNvSpPr txBox="1">
            <a:spLocks noChangeArrowheads="1"/>
          </p:cNvSpPr>
          <p:nvPr/>
        </p:nvSpPr>
        <p:spPr bwMode="auto">
          <a:xfrm>
            <a:off x="112857" y="6498040"/>
            <a:ext cx="8424863" cy="461665"/>
          </a:xfrm>
          <a:prstGeom prst="rect">
            <a:avLst/>
          </a:prstGeom>
          <a:noFill/>
          <a:ln w="28575">
            <a:noFill/>
            <a:miter lim="800000"/>
            <a:headEnd/>
            <a:tailEnd type="none" w="lg" len="lg"/>
          </a:ln>
          <a:effectLst/>
        </p:spPr>
        <p:txBody>
          <a:bodyPr>
            <a:spAutoFit/>
          </a:bodyPr>
          <a:lstStyle/>
          <a:p>
            <a:pPr>
              <a:defRPr/>
            </a:pPr>
            <a:r>
              <a:rPr lang="th-TH" sz="2400" b="1" dirty="0" smtClean="0">
                <a:solidFill>
                  <a:srgbClr val="0070C0"/>
                </a:solidFill>
                <a:latin typeface="Browallia New" pitchFamily="34" charset="-34"/>
                <a:cs typeface="Browallia New" pitchFamily="34" charset="-34"/>
              </a:rPr>
              <a:t>ค.ศ. </a:t>
            </a:r>
            <a:r>
              <a:rPr lang="en-US" sz="2400" b="1" dirty="0" smtClean="0">
                <a:solidFill>
                  <a:srgbClr val="0070C0"/>
                </a:solidFill>
                <a:latin typeface="Browallia New" pitchFamily="34" charset="-34"/>
                <a:cs typeface="Browallia New" pitchFamily="34" charset="-34"/>
              </a:rPr>
              <a:t>2004 </a:t>
            </a:r>
            <a:r>
              <a:rPr lang="th-TH" sz="2400" b="1" dirty="0" smtClean="0">
                <a:solidFill>
                  <a:srgbClr val="0070C0"/>
                </a:solidFill>
                <a:latin typeface="Browallia New" pitchFamily="34" charset="-34"/>
                <a:cs typeface="Browallia New" pitchFamily="34" charset="-34"/>
              </a:rPr>
              <a:t>ตรงกับ ยุค</a:t>
            </a:r>
            <a:r>
              <a:rPr lang="th-TH" sz="2400" b="1" dirty="0">
                <a:solidFill>
                  <a:srgbClr val="0070C0"/>
                </a:solidFill>
                <a:latin typeface="Browallia New" pitchFamily="34" charset="-34"/>
                <a:cs typeface="Browallia New" pitchFamily="34" charset="-34"/>
              </a:rPr>
              <a:t>ที่แปด ตามศาสตร์ “ฮวงจุ้ย” ตะวันออกจะรุ่งเรืองต่อเนื่อง </a:t>
            </a:r>
            <a:r>
              <a:rPr lang="en-US" sz="2400" b="1" dirty="0">
                <a:solidFill>
                  <a:srgbClr val="0070C0"/>
                </a:solidFill>
                <a:latin typeface="Browallia New" pitchFamily="34" charset="-34"/>
                <a:cs typeface="Browallia New" pitchFamily="34" charset="-34"/>
              </a:rPr>
              <a:t>20 </a:t>
            </a:r>
            <a:r>
              <a:rPr lang="th-TH" sz="2400" b="1" dirty="0">
                <a:solidFill>
                  <a:srgbClr val="0070C0"/>
                </a:solidFill>
                <a:latin typeface="Browallia New" pitchFamily="34" charset="-34"/>
                <a:cs typeface="Browallia New" pitchFamily="34" charset="-34"/>
              </a:rPr>
              <a:t>ปี</a:t>
            </a:r>
          </a:p>
        </p:txBody>
      </p:sp>
      <p:sp>
        <p:nvSpPr>
          <p:cNvPr id="32" name="TextBox 31"/>
          <p:cNvSpPr txBox="1"/>
          <p:nvPr/>
        </p:nvSpPr>
        <p:spPr>
          <a:xfrm>
            <a:off x="3409336" y="6140452"/>
            <a:ext cx="3352800" cy="523220"/>
          </a:xfrm>
          <a:prstGeom prst="rect">
            <a:avLst/>
          </a:prstGeom>
          <a:noFill/>
        </p:spPr>
        <p:txBody>
          <a:bodyPr wrap="square" rtlCol="0">
            <a:spAutoFit/>
          </a:bodyPr>
          <a:lstStyle/>
          <a:p>
            <a:r>
              <a:rPr lang="en-US" dirty="0" smtClean="0">
                <a:solidFill>
                  <a:srgbClr val="FF0000"/>
                </a:solidFill>
                <a:latin typeface="AngsanaUPC" panose="02020603050405020304" pitchFamily="18" charset="-34"/>
                <a:cs typeface="AngsanaUPC" panose="02020603050405020304" pitchFamily="18" charset="-34"/>
              </a:rPr>
              <a:t>Technology Convergence</a:t>
            </a:r>
            <a:endParaRPr lang="th-TH" dirty="0">
              <a:solidFill>
                <a:srgbClr val="FF0000"/>
              </a:solidFill>
              <a:latin typeface="AngsanaUPC" panose="02020603050405020304" pitchFamily="18" charset="-34"/>
              <a:cs typeface="AngsanaUPC" panose="02020603050405020304" pitchFamily="18" charset="-34"/>
            </a:endParaRPr>
          </a:p>
        </p:txBody>
      </p:sp>
      <p:sp>
        <p:nvSpPr>
          <p:cNvPr id="33" name="TextBox 32"/>
          <p:cNvSpPr txBox="1"/>
          <p:nvPr/>
        </p:nvSpPr>
        <p:spPr>
          <a:xfrm>
            <a:off x="5645434" y="6143672"/>
            <a:ext cx="3445557" cy="523220"/>
          </a:xfrm>
          <a:prstGeom prst="rect">
            <a:avLst/>
          </a:prstGeom>
          <a:noFill/>
        </p:spPr>
        <p:txBody>
          <a:bodyPr wrap="square" rtlCol="0">
            <a:spAutoFit/>
          </a:bodyPr>
          <a:lstStyle/>
          <a:p>
            <a:r>
              <a:rPr lang="en-US" dirty="0" smtClean="0">
                <a:solidFill>
                  <a:srgbClr val="FF0000"/>
                </a:solidFill>
                <a:latin typeface="AngsanaUPC" panose="02020603050405020304" pitchFamily="18" charset="-34"/>
                <a:cs typeface="AngsanaUPC" panose="02020603050405020304" pitchFamily="18" charset="-34"/>
                <a:sym typeface="Wingdings" panose="05000000000000000000" pitchFamily="2" charset="2"/>
              </a:rPr>
              <a:t>    </a:t>
            </a:r>
            <a:r>
              <a:rPr lang="en-US" i="1" dirty="0" smtClean="0">
                <a:solidFill>
                  <a:srgbClr val="FF0000"/>
                </a:solidFill>
                <a:latin typeface="AngsanaUPC" panose="02020603050405020304" pitchFamily="18" charset="-34"/>
                <a:cs typeface="AngsanaUPC" panose="02020603050405020304" pitchFamily="18" charset="-34"/>
                <a:sym typeface="Wingdings" panose="05000000000000000000" pitchFamily="2" charset="2"/>
              </a:rPr>
              <a:t></a:t>
            </a:r>
            <a:r>
              <a:rPr lang="en-US" dirty="0" smtClean="0">
                <a:solidFill>
                  <a:srgbClr val="FF0000"/>
                </a:solidFill>
                <a:latin typeface="AngsanaUPC" panose="02020603050405020304" pitchFamily="18" charset="-34"/>
                <a:cs typeface="AngsanaUPC" panose="02020603050405020304" pitchFamily="18" charset="-34"/>
                <a:sym typeface="Wingdings" panose="05000000000000000000" pitchFamily="2" charset="2"/>
              </a:rPr>
              <a:t> Innovation </a:t>
            </a:r>
            <a:r>
              <a:rPr lang="th-TH" sz="2400" b="1" u="sng" dirty="0">
                <a:solidFill>
                  <a:schemeClr val="accent1"/>
                </a:solidFill>
                <a:latin typeface="Browallia New" pitchFamily="34" charset="-34"/>
                <a:cs typeface="Browallia New" pitchFamily="34" charset="-34"/>
              </a:rPr>
              <a:t>สร้างความมั่งคั่ง</a:t>
            </a:r>
            <a:endParaRPr lang="th-TH" dirty="0">
              <a:solidFill>
                <a:schemeClr val="accent1"/>
              </a:solidFill>
              <a:latin typeface="AngsanaUPC" panose="02020603050405020304" pitchFamily="18" charset="-34"/>
              <a:cs typeface="AngsanaUPC" panose="02020603050405020304" pitchFamily="18" charset="-34"/>
            </a:endParaRPr>
          </a:p>
        </p:txBody>
      </p:sp>
    </p:spTree>
    <p:extLst>
      <p:ext uri="{BB962C8B-B14F-4D97-AF65-F5344CB8AC3E}">
        <p14:creationId xmlns:p14="http://schemas.microsoft.com/office/powerpoint/2010/main" val="39883654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10"/>
                                        </p:tgtEl>
                                        <p:attrNameLst>
                                          <p:attrName>style.visibility</p:attrName>
                                        </p:attrNameLst>
                                      </p:cBhvr>
                                      <p:to>
                                        <p:strVal val="visible"/>
                                      </p:to>
                                    </p:set>
                                    <p:animEffect transition="in" filter="wipe(up)">
                                      <p:cBhvr>
                                        <p:cTn id="7" dur="500"/>
                                        <p:tgtEl>
                                          <p:spTgt spid="11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wipe(right)">
                                      <p:cBhvr>
                                        <p:cTn id="12" dur="500"/>
                                        <p:tgtEl>
                                          <p:spTgt spid="12"/>
                                        </p:tgtEl>
                                      </p:cBhvr>
                                    </p:animEffect>
                                  </p:childTnLst>
                                </p:cTn>
                              </p:par>
                              <p:par>
                                <p:cTn id="13" presetID="22" presetClass="entr" presetSubtype="8" fill="hold" nodeType="withEffect">
                                  <p:stCondLst>
                                    <p:cond delay="0"/>
                                  </p:stCondLst>
                                  <p:childTnLst>
                                    <p:set>
                                      <p:cBhvr>
                                        <p:cTn id="14" dur="1" fill="hold">
                                          <p:stCondLst>
                                            <p:cond delay="0"/>
                                          </p:stCondLst>
                                        </p:cTn>
                                        <p:tgtEl>
                                          <p:spTgt spid="104"/>
                                        </p:tgtEl>
                                        <p:attrNameLst>
                                          <p:attrName>style.visibility</p:attrName>
                                        </p:attrNameLst>
                                      </p:cBhvr>
                                      <p:to>
                                        <p:strVal val="visible"/>
                                      </p:to>
                                    </p:set>
                                    <p:animEffect transition="in" filter="wipe(left)">
                                      <p:cBhvr>
                                        <p:cTn id="15" dur="500"/>
                                        <p:tgtEl>
                                          <p:spTgt spid="104"/>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113"/>
                                        </p:tgtEl>
                                        <p:attrNameLst>
                                          <p:attrName>style.visibility</p:attrName>
                                        </p:attrNameLst>
                                      </p:cBhvr>
                                      <p:to>
                                        <p:strVal val="visible"/>
                                      </p:to>
                                    </p:set>
                                    <p:animEffect transition="in" filter="wipe(left)">
                                      <p:cBhvr>
                                        <p:cTn id="18" dur="500"/>
                                        <p:tgtEl>
                                          <p:spTgt spid="113"/>
                                        </p:tgtEl>
                                      </p:cBhvr>
                                    </p:animEffect>
                                  </p:childTnLst>
                                </p:cTn>
                              </p:par>
                            </p:childTnLst>
                          </p:cTn>
                        </p:par>
                      </p:childTnLst>
                    </p:cTn>
                  </p:par>
                  <p:par>
                    <p:cTn id="19" fill="hold">
                      <p:stCondLst>
                        <p:cond delay="indefinite"/>
                      </p:stCondLst>
                      <p:childTnLst>
                        <p:par>
                          <p:cTn id="20" fill="hold">
                            <p:stCondLst>
                              <p:cond delay="0"/>
                            </p:stCondLst>
                            <p:childTnLst>
                              <p:par>
                                <p:cTn id="21" presetID="63" presetClass="path" presetSubtype="0" accel="50000" decel="50000" fill="hold" nodeType="clickEffect">
                                  <p:stCondLst>
                                    <p:cond delay="0"/>
                                  </p:stCondLst>
                                  <p:childTnLst>
                                    <p:animMotion origin="layout" path="M -3.33333E-6 -4.65418E-6 L 0.29566 -4.65418E-6 " pathEditMode="relative" rAng="0" ptsTypes="AA">
                                      <p:cBhvr>
                                        <p:cTn id="22" dur="2000" fill="hold"/>
                                        <p:tgtEl>
                                          <p:spTgt spid="14"/>
                                        </p:tgtEl>
                                        <p:attrNameLst>
                                          <p:attrName>ppt_x</p:attrName>
                                          <p:attrName>ppt_y</p:attrName>
                                        </p:attrNameLst>
                                      </p:cBhvr>
                                      <p:rCtr x="14774" y="0"/>
                                    </p:animMotion>
                                  </p:childTnLst>
                                </p:cTn>
                              </p:par>
                              <p:par>
                                <p:cTn id="23" presetID="10" presetClass="exit" presetSubtype="0" fill="hold" grpId="0" nodeType="withEffect">
                                  <p:stCondLst>
                                    <p:cond delay="0"/>
                                  </p:stCondLst>
                                  <p:childTnLst>
                                    <p:animEffect transition="out" filter="fade">
                                      <p:cBhvr>
                                        <p:cTn id="24" dur="500"/>
                                        <p:tgtEl>
                                          <p:spTgt spid="104"/>
                                        </p:tgtEl>
                                      </p:cBhvr>
                                    </p:animEffect>
                                    <p:set>
                                      <p:cBhvr>
                                        <p:cTn id="25" dur="1" fill="hold">
                                          <p:stCondLst>
                                            <p:cond delay="499"/>
                                          </p:stCondLst>
                                        </p:cTn>
                                        <p:tgtEl>
                                          <p:spTgt spid="104"/>
                                        </p:tgtEl>
                                        <p:attrNameLst>
                                          <p:attrName>style.visibility</p:attrName>
                                        </p:attrNameLst>
                                      </p:cBhvr>
                                      <p:to>
                                        <p:strVal val="hidden"/>
                                      </p:to>
                                    </p:set>
                                  </p:childTnLst>
                                </p:cTn>
                              </p:par>
                              <p:par>
                                <p:cTn id="26" presetID="10" presetClass="exit" presetSubtype="0" fill="hold" nodeType="withEffect">
                                  <p:stCondLst>
                                    <p:cond delay="0"/>
                                  </p:stCondLst>
                                  <p:childTnLst>
                                    <p:animEffect transition="out" filter="fade">
                                      <p:cBhvr>
                                        <p:cTn id="27" dur="500"/>
                                        <p:tgtEl>
                                          <p:spTgt spid="110"/>
                                        </p:tgtEl>
                                      </p:cBhvr>
                                    </p:animEffect>
                                    <p:set>
                                      <p:cBhvr>
                                        <p:cTn id="28" dur="1" fill="hold">
                                          <p:stCondLst>
                                            <p:cond delay="499"/>
                                          </p:stCondLst>
                                        </p:cTn>
                                        <p:tgtEl>
                                          <p:spTgt spid="110"/>
                                        </p:tgtEl>
                                        <p:attrNameLst>
                                          <p:attrName>style.visibility</p:attrName>
                                        </p:attrNameLst>
                                      </p:cBhvr>
                                      <p:to>
                                        <p:strVal val="hidden"/>
                                      </p:to>
                                    </p:set>
                                  </p:childTnLst>
                                </p:cTn>
                              </p:par>
                            </p:childTnLst>
                          </p:cTn>
                        </p:par>
                        <p:par>
                          <p:cTn id="29" fill="hold">
                            <p:stCondLst>
                              <p:cond delay="2000"/>
                            </p:stCondLst>
                            <p:childTnLst>
                              <p:par>
                                <p:cTn id="30" presetID="22" presetClass="entr" presetSubtype="8" fill="hold" nodeType="afterEffect">
                                  <p:stCondLst>
                                    <p:cond delay="0"/>
                                  </p:stCondLst>
                                  <p:childTnLst>
                                    <p:set>
                                      <p:cBhvr>
                                        <p:cTn id="31" dur="1" fill="hold">
                                          <p:stCondLst>
                                            <p:cond delay="0"/>
                                          </p:stCondLst>
                                        </p:cTn>
                                        <p:tgtEl>
                                          <p:spTgt spid="105"/>
                                        </p:tgtEl>
                                        <p:attrNameLst>
                                          <p:attrName>style.visibility</p:attrName>
                                        </p:attrNameLst>
                                      </p:cBhvr>
                                      <p:to>
                                        <p:strVal val="visible"/>
                                      </p:to>
                                    </p:set>
                                    <p:animEffect transition="in" filter="wipe(left)">
                                      <p:cBhvr>
                                        <p:cTn id="32" dur="500"/>
                                        <p:tgtEl>
                                          <p:spTgt spid="105"/>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114"/>
                                        </p:tgtEl>
                                        <p:attrNameLst>
                                          <p:attrName>style.visibility</p:attrName>
                                        </p:attrNameLst>
                                      </p:cBhvr>
                                      <p:to>
                                        <p:strVal val="visible"/>
                                      </p:to>
                                    </p:set>
                                    <p:animEffect transition="in" filter="wipe(left)">
                                      <p:cBhvr>
                                        <p:cTn id="35" dur="500"/>
                                        <p:tgtEl>
                                          <p:spTgt spid="114"/>
                                        </p:tgtEl>
                                      </p:cBhvr>
                                    </p:animEffect>
                                  </p:childTnLst>
                                </p:cTn>
                              </p:par>
                            </p:childTnLst>
                          </p:cTn>
                        </p:par>
                      </p:childTnLst>
                    </p:cTn>
                  </p:par>
                  <p:par>
                    <p:cTn id="36" fill="hold">
                      <p:stCondLst>
                        <p:cond delay="indefinite"/>
                      </p:stCondLst>
                      <p:childTnLst>
                        <p:par>
                          <p:cTn id="37" fill="hold">
                            <p:stCondLst>
                              <p:cond delay="0"/>
                            </p:stCondLst>
                            <p:childTnLst>
                              <p:par>
                                <p:cTn id="38" presetID="63" presetClass="path" presetSubtype="0" accel="50000" decel="50000" fill="hold" nodeType="clickEffect">
                                  <p:stCondLst>
                                    <p:cond delay="0"/>
                                  </p:stCondLst>
                                  <p:childTnLst>
                                    <p:animMotion origin="layout" path="M 0.29532 -4.65418E-6 L 0.54532 -4.65418E-6 " pathEditMode="relative" rAng="0" ptsTypes="AA">
                                      <p:cBhvr>
                                        <p:cTn id="39" dur="2000" fill="hold"/>
                                        <p:tgtEl>
                                          <p:spTgt spid="14"/>
                                        </p:tgtEl>
                                        <p:attrNameLst>
                                          <p:attrName>ppt_x</p:attrName>
                                          <p:attrName>ppt_y</p:attrName>
                                        </p:attrNameLst>
                                      </p:cBhvr>
                                      <p:rCtr x="12500" y="0"/>
                                    </p:animMotion>
                                  </p:childTnLst>
                                </p:cTn>
                              </p:par>
                              <p:par>
                                <p:cTn id="40" presetID="10" presetClass="exit" presetSubtype="0" fill="hold" grpId="0" nodeType="withEffect">
                                  <p:stCondLst>
                                    <p:cond delay="0"/>
                                  </p:stCondLst>
                                  <p:childTnLst>
                                    <p:animEffect transition="out" filter="fade">
                                      <p:cBhvr>
                                        <p:cTn id="41" dur="500"/>
                                        <p:tgtEl>
                                          <p:spTgt spid="105"/>
                                        </p:tgtEl>
                                      </p:cBhvr>
                                    </p:animEffect>
                                    <p:set>
                                      <p:cBhvr>
                                        <p:cTn id="42" dur="1" fill="hold">
                                          <p:stCondLst>
                                            <p:cond delay="499"/>
                                          </p:stCondLst>
                                        </p:cTn>
                                        <p:tgtEl>
                                          <p:spTgt spid="105"/>
                                        </p:tgtEl>
                                        <p:attrNameLst>
                                          <p:attrName>style.visibility</p:attrName>
                                        </p:attrNameLst>
                                      </p:cBhvr>
                                      <p:to>
                                        <p:strVal val="hidden"/>
                                      </p:to>
                                    </p:set>
                                  </p:childTnLst>
                                </p:cTn>
                              </p:par>
                            </p:childTnLst>
                          </p:cTn>
                        </p:par>
                        <p:par>
                          <p:cTn id="43" fill="hold">
                            <p:stCondLst>
                              <p:cond delay="2000"/>
                            </p:stCondLst>
                            <p:childTnLst>
                              <p:par>
                                <p:cTn id="44" presetID="22" presetClass="entr" presetSubtype="8" fill="hold" nodeType="afterEffect">
                                  <p:stCondLst>
                                    <p:cond delay="0"/>
                                  </p:stCondLst>
                                  <p:childTnLst>
                                    <p:set>
                                      <p:cBhvr>
                                        <p:cTn id="45" dur="1" fill="hold">
                                          <p:stCondLst>
                                            <p:cond delay="0"/>
                                          </p:stCondLst>
                                        </p:cTn>
                                        <p:tgtEl>
                                          <p:spTgt spid="106"/>
                                        </p:tgtEl>
                                        <p:attrNameLst>
                                          <p:attrName>style.visibility</p:attrName>
                                        </p:attrNameLst>
                                      </p:cBhvr>
                                      <p:to>
                                        <p:strVal val="visible"/>
                                      </p:to>
                                    </p:set>
                                    <p:animEffect transition="in" filter="wipe(left)">
                                      <p:cBhvr>
                                        <p:cTn id="46" dur="500"/>
                                        <p:tgtEl>
                                          <p:spTgt spid="106"/>
                                        </p:tgtEl>
                                      </p:cBhvr>
                                    </p:animEffect>
                                  </p:childTnLst>
                                </p:cTn>
                              </p:par>
                              <p:par>
                                <p:cTn id="47" presetID="22" presetClass="entr" presetSubtype="8" fill="hold" grpId="0" nodeType="withEffect">
                                  <p:stCondLst>
                                    <p:cond delay="0"/>
                                  </p:stCondLst>
                                  <p:childTnLst>
                                    <p:set>
                                      <p:cBhvr>
                                        <p:cTn id="48" dur="1" fill="hold">
                                          <p:stCondLst>
                                            <p:cond delay="0"/>
                                          </p:stCondLst>
                                        </p:cTn>
                                        <p:tgtEl>
                                          <p:spTgt spid="115"/>
                                        </p:tgtEl>
                                        <p:attrNameLst>
                                          <p:attrName>style.visibility</p:attrName>
                                        </p:attrNameLst>
                                      </p:cBhvr>
                                      <p:to>
                                        <p:strVal val="visible"/>
                                      </p:to>
                                    </p:set>
                                    <p:animEffect transition="in" filter="wipe(left)">
                                      <p:cBhvr>
                                        <p:cTn id="49" dur="500"/>
                                        <p:tgtEl>
                                          <p:spTgt spid="115"/>
                                        </p:tgtEl>
                                      </p:cBhvr>
                                    </p:animEffect>
                                  </p:childTnLst>
                                </p:cTn>
                              </p:par>
                            </p:childTnLst>
                          </p:cTn>
                        </p:par>
                      </p:childTnLst>
                    </p:cTn>
                  </p:par>
                  <p:par>
                    <p:cTn id="50" fill="hold">
                      <p:stCondLst>
                        <p:cond delay="indefinite"/>
                      </p:stCondLst>
                      <p:childTnLst>
                        <p:par>
                          <p:cTn id="51" fill="hold">
                            <p:stCondLst>
                              <p:cond delay="0"/>
                            </p:stCondLst>
                            <p:childTnLst>
                              <p:par>
                                <p:cTn id="52" presetID="63" presetClass="path" presetSubtype="0" accel="50000" decel="50000" fill="hold" nodeType="clickEffect">
                                  <p:stCondLst>
                                    <p:cond delay="0"/>
                                  </p:stCondLst>
                                  <p:childTnLst>
                                    <p:animMotion origin="layout" path="M 0.54532 -4.65418E-6 L 0.90139 -4.65418E-6 " pathEditMode="relative" rAng="0" ptsTypes="AA">
                                      <p:cBhvr>
                                        <p:cTn id="53" dur="2000" fill="hold"/>
                                        <p:tgtEl>
                                          <p:spTgt spid="14"/>
                                        </p:tgtEl>
                                        <p:attrNameLst>
                                          <p:attrName>ppt_x</p:attrName>
                                          <p:attrName>ppt_y</p:attrName>
                                        </p:attrNameLst>
                                      </p:cBhvr>
                                      <p:rCtr x="17795" y="0"/>
                                    </p:animMotion>
                                  </p:childTnLst>
                                </p:cTn>
                              </p:par>
                              <p:par>
                                <p:cTn id="54" presetID="10" presetClass="exit" presetSubtype="0" fill="hold" grpId="0" nodeType="withEffect">
                                  <p:stCondLst>
                                    <p:cond delay="0"/>
                                  </p:stCondLst>
                                  <p:childTnLst>
                                    <p:animEffect transition="out" filter="fade">
                                      <p:cBhvr>
                                        <p:cTn id="55" dur="500"/>
                                        <p:tgtEl>
                                          <p:spTgt spid="106"/>
                                        </p:tgtEl>
                                      </p:cBhvr>
                                    </p:animEffect>
                                    <p:set>
                                      <p:cBhvr>
                                        <p:cTn id="56" dur="1" fill="hold">
                                          <p:stCondLst>
                                            <p:cond delay="499"/>
                                          </p:stCondLst>
                                        </p:cTn>
                                        <p:tgtEl>
                                          <p:spTgt spid="106"/>
                                        </p:tgtEl>
                                        <p:attrNameLst>
                                          <p:attrName>style.visibility</p:attrName>
                                        </p:attrNameLst>
                                      </p:cBhvr>
                                      <p:to>
                                        <p:strVal val="hidden"/>
                                      </p:to>
                                    </p:set>
                                  </p:childTnLst>
                                </p:cTn>
                              </p:par>
                            </p:childTnLst>
                          </p:cTn>
                        </p:par>
                        <p:par>
                          <p:cTn id="57" fill="hold">
                            <p:stCondLst>
                              <p:cond delay="2000"/>
                            </p:stCondLst>
                            <p:childTnLst>
                              <p:par>
                                <p:cTn id="58" presetID="63" presetClass="path" presetSubtype="0" accel="50000" decel="50000" fill="hold" nodeType="afterEffect">
                                  <p:stCondLst>
                                    <p:cond delay="0"/>
                                  </p:stCondLst>
                                  <p:childTnLst>
                                    <p:animMotion origin="layout" path="M 0.90139 -4.65418E-6 L 0.99514 -4.65418E-6 " pathEditMode="relative" rAng="0" ptsTypes="AA">
                                      <p:cBhvr>
                                        <p:cTn id="59" dur="2000" fill="hold"/>
                                        <p:tgtEl>
                                          <p:spTgt spid="14"/>
                                        </p:tgtEl>
                                        <p:attrNameLst>
                                          <p:attrName>ppt_x</p:attrName>
                                          <p:attrName>ppt_y</p:attrName>
                                        </p:attrNameLst>
                                      </p:cBhvr>
                                      <p:rCtr x="4688" y="0"/>
                                    </p:animMotion>
                                  </p:childTnLst>
                                </p:cTn>
                              </p:par>
                            </p:childTnLst>
                          </p:cTn>
                        </p:par>
                        <p:par>
                          <p:cTn id="60" fill="hold">
                            <p:stCondLst>
                              <p:cond delay="4000"/>
                            </p:stCondLst>
                            <p:childTnLst>
                              <p:par>
                                <p:cTn id="61" presetID="22" presetClass="entr" presetSubtype="8" fill="hold" nodeType="afterEffect">
                                  <p:stCondLst>
                                    <p:cond delay="0"/>
                                  </p:stCondLst>
                                  <p:childTnLst>
                                    <p:set>
                                      <p:cBhvr>
                                        <p:cTn id="62" dur="1" fill="hold">
                                          <p:stCondLst>
                                            <p:cond delay="0"/>
                                          </p:stCondLst>
                                        </p:cTn>
                                        <p:tgtEl>
                                          <p:spTgt spid="107"/>
                                        </p:tgtEl>
                                        <p:attrNameLst>
                                          <p:attrName>style.visibility</p:attrName>
                                        </p:attrNameLst>
                                      </p:cBhvr>
                                      <p:to>
                                        <p:strVal val="visible"/>
                                      </p:to>
                                    </p:set>
                                    <p:animEffect transition="in" filter="wipe(left)">
                                      <p:cBhvr>
                                        <p:cTn id="63" dur="500"/>
                                        <p:tgtEl>
                                          <p:spTgt spid="107"/>
                                        </p:tgtEl>
                                      </p:cBhvr>
                                    </p:animEffect>
                                  </p:childTnLst>
                                </p:cTn>
                              </p:par>
                              <p:par>
                                <p:cTn id="64" presetID="10" presetClass="exit" presetSubtype="0" fill="hold" nodeType="withEffect">
                                  <p:stCondLst>
                                    <p:cond delay="0"/>
                                  </p:stCondLst>
                                  <p:childTnLst>
                                    <p:animEffect transition="out" filter="fade">
                                      <p:cBhvr>
                                        <p:cTn id="65" dur="500"/>
                                        <p:tgtEl>
                                          <p:spTgt spid="12"/>
                                        </p:tgtEl>
                                      </p:cBhvr>
                                    </p:animEffect>
                                    <p:set>
                                      <p:cBhvr>
                                        <p:cTn id="66" dur="1" fill="hold">
                                          <p:stCondLst>
                                            <p:cond delay="499"/>
                                          </p:stCondLst>
                                        </p:cTn>
                                        <p:tgtEl>
                                          <p:spTgt spid="12"/>
                                        </p:tgtEl>
                                        <p:attrNameLst>
                                          <p:attrName>style.visibility</p:attrName>
                                        </p:attrNameLst>
                                      </p:cBhvr>
                                      <p:to>
                                        <p:strVal val="hidden"/>
                                      </p:to>
                                    </p:set>
                                  </p:childTnLst>
                                </p:cTn>
                              </p:par>
                            </p:childTnLst>
                          </p:cTn>
                        </p:par>
                        <p:par>
                          <p:cTn id="67" fill="hold">
                            <p:stCondLst>
                              <p:cond delay="4500"/>
                            </p:stCondLst>
                            <p:childTnLst>
                              <p:par>
                                <p:cTn id="68" presetID="22" presetClass="entr" presetSubtype="8" fill="hold" grpId="0" nodeType="afterEffect">
                                  <p:stCondLst>
                                    <p:cond delay="0"/>
                                  </p:stCondLst>
                                  <p:childTnLst>
                                    <p:set>
                                      <p:cBhvr>
                                        <p:cTn id="69" dur="1" fill="hold">
                                          <p:stCondLst>
                                            <p:cond delay="0"/>
                                          </p:stCondLst>
                                        </p:cTn>
                                        <p:tgtEl>
                                          <p:spTgt spid="116"/>
                                        </p:tgtEl>
                                        <p:attrNameLst>
                                          <p:attrName>style.visibility</p:attrName>
                                        </p:attrNameLst>
                                      </p:cBhvr>
                                      <p:to>
                                        <p:strVal val="visible"/>
                                      </p:to>
                                    </p:set>
                                    <p:animEffect transition="in" filter="wipe(left)">
                                      <p:cBhvr>
                                        <p:cTn id="70" dur="500"/>
                                        <p:tgtEl>
                                          <p:spTgt spid="116"/>
                                        </p:tgtEl>
                                      </p:cBhvr>
                                    </p:animEffect>
                                  </p:childTnLst>
                                </p:cTn>
                              </p:par>
                            </p:childTnLst>
                          </p:cTn>
                        </p:par>
                        <p:par>
                          <p:cTn id="71" fill="hold">
                            <p:stCondLst>
                              <p:cond delay="5000"/>
                            </p:stCondLst>
                            <p:childTnLst>
                              <p:par>
                                <p:cTn id="72" presetID="10" presetClass="entr" presetSubtype="0" fill="hold" nodeType="afterEffect">
                                  <p:stCondLst>
                                    <p:cond delay="0"/>
                                  </p:stCondLst>
                                  <p:childTnLst>
                                    <p:set>
                                      <p:cBhvr>
                                        <p:cTn id="73" dur="1" fill="hold">
                                          <p:stCondLst>
                                            <p:cond delay="0"/>
                                          </p:stCondLst>
                                        </p:cTn>
                                        <p:tgtEl>
                                          <p:spTgt spid="117"/>
                                        </p:tgtEl>
                                        <p:attrNameLst>
                                          <p:attrName>style.visibility</p:attrName>
                                        </p:attrNameLst>
                                      </p:cBhvr>
                                      <p:to>
                                        <p:strVal val="visible"/>
                                      </p:to>
                                    </p:set>
                                    <p:animEffect transition="in" filter="fade">
                                      <p:cBhvr>
                                        <p:cTn id="74" dur="500"/>
                                        <p:tgtEl>
                                          <p:spTgt spid="117"/>
                                        </p:tgtEl>
                                      </p:cBhvr>
                                    </p:animEffect>
                                  </p:childTnLst>
                                </p:cTn>
                              </p:par>
                            </p:childTnLst>
                          </p:cTn>
                        </p:par>
                      </p:childTnLst>
                    </p:cTn>
                  </p:par>
                  <p:par>
                    <p:cTn id="75" fill="hold">
                      <p:stCondLst>
                        <p:cond delay="indefinite"/>
                      </p:stCondLst>
                      <p:childTnLst>
                        <p:par>
                          <p:cTn id="76" fill="hold">
                            <p:stCondLst>
                              <p:cond delay="0"/>
                            </p:stCondLst>
                            <p:childTnLst>
                              <p:par>
                                <p:cTn id="77" presetID="22" presetClass="entr" presetSubtype="8" fill="hold" grpId="0" nodeType="clickEffect">
                                  <p:stCondLst>
                                    <p:cond delay="0"/>
                                  </p:stCondLst>
                                  <p:childTnLst>
                                    <p:set>
                                      <p:cBhvr>
                                        <p:cTn id="78" dur="1" fill="hold">
                                          <p:stCondLst>
                                            <p:cond delay="0"/>
                                          </p:stCondLst>
                                        </p:cTn>
                                        <p:tgtEl>
                                          <p:spTgt spid="32"/>
                                        </p:tgtEl>
                                        <p:attrNameLst>
                                          <p:attrName>style.visibility</p:attrName>
                                        </p:attrNameLst>
                                      </p:cBhvr>
                                      <p:to>
                                        <p:strVal val="visible"/>
                                      </p:to>
                                    </p:set>
                                    <p:animEffect transition="in" filter="wipe(left)">
                                      <p:cBhvr>
                                        <p:cTn id="79" dur="500"/>
                                        <p:tgtEl>
                                          <p:spTgt spid="32"/>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8" fill="hold" grpId="0" nodeType="clickEffect">
                                  <p:stCondLst>
                                    <p:cond delay="0"/>
                                  </p:stCondLst>
                                  <p:childTnLst>
                                    <p:set>
                                      <p:cBhvr>
                                        <p:cTn id="83" dur="1" fill="hold">
                                          <p:stCondLst>
                                            <p:cond delay="0"/>
                                          </p:stCondLst>
                                        </p:cTn>
                                        <p:tgtEl>
                                          <p:spTgt spid="33"/>
                                        </p:tgtEl>
                                        <p:attrNameLst>
                                          <p:attrName>style.visibility</p:attrName>
                                        </p:attrNameLst>
                                      </p:cBhvr>
                                      <p:to>
                                        <p:strVal val="visible"/>
                                      </p:to>
                                    </p:set>
                                    <p:animEffect transition="in" filter="wipe(left)">
                                      <p:cBhvr>
                                        <p:cTn id="84" dur="500"/>
                                        <p:tgtEl>
                                          <p:spTgt spid="33"/>
                                        </p:tgtEl>
                                      </p:cBhvr>
                                    </p:animEffect>
                                  </p:childTnLst>
                                </p:cTn>
                              </p:par>
                            </p:childTnLst>
                          </p:cTn>
                        </p:par>
                      </p:childTnLst>
                    </p:cTn>
                  </p:par>
                  <p:par>
                    <p:cTn id="85" fill="hold">
                      <p:stCondLst>
                        <p:cond delay="indefinite"/>
                      </p:stCondLst>
                      <p:childTnLst>
                        <p:par>
                          <p:cTn id="86" fill="hold">
                            <p:stCondLst>
                              <p:cond delay="0"/>
                            </p:stCondLst>
                            <p:childTnLst>
                              <p:par>
                                <p:cTn id="87" presetID="10" presetClass="entr" presetSubtype="0" fill="hold" nodeType="clickEffect">
                                  <p:stCondLst>
                                    <p:cond delay="0"/>
                                  </p:stCondLst>
                                  <p:childTnLst>
                                    <p:set>
                                      <p:cBhvr>
                                        <p:cTn id="88" dur="1" fill="hold">
                                          <p:stCondLst>
                                            <p:cond delay="0"/>
                                          </p:stCondLst>
                                        </p:cTn>
                                        <p:tgtEl>
                                          <p:spTgt spid="23"/>
                                        </p:tgtEl>
                                        <p:attrNameLst>
                                          <p:attrName>style.visibility</p:attrName>
                                        </p:attrNameLst>
                                      </p:cBhvr>
                                      <p:to>
                                        <p:strVal val="visible"/>
                                      </p:to>
                                    </p:set>
                                    <p:animEffect transition="in" filter="fade">
                                      <p:cBhvr>
                                        <p:cTn id="89" dur="2000"/>
                                        <p:tgtEl>
                                          <p:spTgt spid="23"/>
                                        </p:tgtEl>
                                      </p:cBhvr>
                                    </p:animEffect>
                                  </p:childTnLst>
                                </p:cTn>
                              </p:par>
                              <p:par>
                                <p:cTn id="90" presetID="22" presetClass="entr" presetSubtype="8" fill="hold" grpId="0" nodeType="withEffect">
                                  <p:stCondLst>
                                    <p:cond delay="0"/>
                                  </p:stCondLst>
                                  <p:childTnLst>
                                    <p:set>
                                      <p:cBhvr>
                                        <p:cTn id="91" dur="1" fill="hold">
                                          <p:stCondLst>
                                            <p:cond delay="0"/>
                                          </p:stCondLst>
                                        </p:cTn>
                                        <p:tgtEl>
                                          <p:spTgt spid="31"/>
                                        </p:tgtEl>
                                        <p:attrNameLst>
                                          <p:attrName>style.visibility</p:attrName>
                                        </p:attrNameLst>
                                      </p:cBhvr>
                                      <p:to>
                                        <p:strVal val="visible"/>
                                      </p:to>
                                    </p:set>
                                    <p:animEffect transition="in" filter="wipe(left)">
                                      <p:cBhvr>
                                        <p:cTn id="92" dur="500"/>
                                        <p:tgtEl>
                                          <p:spTgt spid="31"/>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grpId="0" nodeType="clickEffect">
                                  <p:stCondLst>
                                    <p:cond delay="0"/>
                                  </p:stCondLst>
                                  <p:childTnLst>
                                    <p:set>
                                      <p:cBhvr>
                                        <p:cTn id="96" dur="1" fill="hold">
                                          <p:stCondLst>
                                            <p:cond delay="0"/>
                                          </p:stCondLst>
                                        </p:cTn>
                                        <p:tgtEl>
                                          <p:spTgt spid="26"/>
                                        </p:tgtEl>
                                        <p:attrNameLst>
                                          <p:attrName>style.visibility</p:attrName>
                                        </p:attrNameLst>
                                      </p:cBhvr>
                                      <p:to>
                                        <p:strVal val="visible"/>
                                      </p:to>
                                    </p:set>
                                    <p:animEffect transition="in" filter="fade">
                                      <p:cBhvr>
                                        <p:cTn id="97" dur="2000"/>
                                        <p:tgtEl>
                                          <p:spTgt spid="26"/>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ntr" presetSubtype="0" fill="hold" grpId="0" nodeType="clickEffect">
                                  <p:stCondLst>
                                    <p:cond delay="0"/>
                                  </p:stCondLst>
                                  <p:childTnLst>
                                    <p:set>
                                      <p:cBhvr>
                                        <p:cTn id="101" dur="1" fill="hold">
                                          <p:stCondLst>
                                            <p:cond delay="0"/>
                                          </p:stCondLst>
                                        </p:cTn>
                                        <p:tgtEl>
                                          <p:spTgt spid="29"/>
                                        </p:tgtEl>
                                        <p:attrNameLst>
                                          <p:attrName>style.visibility</p:attrName>
                                        </p:attrNameLst>
                                      </p:cBhvr>
                                      <p:to>
                                        <p:strVal val="visible"/>
                                      </p:to>
                                    </p:set>
                                    <p:animEffect transition="in" filter="fade">
                                      <p:cBhvr>
                                        <p:cTn id="102" dur="2000"/>
                                        <p:tgtEl>
                                          <p:spTgt spid="29"/>
                                        </p:tgtEl>
                                      </p:cBhvr>
                                    </p:animEffec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grpId="0" nodeType="clickEffect">
                                  <p:stCondLst>
                                    <p:cond delay="0"/>
                                  </p:stCondLst>
                                  <p:childTnLst>
                                    <p:set>
                                      <p:cBhvr>
                                        <p:cTn id="106" dur="1" fill="hold">
                                          <p:stCondLst>
                                            <p:cond delay="0"/>
                                          </p:stCondLst>
                                        </p:cTn>
                                        <p:tgtEl>
                                          <p:spTgt spid="28"/>
                                        </p:tgtEl>
                                        <p:attrNameLst>
                                          <p:attrName>style.visibility</p:attrName>
                                        </p:attrNameLst>
                                      </p:cBhvr>
                                      <p:to>
                                        <p:strVal val="visible"/>
                                      </p:to>
                                    </p:set>
                                    <p:animEffect transition="in" filter="fade">
                                      <p:cBhvr>
                                        <p:cTn id="107" dur="2000"/>
                                        <p:tgtEl>
                                          <p:spTgt spid="28"/>
                                        </p:tgtEl>
                                      </p:cBhvr>
                                    </p:animEffect>
                                  </p:childTnLst>
                                </p:cTn>
                              </p:par>
                            </p:childTnLst>
                          </p:cTn>
                        </p:par>
                      </p:childTnLst>
                    </p:cTn>
                  </p:par>
                  <p:par>
                    <p:cTn id="108" fill="hold">
                      <p:stCondLst>
                        <p:cond delay="indefinite"/>
                      </p:stCondLst>
                      <p:childTnLst>
                        <p:par>
                          <p:cTn id="109" fill="hold">
                            <p:stCondLst>
                              <p:cond delay="0"/>
                            </p:stCondLst>
                            <p:childTnLst>
                              <p:par>
                                <p:cTn id="110" presetID="10" presetClass="entr" presetSubtype="0" fill="hold" grpId="0" nodeType="clickEffect">
                                  <p:stCondLst>
                                    <p:cond delay="0"/>
                                  </p:stCondLst>
                                  <p:childTnLst>
                                    <p:set>
                                      <p:cBhvr>
                                        <p:cTn id="111" dur="1" fill="hold">
                                          <p:stCondLst>
                                            <p:cond delay="0"/>
                                          </p:stCondLst>
                                        </p:cTn>
                                        <p:tgtEl>
                                          <p:spTgt spid="27"/>
                                        </p:tgtEl>
                                        <p:attrNameLst>
                                          <p:attrName>style.visibility</p:attrName>
                                        </p:attrNameLst>
                                      </p:cBhvr>
                                      <p:to>
                                        <p:strVal val="visible"/>
                                      </p:to>
                                    </p:set>
                                    <p:animEffect transition="in" filter="fade">
                                      <p:cBhvr>
                                        <p:cTn id="112" dur="2000"/>
                                        <p:tgtEl>
                                          <p:spTgt spid="27"/>
                                        </p:tgtEl>
                                      </p:cBhvr>
                                    </p:animEffec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grpId="0" nodeType="clickEffect">
                                  <p:stCondLst>
                                    <p:cond delay="0"/>
                                  </p:stCondLst>
                                  <p:childTnLst>
                                    <p:set>
                                      <p:cBhvr>
                                        <p:cTn id="116" dur="1" fill="hold">
                                          <p:stCondLst>
                                            <p:cond delay="0"/>
                                          </p:stCondLst>
                                        </p:cTn>
                                        <p:tgtEl>
                                          <p:spTgt spid="30"/>
                                        </p:tgtEl>
                                        <p:attrNameLst>
                                          <p:attrName>style.visibility</p:attrName>
                                        </p:attrNameLst>
                                      </p:cBhvr>
                                      <p:to>
                                        <p:strVal val="visible"/>
                                      </p:to>
                                    </p:set>
                                    <p:animEffect transition="in" filter="fade">
                                      <p:cBhvr>
                                        <p:cTn id="117" dur="2000"/>
                                        <p:tgtEl>
                                          <p:spTgt spid="30"/>
                                        </p:tgtEl>
                                      </p:cBhvr>
                                    </p:animEffect>
                                  </p:childTnLst>
                                </p:cTn>
                              </p:par>
                            </p:childTnLst>
                          </p:cTn>
                        </p:par>
                      </p:childTnLst>
                    </p:cTn>
                  </p:par>
                  <p:par>
                    <p:cTn id="118" fill="hold">
                      <p:stCondLst>
                        <p:cond delay="indefinite"/>
                      </p:stCondLst>
                      <p:childTnLst>
                        <p:par>
                          <p:cTn id="119" fill="hold">
                            <p:stCondLst>
                              <p:cond delay="0"/>
                            </p:stCondLst>
                            <p:childTnLst>
                              <p:par>
                                <p:cTn id="120" presetID="22" presetClass="entr" presetSubtype="8" fill="hold" nodeType="clickEffect">
                                  <p:stCondLst>
                                    <p:cond delay="0"/>
                                  </p:stCondLst>
                                  <p:childTnLst>
                                    <p:set>
                                      <p:cBhvr>
                                        <p:cTn id="121" dur="1" fill="hold">
                                          <p:stCondLst>
                                            <p:cond delay="0"/>
                                          </p:stCondLst>
                                        </p:cTn>
                                        <p:tgtEl>
                                          <p:spTgt spid="100"/>
                                        </p:tgtEl>
                                        <p:attrNameLst>
                                          <p:attrName>style.visibility</p:attrName>
                                        </p:attrNameLst>
                                      </p:cBhvr>
                                      <p:to>
                                        <p:strVal val="visible"/>
                                      </p:to>
                                    </p:set>
                                    <p:animEffect transition="in" filter="wipe(left)">
                                      <p:cBhvr>
                                        <p:cTn id="122" dur="500"/>
                                        <p:tgtEl>
                                          <p:spTgt spid="100"/>
                                        </p:tgtEl>
                                      </p:cBhvr>
                                    </p:animEffect>
                                  </p:childTnLst>
                                </p:cTn>
                              </p:par>
                            </p:childTnLst>
                          </p:cTn>
                        </p:par>
                      </p:childTnLst>
                    </p:cTn>
                  </p:par>
                  <p:par>
                    <p:cTn id="123" fill="hold">
                      <p:stCondLst>
                        <p:cond delay="indefinite"/>
                      </p:stCondLst>
                      <p:childTnLst>
                        <p:par>
                          <p:cTn id="124" fill="hold">
                            <p:stCondLst>
                              <p:cond delay="0"/>
                            </p:stCondLst>
                            <p:childTnLst>
                              <p:par>
                                <p:cTn id="125" presetID="22" presetClass="entr" presetSubtype="8" fill="hold" nodeType="clickEffect">
                                  <p:stCondLst>
                                    <p:cond delay="0"/>
                                  </p:stCondLst>
                                  <p:childTnLst>
                                    <p:set>
                                      <p:cBhvr>
                                        <p:cTn id="126" dur="1" fill="hold">
                                          <p:stCondLst>
                                            <p:cond delay="0"/>
                                          </p:stCondLst>
                                        </p:cTn>
                                        <p:tgtEl>
                                          <p:spTgt spid="103"/>
                                        </p:tgtEl>
                                        <p:attrNameLst>
                                          <p:attrName>style.visibility</p:attrName>
                                        </p:attrNameLst>
                                      </p:cBhvr>
                                      <p:to>
                                        <p:strVal val="visible"/>
                                      </p:to>
                                    </p:set>
                                    <p:animEffect transition="in" filter="wipe(left)">
                                      <p:cBhvr>
                                        <p:cTn id="127" dur="500"/>
                                        <p:tgtEl>
                                          <p:spTgt spid="103"/>
                                        </p:tgtEl>
                                      </p:cBhvr>
                                    </p:animEffect>
                                  </p:childTnLst>
                                </p:cTn>
                              </p:par>
                            </p:childTnLst>
                          </p:cTn>
                        </p:par>
                      </p:childTnLst>
                    </p:cTn>
                  </p:par>
                  <p:par>
                    <p:cTn id="128" fill="hold">
                      <p:stCondLst>
                        <p:cond delay="indefinite"/>
                      </p:stCondLst>
                      <p:childTnLst>
                        <p:par>
                          <p:cTn id="129" fill="hold">
                            <p:stCondLst>
                              <p:cond delay="0"/>
                            </p:stCondLst>
                            <p:childTnLst>
                              <p:par>
                                <p:cTn id="130" presetID="22" presetClass="entr" presetSubtype="8" fill="hold" nodeType="clickEffect">
                                  <p:stCondLst>
                                    <p:cond delay="0"/>
                                  </p:stCondLst>
                                  <p:childTnLst>
                                    <p:set>
                                      <p:cBhvr>
                                        <p:cTn id="131" dur="1" fill="hold">
                                          <p:stCondLst>
                                            <p:cond delay="0"/>
                                          </p:stCondLst>
                                        </p:cTn>
                                        <p:tgtEl>
                                          <p:spTgt spid="102"/>
                                        </p:tgtEl>
                                        <p:attrNameLst>
                                          <p:attrName>style.visibility</p:attrName>
                                        </p:attrNameLst>
                                      </p:cBhvr>
                                      <p:to>
                                        <p:strVal val="visible"/>
                                      </p:to>
                                    </p:set>
                                    <p:animEffect transition="in" filter="wipe(left)">
                                      <p:cBhvr>
                                        <p:cTn id="132" dur="500"/>
                                        <p:tgtEl>
                                          <p:spTgt spid="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6" grpId="0"/>
      <p:bldP spid="105" grpId="0"/>
      <p:bldP spid="104" grpId="0"/>
      <p:bldP spid="113" grpId="0"/>
      <p:bldP spid="114" grpId="0"/>
      <p:bldP spid="115" grpId="0"/>
      <p:bldP spid="116" grpId="0"/>
      <p:bldP spid="26" grpId="0" animBg="1"/>
      <p:bldP spid="27" grpId="0" animBg="1"/>
      <p:bldP spid="28" grpId="0" animBg="1"/>
      <p:bldP spid="29" grpId="0" animBg="1"/>
      <p:bldP spid="30" grpId="0" animBg="1"/>
      <p:bldP spid="31" grpId="0"/>
      <p:bldP spid="32" grpId="0"/>
      <p:bldP spid="33" grpId="0"/>
    </p:bldLst>
  </p:timing>
</p:sld>
</file>

<file path=ppt/tags/tag1.xml><?xml version="1.0" encoding="utf-8"?>
<p:tagLst xmlns:a="http://schemas.openxmlformats.org/drawingml/2006/main" xmlns:r="http://schemas.openxmlformats.org/officeDocument/2006/relationships" xmlns:p="http://schemas.openxmlformats.org/presentationml/2006/main">
  <p:tag name="WMTOOLS" val="&lt;WMTools ver=&quot;1.0&quot;&gt;&lt;Timings time=&quot;6/6/2551 18:47:08&quot;&gt;&lt;Slide id=&quot;329&quot; dur=&quot;1.188&quot;/&gt;&lt;/Timings&gt;&lt;/WMTools&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LYD9aQSMUqJMk5ISYVqx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LYD9aQSMUqJMk5ISYVqxw"/>
</p:tagLst>
</file>

<file path=ppt/tags/tag14.xml><?xml version="1.0" encoding="utf-8"?>
<p:tagLst xmlns:a="http://schemas.openxmlformats.org/drawingml/2006/main" xmlns:r="http://schemas.openxmlformats.org/officeDocument/2006/relationships" xmlns:p="http://schemas.openxmlformats.org/presentationml/2006/main">
  <p:tag name="TIMING" val="|22.8|31|1|0.6|0.6|60.2|64.3|1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LYD9aQSMUqJMk5ISYVq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LYD9aQSMUqJMk5ISYVq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LYD9aQSMUqJMk5ISYVq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LYD9aQSMUqJMk5ISYVqxw"/>
</p:tagLst>
</file>

<file path=ppt/theme/theme1.xml><?xml version="1.0" encoding="utf-8"?>
<a:theme xmlns:a="http://schemas.openxmlformats.org/drawingml/2006/main" name="3_H.R. Information Kiosk (Online)">
  <a:themeElements>
    <a:clrScheme name="Opulent">
      <a:dk1>
        <a:sysClr val="windowText" lastClr="000000"/>
      </a:dk1>
      <a:lt1>
        <a:sysClr val="window" lastClr="FFFFFF"/>
      </a:lt1>
      <a:dk2>
        <a:srgbClr val="B13F9A"/>
      </a:dk2>
      <a:lt2>
        <a:srgbClr val="F4E7ED"/>
      </a:lt2>
      <a:accent1>
        <a:srgbClr val="B83D68"/>
      </a:accent1>
      <a:accent2>
        <a:srgbClr val="AC66BB"/>
      </a:accent2>
      <a:accent3>
        <a:srgbClr val="DE6C36"/>
      </a:accent3>
      <a:accent4>
        <a:srgbClr val="F9B639"/>
      </a:accent4>
      <a:accent5>
        <a:srgbClr val="CF6DA4"/>
      </a:accent5>
      <a:accent6>
        <a:srgbClr val="FA8D3D"/>
      </a:accent6>
      <a:hlink>
        <a:srgbClr val="FFDE66"/>
      </a:hlink>
      <a:folHlink>
        <a:srgbClr val="D490C5"/>
      </a:folHlink>
    </a:clrScheme>
    <a:fontScheme name="1_H.R. Information Kiosk (Online)">
      <a:majorFont>
        <a:latin typeface="AngsanaUPC"/>
        <a:ea typeface=""/>
        <a:cs typeface="Angsana New"/>
      </a:majorFont>
      <a:minorFont>
        <a:latin typeface="AngsanaUPC"/>
        <a:ea typeface=""/>
        <a:cs typeface="Angsana New"/>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800" b="1" i="0" u="none" strike="noStrike" cap="none" normalizeH="0" baseline="0" smtClean="0">
            <a:ln>
              <a:noFill/>
            </a:ln>
            <a:solidFill>
              <a:srgbClr val="FFFF00"/>
            </a:solidFill>
            <a:effectLst>
              <a:outerShdw blurRad="38100" dist="38100" dir="2700000" algn="tl">
                <a:srgbClr val="000000">
                  <a:alpha val="43137"/>
                </a:srgbClr>
              </a:outerShdw>
            </a:effectLst>
            <a:latin typeface="AngsanaUPC" pitchFamily="18" charset="-34"/>
            <a:cs typeface="AngsanaUPC" pitchFamily="18" charset="-34"/>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800" b="1" i="0" u="none" strike="noStrike" cap="none" normalizeH="0" baseline="0" smtClean="0">
            <a:ln>
              <a:noFill/>
            </a:ln>
            <a:solidFill>
              <a:srgbClr val="FFFF00"/>
            </a:solidFill>
            <a:effectLst>
              <a:outerShdw blurRad="38100" dist="38100" dir="2700000" algn="tl">
                <a:srgbClr val="000000">
                  <a:alpha val="43137"/>
                </a:srgbClr>
              </a:outerShdw>
            </a:effectLst>
            <a:latin typeface="AngsanaUPC" pitchFamily="18" charset="-34"/>
            <a:cs typeface="AngsanaUPC" pitchFamily="18" charset="-34"/>
          </a:defRPr>
        </a:defPPr>
      </a:lstStyle>
    </a:lnDef>
  </a:objectDefaults>
  <a:extraClrSchemeLst>
    <a:extraClrScheme>
      <a:clrScheme name="1_H.R. Information Kiosk (Online) 1">
        <a:dk1>
          <a:srgbClr val="00354E"/>
        </a:dk1>
        <a:lt1>
          <a:srgbClr val="EAEAEA"/>
        </a:lt1>
        <a:dk2>
          <a:srgbClr val="006699"/>
        </a:dk2>
        <a:lt2>
          <a:srgbClr val="CCECFF"/>
        </a:lt2>
        <a:accent1>
          <a:srgbClr val="006699"/>
        </a:accent1>
        <a:accent2>
          <a:srgbClr val="6699FF"/>
        </a:accent2>
        <a:accent3>
          <a:srgbClr val="AAB8CA"/>
        </a:accent3>
        <a:accent4>
          <a:srgbClr val="C8C8C8"/>
        </a:accent4>
        <a:accent5>
          <a:srgbClr val="AAB8CA"/>
        </a:accent5>
        <a:accent6>
          <a:srgbClr val="5C8AE7"/>
        </a:accent6>
        <a:hlink>
          <a:srgbClr val="CCCCFF"/>
        </a:hlink>
        <a:folHlink>
          <a:srgbClr val="5E6FD4"/>
        </a:folHlink>
      </a:clrScheme>
      <a:clrMap bg1="dk2" tx1="lt1" bg2="dk1" tx2="lt2" accent1="accent1" accent2="accent2" accent3="accent3" accent4="accent4" accent5="accent5" accent6="accent6" hlink="hlink" folHlink="folHlink"/>
    </a:extraClrScheme>
    <a:extraClrScheme>
      <a:clrScheme name="1_H.R. Information Kiosk (Online) 2">
        <a:dk1>
          <a:srgbClr val="000080"/>
        </a:dk1>
        <a:lt1>
          <a:srgbClr val="FFFFFF"/>
        </a:lt1>
        <a:dk2>
          <a:srgbClr val="3366CC"/>
        </a:dk2>
        <a:lt2>
          <a:srgbClr val="7A7C93"/>
        </a:lt2>
        <a:accent1>
          <a:srgbClr val="006699"/>
        </a:accent1>
        <a:accent2>
          <a:srgbClr val="6699FF"/>
        </a:accent2>
        <a:accent3>
          <a:srgbClr val="FFFFFF"/>
        </a:accent3>
        <a:accent4>
          <a:srgbClr val="00006C"/>
        </a:accent4>
        <a:accent5>
          <a:srgbClr val="AAB8CA"/>
        </a:accent5>
        <a:accent6>
          <a:srgbClr val="5C8AE7"/>
        </a:accent6>
        <a:hlink>
          <a:srgbClr val="CCCCFF"/>
        </a:hlink>
        <a:folHlink>
          <a:srgbClr val="5E6FD4"/>
        </a:folHlink>
      </a:clrScheme>
      <a:clrMap bg1="lt1" tx1="dk1" bg2="lt2" tx2="dk2" accent1="accent1" accent2="accent2" accent3="accent3" accent4="accent4" accent5="accent5" accent6="accent6" hlink="hlink" folHlink="folHlink"/>
    </a:extraClrScheme>
    <a:extraClrScheme>
      <a:clrScheme name="1_H.R. Information Kiosk (Online) 3">
        <a:dk1>
          <a:srgbClr val="000000"/>
        </a:dk1>
        <a:lt1>
          <a:srgbClr val="FFFFFF"/>
        </a:lt1>
        <a:dk2>
          <a:srgbClr val="000000"/>
        </a:dk2>
        <a:lt2>
          <a:srgbClr val="868686"/>
        </a:lt2>
        <a:accent1>
          <a:srgbClr val="969696"/>
        </a:accent1>
        <a:accent2>
          <a:srgbClr val="CBCBCB"/>
        </a:accent2>
        <a:accent3>
          <a:srgbClr val="FFFFFF"/>
        </a:accent3>
        <a:accent4>
          <a:srgbClr val="000000"/>
        </a:accent4>
        <a:accent5>
          <a:srgbClr val="C9C9C9"/>
        </a:accent5>
        <a:accent6>
          <a:srgbClr val="B8B8B8"/>
        </a:accent6>
        <a:hlink>
          <a:srgbClr val="EAEAEA"/>
        </a:hlink>
        <a:folHlink>
          <a:srgbClr val="5F5F5F"/>
        </a:folHlink>
      </a:clrScheme>
      <a:clrMap bg1="lt1" tx1="dk1" bg2="lt2" tx2="dk2" accent1="accent1" accent2="accent2" accent3="accent3" accent4="accent4" accent5="accent5" accent6="accent6" hlink="hlink" folHlink="folHlink"/>
    </a:extraClrScheme>
    <a:extraClrScheme>
      <a:clrScheme name="1_H.R. Information Kiosk (Online) 4">
        <a:dk1>
          <a:srgbClr val="660066"/>
        </a:dk1>
        <a:lt1>
          <a:srgbClr val="EAEAEA"/>
        </a:lt1>
        <a:dk2>
          <a:srgbClr val="3366CC"/>
        </a:dk2>
        <a:lt2>
          <a:srgbClr val="7A7C93"/>
        </a:lt2>
        <a:accent1>
          <a:srgbClr val="00CCCC"/>
        </a:accent1>
        <a:accent2>
          <a:srgbClr val="CC66FF"/>
        </a:accent2>
        <a:accent3>
          <a:srgbClr val="F3F3F3"/>
        </a:accent3>
        <a:accent4>
          <a:srgbClr val="560056"/>
        </a:accent4>
        <a:accent5>
          <a:srgbClr val="AAE2E2"/>
        </a:accent5>
        <a:accent6>
          <a:srgbClr val="B95CE7"/>
        </a:accent6>
        <a:hlink>
          <a:srgbClr val="CCFFCC"/>
        </a:hlink>
        <a:folHlink>
          <a:srgbClr val="FFCC66"/>
        </a:folHlink>
      </a:clrScheme>
      <a:clrMap bg1="lt1" tx1="dk1" bg2="lt2" tx2="dk2" accent1="accent1" accent2="accent2" accent3="accent3" accent4="accent4" accent5="accent5" accent6="accent6" hlink="hlink" folHlink="folHlink"/>
    </a:extraClrScheme>
    <a:extraClrScheme>
      <a:clrScheme name="1_H.R. Information Kiosk (Online) 5">
        <a:dk1>
          <a:srgbClr val="00354E"/>
        </a:dk1>
        <a:lt1>
          <a:srgbClr val="EAEAEA"/>
        </a:lt1>
        <a:dk2>
          <a:srgbClr val="6D67AA"/>
        </a:dk2>
        <a:lt2>
          <a:srgbClr val="CCCCFF"/>
        </a:lt2>
        <a:accent1>
          <a:srgbClr val="6600CC"/>
        </a:accent1>
        <a:accent2>
          <a:srgbClr val="9999FF"/>
        </a:accent2>
        <a:accent3>
          <a:srgbClr val="BAB8D2"/>
        </a:accent3>
        <a:accent4>
          <a:srgbClr val="C8C8C8"/>
        </a:accent4>
        <a:accent5>
          <a:srgbClr val="B8AAE2"/>
        </a:accent5>
        <a:accent6>
          <a:srgbClr val="8A8AE7"/>
        </a:accent6>
        <a:hlink>
          <a:srgbClr val="CCCCFF"/>
        </a:hlink>
        <a:folHlink>
          <a:srgbClr val="9D70B8"/>
        </a:folHlink>
      </a:clrScheme>
      <a:clrMap bg1="dk2" tx1="lt1" bg2="dk1" tx2="lt2" accent1="accent1" accent2="accent2" accent3="accent3" accent4="accent4" accent5="accent5" accent6="accent6" hlink="hlink" folHlink="folHlink"/>
    </a:extraClrScheme>
    <a:extraClrScheme>
      <a:clrScheme name="1_H.R. Information Kiosk (Online) 6">
        <a:dk1>
          <a:srgbClr val="003366"/>
        </a:dk1>
        <a:lt1>
          <a:srgbClr val="EAEAEA"/>
        </a:lt1>
        <a:dk2>
          <a:srgbClr val="009999"/>
        </a:dk2>
        <a:lt2>
          <a:srgbClr val="FFFFFF"/>
        </a:lt2>
        <a:accent1>
          <a:srgbClr val="008080"/>
        </a:accent1>
        <a:accent2>
          <a:srgbClr val="00CCCC"/>
        </a:accent2>
        <a:accent3>
          <a:srgbClr val="AACACA"/>
        </a:accent3>
        <a:accent4>
          <a:srgbClr val="C8C8C8"/>
        </a:accent4>
        <a:accent5>
          <a:srgbClr val="AAC0C0"/>
        </a:accent5>
        <a:accent6>
          <a:srgbClr val="00B9B9"/>
        </a:accent6>
        <a:hlink>
          <a:srgbClr val="A7DDE1"/>
        </a:hlink>
        <a:folHlink>
          <a:srgbClr val="FF99FF"/>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KMUTT Slide tha">
  <a:themeElements>
    <a:clrScheme name="KMUTT">
      <a:dk1>
        <a:sysClr val="windowText" lastClr="000000"/>
      </a:dk1>
      <a:lt1>
        <a:sysClr val="window" lastClr="FFFFFF"/>
      </a:lt1>
      <a:dk2>
        <a:srgbClr val="44546A"/>
      </a:dk2>
      <a:lt2>
        <a:srgbClr val="E7E6E6"/>
      </a:lt2>
      <a:accent1>
        <a:srgbClr val="FF4612"/>
      </a:accent1>
      <a:accent2>
        <a:srgbClr val="FF8665"/>
      </a:accent2>
      <a:accent3>
        <a:srgbClr val="FFC627"/>
      </a:accent3>
      <a:accent4>
        <a:srgbClr val="FFDD7D"/>
      </a:accent4>
      <a:accent5>
        <a:srgbClr val="58595B"/>
      </a:accent5>
      <a:accent6>
        <a:srgbClr val="A4A5A6"/>
      </a:accent6>
      <a:hlink>
        <a:srgbClr val="FF4602"/>
      </a:hlink>
      <a:folHlink>
        <a:srgbClr val="999A9D"/>
      </a:folHlink>
    </a:clrScheme>
    <a:fontScheme name="KMUTT">
      <a:majorFont>
        <a:latin typeface="Open Sans"/>
        <a:ea typeface=""/>
        <a:cs typeface="Quark"/>
      </a:majorFont>
      <a:minorFont>
        <a:latin typeface="Open Sans"/>
        <a:ea typeface=""/>
        <a:cs typeface="TH Sarabun New"/>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1_KMUTT Slide tha">
  <a:themeElements>
    <a:clrScheme name="KMUTT">
      <a:dk1>
        <a:sysClr val="windowText" lastClr="000000"/>
      </a:dk1>
      <a:lt1>
        <a:sysClr val="window" lastClr="FFFFFF"/>
      </a:lt1>
      <a:dk2>
        <a:srgbClr val="44546A"/>
      </a:dk2>
      <a:lt2>
        <a:srgbClr val="E7E6E6"/>
      </a:lt2>
      <a:accent1>
        <a:srgbClr val="FF4612"/>
      </a:accent1>
      <a:accent2>
        <a:srgbClr val="FF8665"/>
      </a:accent2>
      <a:accent3>
        <a:srgbClr val="FFC627"/>
      </a:accent3>
      <a:accent4>
        <a:srgbClr val="FFDD7D"/>
      </a:accent4>
      <a:accent5>
        <a:srgbClr val="58595B"/>
      </a:accent5>
      <a:accent6>
        <a:srgbClr val="A4A5A6"/>
      </a:accent6>
      <a:hlink>
        <a:srgbClr val="FF4602"/>
      </a:hlink>
      <a:folHlink>
        <a:srgbClr val="999A9D"/>
      </a:folHlink>
    </a:clrScheme>
    <a:fontScheme name="KMUTT">
      <a:majorFont>
        <a:latin typeface="Open Sans"/>
        <a:ea typeface=""/>
        <a:cs typeface="Quark"/>
      </a:majorFont>
      <a:minorFont>
        <a:latin typeface="Open Sans"/>
        <a:ea typeface=""/>
        <a:cs typeface="TH Sarabun New"/>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2_KMUTT Slide tha">
  <a:themeElements>
    <a:clrScheme name="KMUTT">
      <a:dk1>
        <a:sysClr val="windowText" lastClr="000000"/>
      </a:dk1>
      <a:lt1>
        <a:sysClr val="window" lastClr="FFFFFF"/>
      </a:lt1>
      <a:dk2>
        <a:srgbClr val="44546A"/>
      </a:dk2>
      <a:lt2>
        <a:srgbClr val="E7E6E6"/>
      </a:lt2>
      <a:accent1>
        <a:srgbClr val="FF4612"/>
      </a:accent1>
      <a:accent2>
        <a:srgbClr val="FF8665"/>
      </a:accent2>
      <a:accent3>
        <a:srgbClr val="FFC627"/>
      </a:accent3>
      <a:accent4>
        <a:srgbClr val="FFDD7D"/>
      </a:accent4>
      <a:accent5>
        <a:srgbClr val="58595B"/>
      </a:accent5>
      <a:accent6>
        <a:srgbClr val="A4A5A6"/>
      </a:accent6>
      <a:hlink>
        <a:srgbClr val="FF4602"/>
      </a:hlink>
      <a:folHlink>
        <a:srgbClr val="999A9D"/>
      </a:folHlink>
    </a:clrScheme>
    <a:fontScheme name="KMUTT">
      <a:majorFont>
        <a:latin typeface="Open Sans"/>
        <a:ea typeface=""/>
        <a:cs typeface="Quark"/>
      </a:majorFont>
      <a:minorFont>
        <a:latin typeface="Open Sans"/>
        <a:ea typeface=""/>
        <a:cs typeface="TH Sarabun New"/>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100000" t="-60000" r="100000" b="200000"/>
          </a:path>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100000" t="-60000" r="100000" b="200000"/>
          </a:path>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Override1.xml><?xml version="1.0" encoding="utf-8"?>
<a:themeOverride xmlns:a="http://schemas.openxmlformats.org/drawingml/2006/main">
  <a:clrScheme name="KMUTT">
    <a:dk1>
      <a:sysClr val="windowText" lastClr="000000"/>
    </a:dk1>
    <a:lt1>
      <a:sysClr val="window" lastClr="FFFFFF"/>
    </a:lt1>
    <a:dk2>
      <a:srgbClr val="44546A"/>
    </a:dk2>
    <a:lt2>
      <a:srgbClr val="E7E6E6"/>
    </a:lt2>
    <a:accent1>
      <a:srgbClr val="FF4612"/>
    </a:accent1>
    <a:accent2>
      <a:srgbClr val="FF8665"/>
    </a:accent2>
    <a:accent3>
      <a:srgbClr val="FFC627"/>
    </a:accent3>
    <a:accent4>
      <a:srgbClr val="FFDD7D"/>
    </a:accent4>
    <a:accent5>
      <a:srgbClr val="58595B"/>
    </a:accent5>
    <a:accent6>
      <a:srgbClr val="A4A5A6"/>
    </a:accent6>
    <a:hlink>
      <a:srgbClr val="FF4602"/>
    </a:hlink>
    <a:folHlink>
      <a:srgbClr val="999A9D"/>
    </a:folHlink>
  </a:clrScheme>
</a:themeOverride>
</file>

<file path=ppt/theme/themeOverride2.xml><?xml version="1.0" encoding="utf-8"?>
<a:themeOverride xmlns:a="http://schemas.openxmlformats.org/drawingml/2006/main">
  <a:clrScheme name="KMUTT">
    <a:dk1>
      <a:sysClr val="windowText" lastClr="000000"/>
    </a:dk1>
    <a:lt1>
      <a:sysClr val="window" lastClr="FFFFFF"/>
    </a:lt1>
    <a:dk2>
      <a:srgbClr val="44546A"/>
    </a:dk2>
    <a:lt2>
      <a:srgbClr val="E7E6E6"/>
    </a:lt2>
    <a:accent1>
      <a:srgbClr val="FF4612"/>
    </a:accent1>
    <a:accent2>
      <a:srgbClr val="FF8665"/>
    </a:accent2>
    <a:accent3>
      <a:srgbClr val="FFC627"/>
    </a:accent3>
    <a:accent4>
      <a:srgbClr val="FFDD7D"/>
    </a:accent4>
    <a:accent5>
      <a:srgbClr val="58595B"/>
    </a:accent5>
    <a:accent6>
      <a:srgbClr val="A4A5A6"/>
    </a:accent6>
    <a:hlink>
      <a:srgbClr val="FF4602"/>
    </a:hlink>
    <a:folHlink>
      <a:srgbClr val="999A9D"/>
    </a:folHlink>
  </a:clrScheme>
</a:themeOverride>
</file>

<file path=ppt/theme/themeOverride3.xml><?xml version="1.0" encoding="utf-8"?>
<a:themeOverride xmlns:a="http://schemas.openxmlformats.org/drawingml/2006/main">
  <a:clrScheme name="KMUTT">
    <a:dk1>
      <a:sysClr val="windowText" lastClr="000000"/>
    </a:dk1>
    <a:lt1>
      <a:sysClr val="window" lastClr="FFFFFF"/>
    </a:lt1>
    <a:dk2>
      <a:srgbClr val="44546A"/>
    </a:dk2>
    <a:lt2>
      <a:srgbClr val="E7E6E6"/>
    </a:lt2>
    <a:accent1>
      <a:srgbClr val="FF4612"/>
    </a:accent1>
    <a:accent2>
      <a:srgbClr val="FF8665"/>
    </a:accent2>
    <a:accent3>
      <a:srgbClr val="FFC627"/>
    </a:accent3>
    <a:accent4>
      <a:srgbClr val="FFDD7D"/>
    </a:accent4>
    <a:accent5>
      <a:srgbClr val="58595B"/>
    </a:accent5>
    <a:accent6>
      <a:srgbClr val="A4A5A6"/>
    </a:accent6>
    <a:hlink>
      <a:srgbClr val="FF4602"/>
    </a:hlink>
    <a:folHlink>
      <a:srgbClr val="999A9D"/>
    </a:folHlink>
  </a:clrScheme>
</a:themeOverride>
</file>

<file path=ppt/theme/themeOverride4.xml><?xml version="1.0" encoding="utf-8"?>
<a:themeOverride xmlns:a="http://schemas.openxmlformats.org/drawingml/2006/main">
  <a:clrScheme name="KMUTT">
    <a:dk1>
      <a:sysClr val="windowText" lastClr="000000"/>
    </a:dk1>
    <a:lt1>
      <a:sysClr val="window" lastClr="FFFFFF"/>
    </a:lt1>
    <a:dk2>
      <a:srgbClr val="44546A"/>
    </a:dk2>
    <a:lt2>
      <a:srgbClr val="E7E6E6"/>
    </a:lt2>
    <a:accent1>
      <a:srgbClr val="FF4612"/>
    </a:accent1>
    <a:accent2>
      <a:srgbClr val="FF8665"/>
    </a:accent2>
    <a:accent3>
      <a:srgbClr val="FFC627"/>
    </a:accent3>
    <a:accent4>
      <a:srgbClr val="FFDD7D"/>
    </a:accent4>
    <a:accent5>
      <a:srgbClr val="58595B"/>
    </a:accent5>
    <a:accent6>
      <a:srgbClr val="A4A5A6"/>
    </a:accent6>
    <a:hlink>
      <a:srgbClr val="FF4602"/>
    </a:hlink>
    <a:folHlink>
      <a:srgbClr val="999A9D"/>
    </a:folHlink>
  </a:clrScheme>
</a:themeOverride>
</file>

<file path=ppt/theme/themeOverride5.xml><?xml version="1.0" encoding="utf-8"?>
<a:themeOverride xmlns:a="http://schemas.openxmlformats.org/drawingml/2006/main">
  <a:clrScheme name="KMUTT">
    <a:dk1>
      <a:sysClr val="windowText" lastClr="000000"/>
    </a:dk1>
    <a:lt1>
      <a:sysClr val="window" lastClr="FFFFFF"/>
    </a:lt1>
    <a:dk2>
      <a:srgbClr val="44546A"/>
    </a:dk2>
    <a:lt2>
      <a:srgbClr val="E7E6E6"/>
    </a:lt2>
    <a:accent1>
      <a:srgbClr val="FF4612"/>
    </a:accent1>
    <a:accent2>
      <a:srgbClr val="FF8665"/>
    </a:accent2>
    <a:accent3>
      <a:srgbClr val="FFC627"/>
    </a:accent3>
    <a:accent4>
      <a:srgbClr val="FFDD7D"/>
    </a:accent4>
    <a:accent5>
      <a:srgbClr val="58595B"/>
    </a:accent5>
    <a:accent6>
      <a:srgbClr val="A4A5A6"/>
    </a:accent6>
    <a:hlink>
      <a:srgbClr val="FF4602"/>
    </a:hlink>
    <a:folHlink>
      <a:srgbClr val="999A9D"/>
    </a:folHlink>
  </a:clrScheme>
</a:themeOverride>
</file>

<file path=ppt/theme/themeOverride6.xml><?xml version="1.0" encoding="utf-8"?>
<a:themeOverride xmlns:a="http://schemas.openxmlformats.org/drawingml/2006/main">
  <a:clrScheme name="KMUTT">
    <a:dk1>
      <a:sysClr val="windowText" lastClr="000000"/>
    </a:dk1>
    <a:lt1>
      <a:sysClr val="window" lastClr="FFFFFF"/>
    </a:lt1>
    <a:dk2>
      <a:srgbClr val="44546A"/>
    </a:dk2>
    <a:lt2>
      <a:srgbClr val="E7E6E6"/>
    </a:lt2>
    <a:accent1>
      <a:srgbClr val="FF4612"/>
    </a:accent1>
    <a:accent2>
      <a:srgbClr val="FF8665"/>
    </a:accent2>
    <a:accent3>
      <a:srgbClr val="FFC627"/>
    </a:accent3>
    <a:accent4>
      <a:srgbClr val="FFDD7D"/>
    </a:accent4>
    <a:accent5>
      <a:srgbClr val="58595B"/>
    </a:accent5>
    <a:accent6>
      <a:srgbClr val="A4A5A6"/>
    </a:accent6>
    <a:hlink>
      <a:srgbClr val="FF4602"/>
    </a:hlink>
    <a:folHlink>
      <a:srgbClr val="999A9D"/>
    </a:folHlink>
  </a:clrScheme>
</a:themeOverride>
</file>

<file path=docProps/app.xml><?xml version="1.0" encoding="utf-8"?>
<Properties xmlns="http://schemas.openxmlformats.org/officeDocument/2006/extended-properties" xmlns:vt="http://schemas.openxmlformats.org/officeDocument/2006/docPropsVTypes">
  <Template>Technic</Template>
  <TotalTime>41554</TotalTime>
  <Words>2480</Words>
  <Application>Microsoft Office PowerPoint</Application>
  <PresentationFormat>On-screen Show (4:3)</PresentationFormat>
  <Paragraphs>570</Paragraphs>
  <Slides>40</Slides>
  <Notes>29</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40</vt:i4>
      </vt:variant>
    </vt:vector>
  </HeadingPairs>
  <TitlesOfParts>
    <vt:vector size="45" baseType="lpstr">
      <vt:lpstr>3_H.R. Information Kiosk (Online)</vt:lpstr>
      <vt:lpstr>KMUTT Slide tha</vt:lpstr>
      <vt:lpstr>1_KMUTT Slide tha</vt:lpstr>
      <vt:lpstr>2_KMUTT Slide tha</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ชาติพันธุ์ วัฒนธรรม ศาสนา ภาษา การเมืองการปกครอง ฯลฯ</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nagement of Information Technology</dc:title>
  <dc:creator>Digital Customer</dc:creator>
  <cp:lastModifiedBy>ERP</cp:lastModifiedBy>
  <cp:revision>1115</cp:revision>
  <cp:lastPrinted>2019-02-20T22:08:25Z</cp:lastPrinted>
  <dcterms:created xsi:type="dcterms:W3CDTF">1995-05-28T16:20:46Z</dcterms:created>
  <dcterms:modified xsi:type="dcterms:W3CDTF">2019-02-20T22:19:29Z</dcterms:modified>
</cp:coreProperties>
</file>